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986" r:id="rId5"/>
    <p:sldMasterId id="2147483996" r:id="rId6"/>
  </p:sldMasterIdLst>
  <p:notesMasterIdLst>
    <p:notesMasterId r:id="rId51"/>
  </p:notesMasterIdLst>
  <p:sldIdLst>
    <p:sldId id="291" r:id="rId7"/>
    <p:sldId id="2147469616" r:id="rId8"/>
    <p:sldId id="2147470212" r:id="rId9"/>
    <p:sldId id="2147469617" r:id="rId10"/>
    <p:sldId id="2147469620" r:id="rId11"/>
    <p:sldId id="300" r:id="rId12"/>
    <p:sldId id="11666" r:id="rId13"/>
    <p:sldId id="2147469593" r:id="rId14"/>
    <p:sldId id="301" r:id="rId15"/>
    <p:sldId id="2147469594" r:id="rId16"/>
    <p:sldId id="2147470184" r:id="rId17"/>
    <p:sldId id="2147470209" r:id="rId18"/>
    <p:sldId id="2147470210" r:id="rId19"/>
    <p:sldId id="11667" r:id="rId20"/>
    <p:sldId id="294" r:id="rId21"/>
    <p:sldId id="11635" r:id="rId22"/>
    <p:sldId id="9949" r:id="rId23"/>
    <p:sldId id="381" r:id="rId24"/>
    <p:sldId id="2147468607" r:id="rId25"/>
    <p:sldId id="2147470208" r:id="rId26"/>
    <p:sldId id="2147470023" r:id="rId27"/>
    <p:sldId id="2147470202" r:id="rId28"/>
    <p:sldId id="11672" r:id="rId29"/>
    <p:sldId id="2147470203" r:id="rId30"/>
    <p:sldId id="2147470192" r:id="rId31"/>
    <p:sldId id="2076137345" r:id="rId32"/>
    <p:sldId id="2076137326" r:id="rId33"/>
    <p:sldId id="2147470204" r:id="rId34"/>
    <p:sldId id="2147470205" r:id="rId35"/>
    <p:sldId id="2147469600" r:id="rId36"/>
    <p:sldId id="2147470193" r:id="rId37"/>
    <p:sldId id="2147469605" r:id="rId38"/>
    <p:sldId id="2147470187" r:id="rId39"/>
    <p:sldId id="2147469609" r:id="rId40"/>
    <p:sldId id="2147470188" r:id="rId41"/>
    <p:sldId id="2147470206" r:id="rId42"/>
    <p:sldId id="2147470207" r:id="rId43"/>
    <p:sldId id="2147470194" r:id="rId44"/>
    <p:sldId id="2147470196" r:id="rId45"/>
    <p:sldId id="2147470191" r:id="rId46"/>
    <p:sldId id="2147470190" r:id="rId47"/>
    <p:sldId id="299" r:id="rId48"/>
    <p:sldId id="2147470211" r:id="rId49"/>
    <p:sldId id="2147470213"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A6B6758-C3A5-420E-BE6C-72FFCD90594E}" name="Ian Lumb" initials="IL" userId="S::ianl@terawe.com::2630a383-0cad-4e30-b844-8e87d31697a6" providerId="AD"/>
  <p188:author id="{0E13F3E3-A5D1-95C3-EB4A-A374D951F722}" name="Dan Moore" initials="DM" userId="S::danm@terawe.com::432a1231-f1bc-48da-b3ef-5b1092c905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showAnimation="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9AF4"/>
    <a:srgbClr val="CF76D2"/>
    <a:srgbClr val="373577"/>
    <a:srgbClr val="171632"/>
    <a:srgbClr val="9AE145"/>
    <a:srgbClr val="FF9027"/>
    <a:srgbClr val="282656"/>
    <a:srgbClr val="9AE245"/>
    <a:srgbClr val="7030A0"/>
    <a:srgbClr val="1C1A3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0D322B-30B5-41D6-9A02-133A98E6F823}" v="213" dt="2022-06-30T22:59:47.566"/>
    <p1510:client id="{A993EB0D-6D7E-40FC-934D-6A7175219A8A}" v="12" dt="2022-07-01T16:23:12.93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0" d="100"/>
          <a:sy n="100" d="100"/>
        </p:scale>
        <p:origin x="954" y="90"/>
      </p:cViewPr>
      <p:guideLst/>
    </p:cSldViewPr>
  </p:slideViewPr>
  <p:notesTextViewPr>
    <p:cViewPr>
      <p:scale>
        <a:sx n="1" d="1"/>
        <a:sy n="1" d="1"/>
      </p:scale>
      <p:origin x="0" y="0"/>
    </p:cViewPr>
  </p:notesTextViewPr>
  <p:sorterViewPr>
    <p:cViewPr>
      <p:scale>
        <a:sx n="150" d="100"/>
        <a:sy n="150" d="100"/>
      </p:scale>
      <p:origin x="0" y="-572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viewProps" Target="viewProps.xml"/><Relationship Id="rId58" Type="http://schemas.microsoft.com/office/2018/10/relationships/authors" Target="authors.xml"/><Relationship Id="rId5" Type="http://schemas.openxmlformats.org/officeDocument/2006/relationships/slideMaster" Target="slideMasters/slideMaster2.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microsoft.com/office/2016/11/relationships/changesInfo" Target="changesInfos/changesInfo1.xml"/><Relationship Id="rId8" Type="http://schemas.openxmlformats.org/officeDocument/2006/relationships/slide" Target="slides/slide2.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microsoft.com/office/2015/10/relationships/revisionInfo" Target="revisionInfo.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an Lumb" userId="2630a383-0cad-4e30-b844-8e87d31697a6" providerId="ADAL" clId="{5F0D322B-30B5-41D6-9A02-133A98E6F823}"/>
    <pc:docChg chg="undo custSel addSld delSld modSld sldOrd delMainMaster">
      <pc:chgData name="Ian Lumb" userId="2630a383-0cad-4e30-b844-8e87d31697a6" providerId="ADAL" clId="{5F0D322B-30B5-41D6-9A02-133A98E6F823}" dt="2022-06-30T22:59:47.566" v="418" actId="404"/>
      <pc:docMkLst>
        <pc:docMk/>
      </pc:docMkLst>
      <pc:sldChg chg="del">
        <pc:chgData name="Ian Lumb" userId="2630a383-0cad-4e30-b844-8e87d31697a6" providerId="ADAL" clId="{5F0D322B-30B5-41D6-9A02-133A98E6F823}" dt="2022-06-30T22:47:30.685" v="202" actId="47"/>
        <pc:sldMkLst>
          <pc:docMk/>
          <pc:sldMk cId="0" sldId="260"/>
        </pc:sldMkLst>
      </pc:sldChg>
      <pc:sldChg chg="addCm modNotesTx">
        <pc:chgData name="Ian Lumb" userId="2630a383-0cad-4e30-b844-8e87d31697a6" providerId="ADAL" clId="{5F0D322B-30B5-41D6-9A02-133A98E6F823}" dt="2022-06-29T01:29:50.478" v="146" actId="20577"/>
        <pc:sldMkLst>
          <pc:docMk/>
          <pc:sldMk cId="3329845461" sldId="292"/>
        </pc:sldMkLst>
      </pc:sldChg>
      <pc:sldChg chg="delSp mod">
        <pc:chgData name="Ian Lumb" userId="2630a383-0cad-4e30-b844-8e87d31697a6" providerId="ADAL" clId="{5F0D322B-30B5-41D6-9A02-133A98E6F823}" dt="2022-06-30T22:45:45.554" v="152" actId="478"/>
        <pc:sldMkLst>
          <pc:docMk/>
          <pc:sldMk cId="1447758559" sldId="294"/>
        </pc:sldMkLst>
        <pc:spChg chg="del">
          <ac:chgData name="Ian Lumb" userId="2630a383-0cad-4e30-b844-8e87d31697a6" providerId="ADAL" clId="{5F0D322B-30B5-41D6-9A02-133A98E6F823}" dt="2022-06-30T22:45:45.554" v="152" actId="478"/>
          <ac:spMkLst>
            <pc:docMk/>
            <pc:sldMk cId="1447758559" sldId="294"/>
            <ac:spMk id="2" creationId="{6AE1BC08-D8F8-9442-DD7A-DC0B1480D9AA}"/>
          </ac:spMkLst>
        </pc:spChg>
      </pc:sldChg>
      <pc:sldChg chg="modSp mod">
        <pc:chgData name="Ian Lumb" userId="2630a383-0cad-4e30-b844-8e87d31697a6" providerId="ADAL" clId="{5F0D322B-30B5-41D6-9A02-133A98E6F823}" dt="2022-06-30T22:48:46.226" v="211" actId="20577"/>
        <pc:sldMkLst>
          <pc:docMk/>
          <pc:sldMk cId="2570058085" sldId="299"/>
        </pc:sldMkLst>
        <pc:spChg chg="mod">
          <ac:chgData name="Ian Lumb" userId="2630a383-0cad-4e30-b844-8e87d31697a6" providerId="ADAL" clId="{5F0D322B-30B5-41D6-9A02-133A98E6F823}" dt="2022-06-30T22:48:46.226" v="211" actId="20577"/>
          <ac:spMkLst>
            <pc:docMk/>
            <pc:sldMk cId="2570058085" sldId="299"/>
            <ac:spMk id="3" creationId="{61F0B9B6-2B1A-E3C1-76E8-E8F7D31297F6}"/>
          </ac:spMkLst>
        </pc:spChg>
      </pc:sldChg>
      <pc:sldChg chg="del">
        <pc:chgData name="Ian Lumb" userId="2630a383-0cad-4e30-b844-8e87d31697a6" providerId="ADAL" clId="{5F0D322B-30B5-41D6-9A02-133A98E6F823}" dt="2022-06-30T22:43:49.334" v="149" actId="47"/>
        <pc:sldMkLst>
          <pc:docMk/>
          <pc:sldMk cId="2741281810" sldId="2147469599"/>
        </pc:sldMkLst>
      </pc:sldChg>
      <pc:sldChg chg="addCm delCm modCm">
        <pc:chgData name="Ian Lumb" userId="2630a383-0cad-4e30-b844-8e87d31697a6" providerId="ADAL" clId="{5F0D322B-30B5-41D6-9A02-133A98E6F823}" dt="2022-06-30T22:44:35.602" v="150"/>
        <pc:sldMkLst>
          <pc:docMk/>
          <pc:sldMk cId="4229963047" sldId="2147469617"/>
        </pc:sldMkLst>
      </pc:sldChg>
      <pc:sldChg chg="add del">
        <pc:chgData name="Ian Lumb" userId="2630a383-0cad-4e30-b844-8e87d31697a6" providerId="ADAL" clId="{5F0D322B-30B5-41D6-9A02-133A98E6F823}" dt="2022-06-30T22:48:01.935" v="204" actId="47"/>
        <pc:sldMkLst>
          <pc:docMk/>
          <pc:sldMk cId="4017702559" sldId="2147469667"/>
        </pc:sldMkLst>
      </pc:sldChg>
      <pc:sldChg chg="modSp mod">
        <pc:chgData name="Ian Lumb" userId="2630a383-0cad-4e30-b844-8e87d31697a6" providerId="ADAL" clId="{5F0D322B-30B5-41D6-9A02-133A98E6F823}" dt="2022-06-29T00:55:05.454" v="118" actId="20577"/>
        <pc:sldMkLst>
          <pc:docMk/>
          <pc:sldMk cId="1229434402" sldId="2147470187"/>
        </pc:sldMkLst>
        <pc:spChg chg="mod">
          <ac:chgData name="Ian Lumb" userId="2630a383-0cad-4e30-b844-8e87d31697a6" providerId="ADAL" clId="{5F0D322B-30B5-41D6-9A02-133A98E6F823}" dt="2022-06-29T00:55:05.454" v="118" actId="20577"/>
          <ac:spMkLst>
            <pc:docMk/>
            <pc:sldMk cId="1229434402" sldId="2147470187"/>
            <ac:spMk id="6" creationId="{57B6340A-10FD-7A54-00C3-B2C15D530C66}"/>
          </ac:spMkLst>
        </pc:spChg>
      </pc:sldChg>
      <pc:sldChg chg="addSp modSp mod">
        <pc:chgData name="Ian Lumb" userId="2630a383-0cad-4e30-b844-8e87d31697a6" providerId="ADAL" clId="{5F0D322B-30B5-41D6-9A02-133A98E6F823}" dt="2022-06-28T00:51:40.671" v="91" actId="20577"/>
        <pc:sldMkLst>
          <pc:docMk/>
          <pc:sldMk cId="1151731301" sldId="2147470188"/>
        </pc:sldMkLst>
        <pc:spChg chg="mod">
          <ac:chgData name="Ian Lumb" userId="2630a383-0cad-4e30-b844-8e87d31697a6" providerId="ADAL" clId="{5F0D322B-30B5-41D6-9A02-133A98E6F823}" dt="2022-06-28T00:51:40.671" v="91" actId="20577"/>
          <ac:spMkLst>
            <pc:docMk/>
            <pc:sldMk cId="1151731301" sldId="2147470188"/>
            <ac:spMk id="3" creationId="{BA6CAD71-2B13-63B5-1C6F-EA6CF19183F5}"/>
          </ac:spMkLst>
        </pc:spChg>
        <pc:picChg chg="add mod">
          <ac:chgData name="Ian Lumb" userId="2630a383-0cad-4e30-b844-8e87d31697a6" providerId="ADAL" clId="{5F0D322B-30B5-41D6-9A02-133A98E6F823}" dt="2022-06-28T00:50:12.223" v="66" actId="1076"/>
          <ac:picMkLst>
            <pc:docMk/>
            <pc:sldMk cId="1151731301" sldId="2147470188"/>
            <ac:picMk id="5" creationId="{D124D0CE-1E43-203D-A5BD-9ADD54E0BD4F}"/>
          </ac:picMkLst>
        </pc:picChg>
        <pc:picChg chg="add mod">
          <ac:chgData name="Ian Lumb" userId="2630a383-0cad-4e30-b844-8e87d31697a6" providerId="ADAL" clId="{5F0D322B-30B5-41D6-9A02-133A98E6F823}" dt="2022-06-28T00:51:09.720" v="79" actId="1076"/>
          <ac:picMkLst>
            <pc:docMk/>
            <pc:sldMk cId="1151731301" sldId="2147470188"/>
            <ac:picMk id="6" creationId="{C0DE31AE-CD97-012E-F29D-9D8B69DFBE4B}"/>
          </ac:picMkLst>
        </pc:picChg>
      </pc:sldChg>
      <pc:sldChg chg="del addCm">
        <pc:chgData name="Ian Lumb" userId="2630a383-0cad-4e30-b844-8e87d31697a6" providerId="ADAL" clId="{5F0D322B-30B5-41D6-9A02-133A98E6F823}" dt="2022-06-30T22:47:24.903" v="201" actId="47"/>
        <pc:sldMkLst>
          <pc:docMk/>
          <pc:sldMk cId="2996763583" sldId="2147470189"/>
        </pc:sldMkLst>
      </pc:sldChg>
      <pc:sldChg chg="modSp mod addCm delCm">
        <pc:chgData name="Ian Lumb" userId="2630a383-0cad-4e30-b844-8e87d31697a6" providerId="ADAL" clId="{5F0D322B-30B5-41D6-9A02-133A98E6F823}" dt="2022-06-30T22:47:01.435" v="200"/>
        <pc:sldMkLst>
          <pc:docMk/>
          <pc:sldMk cId="552015189" sldId="2147470193"/>
        </pc:sldMkLst>
        <pc:spChg chg="mod">
          <ac:chgData name="Ian Lumb" userId="2630a383-0cad-4e30-b844-8e87d31697a6" providerId="ADAL" clId="{5F0D322B-30B5-41D6-9A02-133A98E6F823}" dt="2022-06-30T22:46:57.104" v="199" actId="20577"/>
          <ac:spMkLst>
            <pc:docMk/>
            <pc:sldMk cId="552015189" sldId="2147470193"/>
            <ac:spMk id="2" creationId="{C22D04A3-8CAF-2D42-234C-BF1B1E346D1D}"/>
          </ac:spMkLst>
        </pc:spChg>
      </pc:sldChg>
      <pc:sldChg chg="addSp modSp mod delCm modNotesTx">
        <pc:chgData name="Ian Lumb" userId="2630a383-0cad-4e30-b844-8e87d31697a6" providerId="ADAL" clId="{5F0D322B-30B5-41D6-9A02-133A98E6F823}" dt="2022-06-29T00:56:17.674" v="120"/>
        <pc:sldMkLst>
          <pc:docMk/>
          <pc:sldMk cId="3560447759" sldId="2147470194"/>
        </pc:sldMkLst>
        <pc:picChg chg="add mod modCrop">
          <ac:chgData name="Ian Lumb" userId="2630a383-0cad-4e30-b844-8e87d31697a6" providerId="ADAL" clId="{5F0D322B-30B5-41D6-9A02-133A98E6F823}" dt="2022-06-28T00:48:18.810" v="63" actId="1076"/>
          <ac:picMkLst>
            <pc:docMk/>
            <pc:sldMk cId="3560447759" sldId="2147470194"/>
            <ac:picMk id="5" creationId="{7696C01F-D89E-7D38-CE5F-280EA43A48E3}"/>
          </ac:picMkLst>
        </pc:picChg>
      </pc:sldChg>
      <pc:sldChg chg="del">
        <pc:chgData name="Ian Lumb" userId="2630a383-0cad-4e30-b844-8e87d31697a6" providerId="ADAL" clId="{5F0D322B-30B5-41D6-9A02-133A98E6F823}" dt="2022-06-30T22:47:42.501" v="203" actId="47"/>
        <pc:sldMkLst>
          <pc:docMk/>
          <pc:sldMk cId="318262416" sldId="2147470195"/>
        </pc:sldMkLst>
      </pc:sldChg>
      <pc:sldChg chg="addSp modSp mod">
        <pc:chgData name="Ian Lumb" userId="2630a383-0cad-4e30-b844-8e87d31697a6" providerId="ADAL" clId="{5F0D322B-30B5-41D6-9A02-133A98E6F823}" dt="2022-06-28T00:46:45.594" v="5" actId="1076"/>
        <pc:sldMkLst>
          <pc:docMk/>
          <pc:sldMk cId="108184244" sldId="2147470196"/>
        </pc:sldMkLst>
        <pc:picChg chg="add mod modCrop">
          <ac:chgData name="Ian Lumb" userId="2630a383-0cad-4e30-b844-8e87d31697a6" providerId="ADAL" clId="{5F0D322B-30B5-41D6-9A02-133A98E6F823}" dt="2022-06-28T00:46:45.594" v="5" actId="1076"/>
          <ac:picMkLst>
            <pc:docMk/>
            <pc:sldMk cId="108184244" sldId="2147470196"/>
            <ac:picMk id="5" creationId="{0D46B0FE-57F4-C9C0-2521-451FE7E33DF5}"/>
          </ac:picMkLst>
        </pc:picChg>
      </pc:sldChg>
      <pc:sldChg chg="del mod modShow addCm modCm">
        <pc:chgData name="Ian Lumb" userId="2630a383-0cad-4e30-b844-8e87d31697a6" providerId="ADAL" clId="{5F0D322B-30B5-41D6-9A02-133A98E6F823}" dt="2022-06-30T22:45:02.378" v="151" actId="47"/>
        <pc:sldMkLst>
          <pc:docMk/>
          <pc:sldMk cId="2669396274" sldId="2147470197"/>
        </pc:sldMkLst>
      </pc:sldChg>
      <pc:sldChg chg="add addCm">
        <pc:chgData name="Ian Lumb" userId="2630a383-0cad-4e30-b844-8e87d31697a6" providerId="ADAL" clId="{5F0D322B-30B5-41D6-9A02-133A98E6F823}" dt="2022-06-29T01:19:02.742" v="123"/>
        <pc:sldMkLst>
          <pc:docMk/>
          <pc:sldMk cId="1305034510" sldId="2147470201"/>
        </pc:sldMkLst>
      </pc:sldChg>
      <pc:sldChg chg="modSp mod modAnim">
        <pc:chgData name="Ian Lumb" userId="2630a383-0cad-4e30-b844-8e87d31697a6" providerId="ADAL" clId="{5F0D322B-30B5-41D6-9A02-133A98E6F823}" dt="2022-06-30T22:59:47.566" v="418" actId="404"/>
        <pc:sldMkLst>
          <pc:docMk/>
          <pc:sldMk cId="1911239123" sldId="2147470211"/>
        </pc:sldMkLst>
        <pc:spChg chg="mod">
          <ac:chgData name="Ian Lumb" userId="2630a383-0cad-4e30-b844-8e87d31697a6" providerId="ADAL" clId="{5F0D322B-30B5-41D6-9A02-133A98E6F823}" dt="2022-06-30T22:59:47.566" v="418" actId="404"/>
          <ac:spMkLst>
            <pc:docMk/>
            <pc:sldMk cId="1911239123" sldId="2147470211"/>
            <ac:spMk id="3" creationId="{5813D571-3500-471D-92AD-1D09387D5B23}"/>
          </ac:spMkLst>
        </pc:spChg>
      </pc:sldChg>
      <pc:sldChg chg="modSp add ord modAnim">
        <pc:chgData name="Ian Lumb" userId="2630a383-0cad-4e30-b844-8e87d31697a6" providerId="ADAL" clId="{5F0D322B-30B5-41D6-9A02-133A98E6F823}" dt="2022-06-30T22:51:47.020" v="231" actId="15"/>
        <pc:sldMkLst>
          <pc:docMk/>
          <pc:sldMk cId="473287847" sldId="2147470212"/>
        </pc:sldMkLst>
        <pc:spChg chg="mod">
          <ac:chgData name="Ian Lumb" userId="2630a383-0cad-4e30-b844-8e87d31697a6" providerId="ADAL" clId="{5F0D322B-30B5-41D6-9A02-133A98E6F823}" dt="2022-06-30T22:50:04.975" v="224" actId="20577"/>
          <ac:spMkLst>
            <pc:docMk/>
            <pc:sldMk cId="473287847" sldId="2147470212"/>
            <ac:spMk id="2" creationId="{C4A85D5A-2441-9BBB-1189-6BA372D41D58}"/>
          </ac:spMkLst>
        </pc:spChg>
        <pc:spChg chg="mod">
          <ac:chgData name="Ian Lumb" userId="2630a383-0cad-4e30-b844-8e87d31697a6" providerId="ADAL" clId="{5F0D322B-30B5-41D6-9A02-133A98E6F823}" dt="2022-06-30T22:51:47.020" v="231" actId="15"/>
          <ac:spMkLst>
            <pc:docMk/>
            <pc:sldMk cId="473287847" sldId="2147470212"/>
            <ac:spMk id="3" creationId="{C2714CCA-6290-CF17-2FB6-6FFECA34011B}"/>
          </ac:spMkLst>
        </pc:spChg>
      </pc:sldChg>
      <pc:sldChg chg="addSp delSp modSp new del mod modClrScheme chgLayout">
        <pc:chgData name="Ian Lumb" userId="2630a383-0cad-4e30-b844-8e87d31697a6" providerId="ADAL" clId="{5F0D322B-30B5-41D6-9A02-133A98E6F823}" dt="2022-06-30T22:49:50.315" v="215" actId="680"/>
        <pc:sldMkLst>
          <pc:docMk/>
          <pc:sldMk cId="2426369694" sldId="2147470212"/>
        </pc:sldMkLst>
        <pc:spChg chg="add del mod ord">
          <ac:chgData name="Ian Lumb" userId="2630a383-0cad-4e30-b844-8e87d31697a6" providerId="ADAL" clId="{5F0D322B-30B5-41D6-9A02-133A98E6F823}" dt="2022-06-30T22:49:49.093" v="214" actId="700"/>
          <ac:spMkLst>
            <pc:docMk/>
            <pc:sldMk cId="2426369694" sldId="2147470212"/>
            <ac:spMk id="2" creationId="{47E1AA6A-585E-DC59-8858-E5B148589490}"/>
          </ac:spMkLst>
        </pc:spChg>
        <pc:spChg chg="add del mod ord">
          <ac:chgData name="Ian Lumb" userId="2630a383-0cad-4e30-b844-8e87d31697a6" providerId="ADAL" clId="{5F0D322B-30B5-41D6-9A02-133A98E6F823}" dt="2022-06-30T22:49:49.093" v="214" actId="700"/>
          <ac:spMkLst>
            <pc:docMk/>
            <pc:sldMk cId="2426369694" sldId="2147470212"/>
            <ac:spMk id="3" creationId="{F1F35BDC-E2DC-ADE4-D766-1F16D4A33FCC}"/>
          </ac:spMkLst>
        </pc:spChg>
      </pc:sldChg>
      <pc:sldChg chg="add ord">
        <pc:chgData name="Ian Lumb" userId="2630a383-0cad-4e30-b844-8e87d31697a6" providerId="ADAL" clId="{5F0D322B-30B5-41D6-9A02-133A98E6F823}" dt="2022-06-30T22:52:05.062" v="234"/>
        <pc:sldMkLst>
          <pc:docMk/>
          <pc:sldMk cId="1471757934" sldId="2147470213"/>
        </pc:sldMkLst>
      </pc:sldChg>
      <pc:sldMasterChg chg="delSldLayout">
        <pc:chgData name="Ian Lumb" userId="2630a383-0cad-4e30-b844-8e87d31697a6" providerId="ADAL" clId="{5F0D322B-30B5-41D6-9A02-133A98E6F823}" dt="2022-06-30T22:47:30.685" v="202" actId="47"/>
        <pc:sldMasterMkLst>
          <pc:docMk/>
          <pc:sldMasterMk cId="4233822947" sldId="2147483660"/>
        </pc:sldMasterMkLst>
        <pc:sldLayoutChg chg="del">
          <pc:chgData name="Ian Lumb" userId="2630a383-0cad-4e30-b844-8e87d31697a6" providerId="ADAL" clId="{5F0D322B-30B5-41D6-9A02-133A98E6F823}" dt="2022-06-30T22:47:30.685" v="202" actId="47"/>
          <pc:sldLayoutMkLst>
            <pc:docMk/>
            <pc:sldMasterMk cId="4233822947" sldId="2147483660"/>
            <pc:sldLayoutMk cId="3486731494" sldId="2147483972"/>
          </pc:sldLayoutMkLst>
        </pc:sldLayoutChg>
      </pc:sldMasterChg>
      <pc:sldMasterChg chg="del delSldLayout">
        <pc:chgData name="Ian Lumb" userId="2630a383-0cad-4e30-b844-8e87d31697a6" providerId="ADAL" clId="{5F0D322B-30B5-41D6-9A02-133A98E6F823}" dt="2022-06-30T22:45:02.378" v="151" actId="47"/>
        <pc:sldMasterMkLst>
          <pc:docMk/>
          <pc:sldMasterMk cId="2833910702" sldId="2147483974"/>
        </pc:sldMasterMkLst>
        <pc:sldLayoutChg chg="del">
          <pc:chgData name="Ian Lumb" userId="2630a383-0cad-4e30-b844-8e87d31697a6" providerId="ADAL" clId="{5F0D322B-30B5-41D6-9A02-133A98E6F823}" dt="2022-06-30T22:45:02.378" v="151" actId="47"/>
          <pc:sldLayoutMkLst>
            <pc:docMk/>
            <pc:sldMasterMk cId="2833910702" sldId="2147483974"/>
            <pc:sldLayoutMk cId="1178482618" sldId="2147483975"/>
          </pc:sldLayoutMkLst>
        </pc:sldLayoutChg>
        <pc:sldLayoutChg chg="del">
          <pc:chgData name="Ian Lumb" userId="2630a383-0cad-4e30-b844-8e87d31697a6" providerId="ADAL" clId="{5F0D322B-30B5-41D6-9A02-133A98E6F823}" dt="2022-06-30T22:45:02.378" v="151" actId="47"/>
          <pc:sldLayoutMkLst>
            <pc:docMk/>
            <pc:sldMasterMk cId="2833910702" sldId="2147483974"/>
            <pc:sldLayoutMk cId="1288610217" sldId="2147483976"/>
          </pc:sldLayoutMkLst>
        </pc:sldLayoutChg>
        <pc:sldLayoutChg chg="del">
          <pc:chgData name="Ian Lumb" userId="2630a383-0cad-4e30-b844-8e87d31697a6" providerId="ADAL" clId="{5F0D322B-30B5-41D6-9A02-133A98E6F823}" dt="2022-06-30T22:45:02.378" v="151" actId="47"/>
          <pc:sldLayoutMkLst>
            <pc:docMk/>
            <pc:sldMasterMk cId="2833910702" sldId="2147483974"/>
            <pc:sldLayoutMk cId="4142011034" sldId="2147483977"/>
          </pc:sldLayoutMkLst>
        </pc:sldLayoutChg>
        <pc:sldLayoutChg chg="del">
          <pc:chgData name="Ian Lumb" userId="2630a383-0cad-4e30-b844-8e87d31697a6" providerId="ADAL" clId="{5F0D322B-30B5-41D6-9A02-133A98E6F823}" dt="2022-06-30T22:45:02.378" v="151" actId="47"/>
          <pc:sldLayoutMkLst>
            <pc:docMk/>
            <pc:sldMasterMk cId="2833910702" sldId="2147483974"/>
            <pc:sldLayoutMk cId="2524352541" sldId="2147483978"/>
          </pc:sldLayoutMkLst>
        </pc:sldLayoutChg>
        <pc:sldLayoutChg chg="del">
          <pc:chgData name="Ian Lumb" userId="2630a383-0cad-4e30-b844-8e87d31697a6" providerId="ADAL" clId="{5F0D322B-30B5-41D6-9A02-133A98E6F823}" dt="2022-06-30T22:45:02.378" v="151" actId="47"/>
          <pc:sldLayoutMkLst>
            <pc:docMk/>
            <pc:sldMasterMk cId="2833910702" sldId="2147483974"/>
            <pc:sldLayoutMk cId="698903576" sldId="2147483979"/>
          </pc:sldLayoutMkLst>
        </pc:sldLayoutChg>
        <pc:sldLayoutChg chg="del">
          <pc:chgData name="Ian Lumb" userId="2630a383-0cad-4e30-b844-8e87d31697a6" providerId="ADAL" clId="{5F0D322B-30B5-41D6-9A02-133A98E6F823}" dt="2022-06-30T22:45:02.378" v="151" actId="47"/>
          <pc:sldLayoutMkLst>
            <pc:docMk/>
            <pc:sldMasterMk cId="2833910702" sldId="2147483974"/>
            <pc:sldLayoutMk cId="1539957163" sldId="2147483980"/>
          </pc:sldLayoutMkLst>
        </pc:sldLayoutChg>
        <pc:sldLayoutChg chg="del">
          <pc:chgData name="Ian Lumb" userId="2630a383-0cad-4e30-b844-8e87d31697a6" providerId="ADAL" clId="{5F0D322B-30B5-41D6-9A02-133A98E6F823}" dt="2022-06-30T22:45:02.378" v="151" actId="47"/>
          <pc:sldLayoutMkLst>
            <pc:docMk/>
            <pc:sldMasterMk cId="2833910702" sldId="2147483974"/>
            <pc:sldLayoutMk cId="2681313335" sldId="2147483981"/>
          </pc:sldLayoutMkLst>
        </pc:sldLayoutChg>
        <pc:sldLayoutChg chg="del">
          <pc:chgData name="Ian Lumb" userId="2630a383-0cad-4e30-b844-8e87d31697a6" providerId="ADAL" clId="{5F0D322B-30B5-41D6-9A02-133A98E6F823}" dt="2022-06-30T22:45:02.378" v="151" actId="47"/>
          <pc:sldLayoutMkLst>
            <pc:docMk/>
            <pc:sldMasterMk cId="2833910702" sldId="2147483974"/>
            <pc:sldLayoutMk cId="255268332" sldId="2147483982"/>
          </pc:sldLayoutMkLst>
        </pc:sldLayoutChg>
        <pc:sldLayoutChg chg="del">
          <pc:chgData name="Ian Lumb" userId="2630a383-0cad-4e30-b844-8e87d31697a6" providerId="ADAL" clId="{5F0D322B-30B5-41D6-9A02-133A98E6F823}" dt="2022-06-30T22:45:02.378" v="151" actId="47"/>
          <pc:sldLayoutMkLst>
            <pc:docMk/>
            <pc:sldMasterMk cId="2833910702" sldId="2147483974"/>
            <pc:sldLayoutMk cId="3681560399" sldId="2147483983"/>
          </pc:sldLayoutMkLst>
        </pc:sldLayoutChg>
        <pc:sldLayoutChg chg="del">
          <pc:chgData name="Ian Lumb" userId="2630a383-0cad-4e30-b844-8e87d31697a6" providerId="ADAL" clId="{5F0D322B-30B5-41D6-9A02-133A98E6F823}" dt="2022-06-30T22:45:02.378" v="151" actId="47"/>
          <pc:sldLayoutMkLst>
            <pc:docMk/>
            <pc:sldMasterMk cId="2833910702" sldId="2147483974"/>
            <pc:sldLayoutMk cId="2202750248" sldId="2147483984"/>
          </pc:sldLayoutMkLst>
        </pc:sldLayoutChg>
        <pc:sldLayoutChg chg="del">
          <pc:chgData name="Ian Lumb" userId="2630a383-0cad-4e30-b844-8e87d31697a6" providerId="ADAL" clId="{5F0D322B-30B5-41D6-9A02-133A98E6F823}" dt="2022-06-30T22:45:02.378" v="151" actId="47"/>
          <pc:sldLayoutMkLst>
            <pc:docMk/>
            <pc:sldMasterMk cId="2833910702" sldId="2147483974"/>
            <pc:sldLayoutMk cId="1357137242" sldId="2147483985"/>
          </pc:sldLayoutMkLst>
        </pc:sldLayoutChg>
      </pc:sldMasterChg>
    </pc:docChg>
  </pc:docChgLst>
  <pc:docChgLst>
    <pc:chgData name="Ian Lumb" userId="2630a383-0cad-4e30-b844-8e87d31697a6" providerId="ADAL" clId="{15AB5521-4E12-48E7-B1FA-C65CBFDBB35B}"/>
    <pc:docChg chg="undo custSel addSld delSld modSld sldOrd">
      <pc:chgData name="Ian Lumb" userId="2630a383-0cad-4e30-b844-8e87d31697a6" providerId="ADAL" clId="{15AB5521-4E12-48E7-B1FA-C65CBFDBB35B}" dt="2022-06-15T02:39:20.169" v="2482" actId="15"/>
      <pc:docMkLst>
        <pc:docMk/>
      </pc:docMkLst>
      <pc:sldChg chg="addSp modSp del mod">
        <pc:chgData name="Ian Lumb" userId="2630a383-0cad-4e30-b844-8e87d31697a6" providerId="ADAL" clId="{15AB5521-4E12-48E7-B1FA-C65CBFDBB35B}" dt="2022-06-15T01:48:16.056" v="1536" actId="47"/>
        <pc:sldMkLst>
          <pc:docMk/>
          <pc:sldMk cId="2982084907" sldId="264"/>
        </pc:sldMkLst>
        <pc:spChg chg="add mod">
          <ac:chgData name="Ian Lumb" userId="2630a383-0cad-4e30-b844-8e87d31697a6" providerId="ADAL" clId="{15AB5521-4E12-48E7-B1FA-C65CBFDBB35B}" dt="2022-06-15T01:21:28.395" v="453" actId="113"/>
          <ac:spMkLst>
            <pc:docMk/>
            <pc:sldMk cId="2982084907" sldId="264"/>
            <ac:spMk id="2" creationId="{A0FE0C61-C0F2-EF79-2F2A-E01EEED09C32}"/>
          </ac:spMkLst>
        </pc:spChg>
      </pc:sldChg>
      <pc:sldChg chg="del">
        <pc:chgData name="Ian Lumb" userId="2630a383-0cad-4e30-b844-8e87d31697a6" providerId="ADAL" clId="{15AB5521-4E12-48E7-B1FA-C65CBFDBB35B}" dt="2022-06-14T16:37:29.899" v="17" actId="47"/>
        <pc:sldMkLst>
          <pc:docMk/>
          <pc:sldMk cId="3825778625" sldId="288"/>
        </pc:sldMkLst>
      </pc:sldChg>
      <pc:sldChg chg="del">
        <pc:chgData name="Ian Lumb" userId="2630a383-0cad-4e30-b844-8e87d31697a6" providerId="ADAL" clId="{15AB5521-4E12-48E7-B1FA-C65CBFDBB35B}" dt="2022-06-14T16:37:29.899" v="17" actId="47"/>
        <pc:sldMkLst>
          <pc:docMk/>
          <pc:sldMk cId="3839602372" sldId="289"/>
        </pc:sldMkLst>
      </pc:sldChg>
      <pc:sldChg chg="del">
        <pc:chgData name="Ian Lumb" userId="2630a383-0cad-4e30-b844-8e87d31697a6" providerId="ADAL" clId="{15AB5521-4E12-48E7-B1FA-C65CBFDBB35B}" dt="2022-06-14T16:37:29.899" v="17" actId="47"/>
        <pc:sldMkLst>
          <pc:docMk/>
          <pc:sldMk cId="2769012362" sldId="290"/>
        </pc:sldMkLst>
      </pc:sldChg>
      <pc:sldChg chg="modSp mod ord">
        <pc:chgData name="Ian Lumb" userId="2630a383-0cad-4e30-b844-8e87d31697a6" providerId="ADAL" clId="{15AB5521-4E12-48E7-B1FA-C65CBFDBB35B}" dt="2022-06-14T23:53:48.812" v="20"/>
        <pc:sldMkLst>
          <pc:docMk/>
          <pc:sldMk cId="3396625383" sldId="291"/>
        </pc:sldMkLst>
        <pc:spChg chg="mod">
          <ac:chgData name="Ian Lumb" userId="2630a383-0cad-4e30-b844-8e87d31697a6" providerId="ADAL" clId="{15AB5521-4E12-48E7-B1FA-C65CBFDBB35B}" dt="2022-06-14T16:37:21.527" v="16" actId="20577"/>
          <ac:spMkLst>
            <pc:docMk/>
            <pc:sldMk cId="3396625383" sldId="291"/>
            <ac:spMk id="5" creationId="{07213ABD-2DEF-070E-5C92-2686669F2861}"/>
          </ac:spMkLst>
        </pc:spChg>
      </pc:sldChg>
      <pc:sldChg chg="addSp delSp modSp new ord">
        <pc:chgData name="Ian Lumb" userId="2630a383-0cad-4e30-b844-8e87d31697a6" providerId="ADAL" clId="{15AB5521-4E12-48E7-B1FA-C65CBFDBB35B}" dt="2022-06-15T02:02:11.553" v="1556"/>
        <pc:sldMkLst>
          <pc:docMk/>
          <pc:sldMk cId="3329845461" sldId="292"/>
        </pc:sldMkLst>
        <pc:spChg chg="add del mod">
          <ac:chgData name="Ian Lumb" userId="2630a383-0cad-4e30-b844-8e87d31697a6" providerId="ADAL" clId="{15AB5521-4E12-48E7-B1FA-C65CBFDBB35B}" dt="2022-06-15T02:01:00.167" v="1553" actId="767"/>
          <ac:spMkLst>
            <pc:docMk/>
            <pc:sldMk cId="3329845461" sldId="292"/>
            <ac:spMk id="3" creationId="{F7C53746-B885-9C59-A27E-9D21955C972F}"/>
          </ac:spMkLst>
        </pc:spChg>
        <pc:picChg chg="add">
          <ac:chgData name="Ian Lumb" userId="2630a383-0cad-4e30-b844-8e87d31697a6" providerId="ADAL" clId="{15AB5521-4E12-48E7-B1FA-C65CBFDBB35B}" dt="2022-06-15T02:01:36.993" v="1554"/>
          <ac:picMkLst>
            <pc:docMk/>
            <pc:sldMk cId="3329845461" sldId="292"/>
            <ac:picMk id="1026" creationId="{95A5A0F2-138E-F953-CF38-25AD11CF3358}"/>
          </ac:picMkLst>
        </pc:picChg>
      </pc:sldChg>
      <pc:sldChg chg="del">
        <pc:chgData name="Ian Lumb" userId="2630a383-0cad-4e30-b844-8e87d31697a6" providerId="ADAL" clId="{15AB5521-4E12-48E7-B1FA-C65CBFDBB35B}" dt="2022-06-14T16:37:29.899" v="17" actId="47"/>
        <pc:sldMkLst>
          <pc:docMk/>
          <pc:sldMk cId="4229963047" sldId="292"/>
        </pc:sldMkLst>
      </pc:sldChg>
      <pc:sldChg chg="modSp del mod">
        <pc:chgData name="Ian Lumb" userId="2630a383-0cad-4e30-b844-8e87d31697a6" providerId="ADAL" clId="{15AB5521-4E12-48E7-B1FA-C65CBFDBB35B}" dt="2022-06-15T01:08:51.708" v="166" actId="20577"/>
        <pc:sldMkLst>
          <pc:docMk/>
          <pc:sldMk cId="1673758636" sldId="293"/>
        </pc:sldMkLst>
        <pc:spChg chg="mod">
          <ac:chgData name="Ian Lumb" userId="2630a383-0cad-4e30-b844-8e87d31697a6" providerId="ADAL" clId="{15AB5521-4E12-48E7-B1FA-C65CBFDBB35B}" dt="2022-06-15T01:08:19.422" v="148" actId="20577"/>
          <ac:spMkLst>
            <pc:docMk/>
            <pc:sldMk cId="1673758636" sldId="293"/>
            <ac:spMk id="2" creationId="{8EAC4AA9-36BF-1762-A580-25E52C437B93}"/>
          </ac:spMkLst>
        </pc:spChg>
        <pc:spChg chg="mod">
          <ac:chgData name="Ian Lumb" userId="2630a383-0cad-4e30-b844-8e87d31697a6" providerId="ADAL" clId="{15AB5521-4E12-48E7-B1FA-C65CBFDBB35B}" dt="2022-06-15T01:08:51.708" v="166" actId="20577"/>
          <ac:spMkLst>
            <pc:docMk/>
            <pc:sldMk cId="1673758636" sldId="293"/>
            <ac:spMk id="6" creationId="{CBF34873-A3B9-F104-E9F3-9993E32D1909}"/>
          </ac:spMkLst>
        </pc:spChg>
      </pc:sldChg>
      <pc:sldChg chg="del">
        <pc:chgData name="Ian Lumb" userId="2630a383-0cad-4e30-b844-8e87d31697a6" providerId="ADAL" clId="{15AB5521-4E12-48E7-B1FA-C65CBFDBB35B}" dt="2022-06-14T16:37:29.899" v="17" actId="47"/>
        <pc:sldMkLst>
          <pc:docMk/>
          <pc:sldMk cId="1447758559" sldId="294"/>
        </pc:sldMkLst>
      </pc:sldChg>
      <pc:sldChg chg="del">
        <pc:chgData name="Ian Lumb" userId="2630a383-0cad-4e30-b844-8e87d31697a6" providerId="ADAL" clId="{15AB5521-4E12-48E7-B1FA-C65CBFDBB35B}" dt="2022-06-14T16:37:29.899" v="17" actId="47"/>
        <pc:sldMkLst>
          <pc:docMk/>
          <pc:sldMk cId="3052188532" sldId="295"/>
        </pc:sldMkLst>
      </pc:sldChg>
      <pc:sldChg chg="del">
        <pc:chgData name="Ian Lumb" userId="2630a383-0cad-4e30-b844-8e87d31697a6" providerId="ADAL" clId="{15AB5521-4E12-48E7-B1FA-C65CBFDBB35B}" dt="2022-06-14T16:37:29.899" v="17" actId="47"/>
        <pc:sldMkLst>
          <pc:docMk/>
          <pc:sldMk cId="2965792413" sldId="296"/>
        </pc:sldMkLst>
      </pc:sldChg>
      <pc:sldChg chg="del">
        <pc:chgData name="Ian Lumb" userId="2630a383-0cad-4e30-b844-8e87d31697a6" providerId="ADAL" clId="{15AB5521-4E12-48E7-B1FA-C65CBFDBB35B}" dt="2022-06-14T16:37:29.899" v="17" actId="47"/>
        <pc:sldMkLst>
          <pc:docMk/>
          <pc:sldMk cId="3828084957" sldId="297"/>
        </pc:sldMkLst>
      </pc:sldChg>
      <pc:sldChg chg="del">
        <pc:chgData name="Ian Lumb" userId="2630a383-0cad-4e30-b844-8e87d31697a6" providerId="ADAL" clId="{15AB5521-4E12-48E7-B1FA-C65CBFDBB35B}" dt="2022-06-14T16:37:29.899" v="17" actId="47"/>
        <pc:sldMkLst>
          <pc:docMk/>
          <pc:sldMk cId="3018816566" sldId="298"/>
        </pc:sldMkLst>
      </pc:sldChg>
      <pc:sldChg chg="del">
        <pc:chgData name="Ian Lumb" userId="2630a383-0cad-4e30-b844-8e87d31697a6" providerId="ADAL" clId="{15AB5521-4E12-48E7-B1FA-C65CBFDBB35B}" dt="2022-06-14T16:37:29.899" v="17" actId="47"/>
        <pc:sldMkLst>
          <pc:docMk/>
          <pc:sldMk cId="2570058085" sldId="299"/>
        </pc:sldMkLst>
      </pc:sldChg>
      <pc:sldChg chg="modSp del mod">
        <pc:chgData name="Ian Lumb" userId="2630a383-0cad-4e30-b844-8e87d31697a6" providerId="ADAL" clId="{15AB5521-4E12-48E7-B1FA-C65CBFDBB35B}" dt="2022-06-15T01:35:27.368" v="844" actId="20577"/>
        <pc:sldMkLst>
          <pc:docMk/>
          <pc:sldMk cId="3592828332" sldId="300"/>
        </pc:sldMkLst>
        <pc:spChg chg="mod">
          <ac:chgData name="Ian Lumb" userId="2630a383-0cad-4e30-b844-8e87d31697a6" providerId="ADAL" clId="{15AB5521-4E12-48E7-B1FA-C65CBFDBB35B}" dt="2022-06-15T01:35:27.368" v="844" actId="20577"/>
          <ac:spMkLst>
            <pc:docMk/>
            <pc:sldMk cId="3592828332" sldId="300"/>
            <ac:spMk id="3" creationId="{C2714CCA-6290-CF17-2FB6-6FFECA34011B}"/>
          </ac:spMkLst>
        </pc:spChg>
      </pc:sldChg>
      <pc:sldChg chg="modSp del mod">
        <pc:chgData name="Ian Lumb" userId="2630a383-0cad-4e30-b844-8e87d31697a6" providerId="ADAL" clId="{15AB5521-4E12-48E7-B1FA-C65CBFDBB35B}" dt="2022-06-15T01:39:33.499" v="1092" actId="20577"/>
        <pc:sldMkLst>
          <pc:docMk/>
          <pc:sldMk cId="3830481652" sldId="301"/>
        </pc:sldMkLst>
        <pc:spChg chg="mod">
          <ac:chgData name="Ian Lumb" userId="2630a383-0cad-4e30-b844-8e87d31697a6" providerId="ADAL" clId="{15AB5521-4E12-48E7-B1FA-C65CBFDBB35B}" dt="2022-06-15T01:29:35.573" v="793" actId="20577"/>
          <ac:spMkLst>
            <pc:docMk/>
            <pc:sldMk cId="3830481652" sldId="301"/>
            <ac:spMk id="2" creationId="{0F8CF62C-B4F7-084C-BCD9-D47315CF6088}"/>
          </ac:spMkLst>
        </pc:spChg>
        <pc:spChg chg="mod">
          <ac:chgData name="Ian Lumb" userId="2630a383-0cad-4e30-b844-8e87d31697a6" providerId="ADAL" clId="{15AB5521-4E12-48E7-B1FA-C65CBFDBB35B}" dt="2022-06-15T01:39:02.856" v="1017" actId="20577"/>
          <ac:spMkLst>
            <pc:docMk/>
            <pc:sldMk cId="3830481652" sldId="301"/>
            <ac:spMk id="3" creationId="{495AACDC-77E8-E867-03E7-31C44D307B1A}"/>
          </ac:spMkLst>
        </pc:spChg>
        <pc:spChg chg="mod">
          <ac:chgData name="Ian Lumb" userId="2630a383-0cad-4e30-b844-8e87d31697a6" providerId="ADAL" clId="{15AB5521-4E12-48E7-B1FA-C65CBFDBB35B}" dt="2022-06-15T01:39:33.499" v="1092" actId="20577"/>
          <ac:spMkLst>
            <pc:docMk/>
            <pc:sldMk cId="3830481652" sldId="301"/>
            <ac:spMk id="5" creationId="{C7F98ED8-393D-59CE-ED34-09E4CD2D3A46}"/>
          </ac:spMkLst>
        </pc:spChg>
      </pc:sldChg>
      <pc:sldChg chg="add del">
        <pc:chgData name="Ian Lumb" userId="2630a383-0cad-4e30-b844-8e87d31697a6" providerId="ADAL" clId="{15AB5521-4E12-48E7-B1FA-C65CBFDBB35B}" dt="2022-06-15T00:06:08.429" v="23" actId="47"/>
        <pc:sldMkLst>
          <pc:docMk/>
          <pc:sldMk cId="4052090056" sldId="9682"/>
        </pc:sldMkLst>
      </pc:sldChg>
      <pc:sldChg chg="add ord">
        <pc:chgData name="Ian Lumb" userId="2630a383-0cad-4e30-b844-8e87d31697a6" providerId="ADAL" clId="{15AB5521-4E12-48E7-B1FA-C65CBFDBB35B}" dt="2022-06-15T01:55:27.919" v="1540" actId="20578"/>
        <pc:sldMkLst>
          <pc:docMk/>
          <pc:sldMk cId="1469576865" sldId="11666"/>
        </pc:sldMkLst>
      </pc:sldChg>
      <pc:sldChg chg="add ord">
        <pc:chgData name="Ian Lumb" userId="2630a383-0cad-4e30-b844-8e87d31697a6" providerId="ADAL" clId="{15AB5521-4E12-48E7-B1FA-C65CBFDBB35B}" dt="2022-06-15T01:55:36.791" v="1542"/>
        <pc:sldMkLst>
          <pc:docMk/>
          <pc:sldMk cId="2205024091" sldId="11667"/>
        </pc:sldMkLst>
      </pc:sldChg>
      <pc:sldChg chg="add">
        <pc:chgData name="Ian Lumb" userId="2630a383-0cad-4e30-b844-8e87d31697a6" providerId="ADAL" clId="{15AB5521-4E12-48E7-B1FA-C65CBFDBB35B}" dt="2022-06-15T01:56:36.116" v="1543"/>
        <pc:sldMkLst>
          <pc:docMk/>
          <pc:sldMk cId="267651035" sldId="11672"/>
        </pc:sldMkLst>
      </pc:sldChg>
      <pc:sldChg chg="add ord">
        <pc:chgData name="Ian Lumb" userId="2630a383-0cad-4e30-b844-8e87d31697a6" providerId="ADAL" clId="{15AB5521-4E12-48E7-B1FA-C65CBFDBB35B}" dt="2022-06-15T01:55:27.919" v="1540" actId="20578"/>
        <pc:sldMkLst>
          <pc:docMk/>
          <pc:sldMk cId="23236823" sldId="2076137088"/>
        </pc:sldMkLst>
      </pc:sldChg>
      <pc:sldChg chg="del">
        <pc:chgData name="Ian Lumb" userId="2630a383-0cad-4e30-b844-8e87d31697a6" providerId="ADAL" clId="{15AB5521-4E12-48E7-B1FA-C65CBFDBB35B}" dt="2022-06-15T01:56:52.292" v="1544" actId="47"/>
        <pc:sldMkLst>
          <pc:docMk/>
          <pc:sldMk cId="2658619252" sldId="2076137346"/>
        </pc:sldMkLst>
      </pc:sldChg>
      <pc:sldChg chg="modSp mod">
        <pc:chgData name="Ian Lumb" userId="2630a383-0cad-4e30-b844-8e87d31697a6" providerId="ADAL" clId="{15AB5521-4E12-48E7-B1FA-C65CBFDBB35B}" dt="2022-06-15T01:46:41.940" v="1535" actId="20577"/>
        <pc:sldMkLst>
          <pc:docMk/>
          <pc:sldMk cId="3671410135" sldId="2147469594"/>
        </pc:sldMkLst>
        <pc:spChg chg="mod">
          <ac:chgData name="Ian Lumb" userId="2630a383-0cad-4e30-b844-8e87d31697a6" providerId="ADAL" clId="{15AB5521-4E12-48E7-B1FA-C65CBFDBB35B}" dt="2022-06-15T01:46:41.940" v="1535" actId="20577"/>
          <ac:spMkLst>
            <pc:docMk/>
            <pc:sldMk cId="3671410135" sldId="2147469594"/>
            <ac:spMk id="5" creationId="{885FFBA3-7486-B77C-F47C-9E03FBAC196D}"/>
          </ac:spMkLst>
        </pc:spChg>
      </pc:sldChg>
      <pc:sldChg chg="del">
        <pc:chgData name="Ian Lumb" userId="2630a383-0cad-4e30-b844-8e87d31697a6" providerId="ADAL" clId="{15AB5521-4E12-48E7-B1FA-C65CBFDBB35B}" dt="2022-06-14T23:53:50.703" v="21" actId="47"/>
        <pc:sldMkLst>
          <pc:docMk/>
          <pc:sldMk cId="619484392" sldId="2147469600"/>
        </pc:sldMkLst>
      </pc:sldChg>
      <pc:sldChg chg="modSp mod">
        <pc:chgData name="Ian Lumb" userId="2630a383-0cad-4e30-b844-8e87d31697a6" providerId="ADAL" clId="{15AB5521-4E12-48E7-B1FA-C65CBFDBB35B}" dt="2022-06-15T02:00:32.413" v="1551" actId="27636"/>
        <pc:sldMkLst>
          <pc:docMk/>
          <pc:sldMk cId="3799475860" sldId="2147469600"/>
        </pc:sldMkLst>
        <pc:spChg chg="mod">
          <ac:chgData name="Ian Lumb" userId="2630a383-0cad-4e30-b844-8e87d31697a6" providerId="ADAL" clId="{15AB5521-4E12-48E7-B1FA-C65CBFDBB35B}" dt="2022-06-15T02:00:32.413" v="1551" actId="27636"/>
          <ac:spMkLst>
            <pc:docMk/>
            <pc:sldMk cId="3799475860" sldId="2147469600"/>
            <ac:spMk id="4" creationId="{78A93F1D-1761-BDD1-0329-1BBF70FB31C6}"/>
          </ac:spMkLst>
        </pc:spChg>
      </pc:sldChg>
      <pc:sldChg chg="add">
        <pc:chgData name="Ian Lumb" userId="2630a383-0cad-4e30-b844-8e87d31697a6" providerId="ADAL" clId="{15AB5521-4E12-48E7-B1FA-C65CBFDBB35B}" dt="2022-06-15T02:02:42.015" v="1557"/>
        <pc:sldMkLst>
          <pc:docMk/>
          <pc:sldMk cId="2586040291" sldId="2147469605"/>
        </pc:sldMkLst>
      </pc:sldChg>
      <pc:sldChg chg="modSp mod">
        <pc:chgData name="Ian Lumb" userId="2630a383-0cad-4e30-b844-8e87d31697a6" providerId="ADAL" clId="{15AB5521-4E12-48E7-B1FA-C65CBFDBB35B}" dt="2022-06-15T02:12:02.215" v="1671" actId="20577"/>
        <pc:sldMkLst>
          <pc:docMk/>
          <pc:sldMk cId="1117014756" sldId="2147469609"/>
        </pc:sldMkLst>
        <pc:spChg chg="mod">
          <ac:chgData name="Ian Lumb" userId="2630a383-0cad-4e30-b844-8e87d31697a6" providerId="ADAL" clId="{15AB5521-4E12-48E7-B1FA-C65CBFDBB35B}" dt="2022-06-15T02:12:02.215" v="1671" actId="20577"/>
          <ac:spMkLst>
            <pc:docMk/>
            <pc:sldMk cId="1117014756" sldId="2147469609"/>
            <ac:spMk id="3" creationId="{5813D571-3500-471D-92AD-1D09387D5B23}"/>
          </ac:spMkLst>
        </pc:spChg>
      </pc:sldChg>
      <pc:sldChg chg="modSp mod">
        <pc:chgData name="Ian Lumb" userId="2630a383-0cad-4e30-b844-8e87d31697a6" providerId="ADAL" clId="{15AB5521-4E12-48E7-B1FA-C65CBFDBB35B}" dt="2022-06-15T02:18:22.441" v="1972" actId="20577"/>
        <pc:sldMkLst>
          <pc:docMk/>
          <pc:sldMk cId="4229963047" sldId="2147469617"/>
        </pc:sldMkLst>
        <pc:spChg chg="mod">
          <ac:chgData name="Ian Lumb" userId="2630a383-0cad-4e30-b844-8e87d31697a6" providerId="ADAL" clId="{15AB5521-4E12-48E7-B1FA-C65CBFDBB35B}" dt="2022-06-15T02:18:22.441" v="1972" actId="20577"/>
          <ac:spMkLst>
            <pc:docMk/>
            <pc:sldMk cId="4229963047" sldId="2147469617"/>
            <ac:spMk id="6" creationId="{CBF34873-A3B9-F104-E9F3-9993E32D1909}"/>
          </ac:spMkLst>
        </pc:spChg>
      </pc:sldChg>
      <pc:sldChg chg="modSp mod">
        <pc:chgData name="Ian Lumb" userId="2630a383-0cad-4e30-b844-8e87d31697a6" providerId="ADAL" clId="{15AB5521-4E12-48E7-B1FA-C65CBFDBB35B}" dt="2022-06-15T01:18:05.780" v="384" actId="20577"/>
        <pc:sldMkLst>
          <pc:docMk/>
          <pc:sldMk cId="1212369767" sldId="2147469619"/>
        </pc:sldMkLst>
        <pc:spChg chg="mod">
          <ac:chgData name="Ian Lumb" userId="2630a383-0cad-4e30-b844-8e87d31697a6" providerId="ADAL" clId="{15AB5521-4E12-48E7-B1FA-C65CBFDBB35B}" dt="2022-06-15T01:18:05.780" v="384" actId="20577"/>
          <ac:spMkLst>
            <pc:docMk/>
            <pc:sldMk cId="1212369767" sldId="2147469619"/>
            <ac:spMk id="7" creationId="{D868D8D2-525D-6FA9-C293-D45D2FF97D31}"/>
          </ac:spMkLst>
        </pc:spChg>
      </pc:sldChg>
      <pc:sldChg chg="ord">
        <pc:chgData name="Ian Lumb" userId="2630a383-0cad-4e30-b844-8e87d31697a6" providerId="ADAL" clId="{15AB5521-4E12-48E7-B1FA-C65CBFDBB35B}" dt="2022-06-15T01:59:23.582" v="1547"/>
        <pc:sldMkLst>
          <pc:docMk/>
          <pc:sldMk cId="2454618038" sldId="2147470023"/>
        </pc:sldMkLst>
      </pc:sldChg>
      <pc:sldChg chg="add">
        <pc:chgData name="Ian Lumb" userId="2630a383-0cad-4e30-b844-8e87d31697a6" providerId="ADAL" clId="{15AB5521-4E12-48E7-B1FA-C65CBFDBB35B}" dt="2022-06-15T01:57:29.329" v="1545"/>
        <pc:sldMkLst>
          <pc:docMk/>
          <pc:sldMk cId="1038962183" sldId="2147470184"/>
        </pc:sldMkLst>
      </pc:sldChg>
      <pc:sldChg chg="add">
        <pc:chgData name="Ian Lumb" userId="2630a383-0cad-4e30-b844-8e87d31697a6" providerId="ADAL" clId="{15AB5521-4E12-48E7-B1FA-C65CBFDBB35B}" dt="2022-06-15T01:57:29.329" v="1545"/>
        <pc:sldMkLst>
          <pc:docMk/>
          <pc:sldMk cId="2526638429" sldId="2147470185"/>
        </pc:sldMkLst>
      </pc:sldChg>
      <pc:sldChg chg="add">
        <pc:chgData name="Ian Lumb" userId="2630a383-0cad-4e30-b844-8e87d31697a6" providerId="ADAL" clId="{15AB5521-4E12-48E7-B1FA-C65CBFDBB35B}" dt="2022-06-15T01:57:29.329" v="1545"/>
        <pc:sldMkLst>
          <pc:docMk/>
          <pc:sldMk cId="429378152" sldId="2147470186"/>
        </pc:sldMkLst>
      </pc:sldChg>
      <pc:sldChg chg="addSp delSp modSp new mod modClrScheme chgLayout">
        <pc:chgData name="Ian Lumb" userId="2630a383-0cad-4e30-b844-8e87d31697a6" providerId="ADAL" clId="{15AB5521-4E12-48E7-B1FA-C65CBFDBB35B}" dt="2022-06-15T02:30:47.909" v="2280" actId="20577"/>
        <pc:sldMkLst>
          <pc:docMk/>
          <pc:sldMk cId="1229434402" sldId="2147470187"/>
        </pc:sldMkLst>
        <pc:spChg chg="del mod ord">
          <ac:chgData name="Ian Lumb" userId="2630a383-0cad-4e30-b844-8e87d31697a6" providerId="ADAL" clId="{15AB5521-4E12-48E7-B1FA-C65CBFDBB35B}" dt="2022-06-15T02:09:36.648" v="1559" actId="700"/>
          <ac:spMkLst>
            <pc:docMk/>
            <pc:sldMk cId="1229434402" sldId="2147470187"/>
            <ac:spMk id="2" creationId="{C14D32F9-85E0-9421-7423-127F37422BD0}"/>
          </ac:spMkLst>
        </pc:spChg>
        <pc:spChg chg="del mod ord">
          <ac:chgData name="Ian Lumb" userId="2630a383-0cad-4e30-b844-8e87d31697a6" providerId="ADAL" clId="{15AB5521-4E12-48E7-B1FA-C65CBFDBB35B}" dt="2022-06-15T02:09:36.648" v="1559" actId="700"/>
          <ac:spMkLst>
            <pc:docMk/>
            <pc:sldMk cId="1229434402" sldId="2147470187"/>
            <ac:spMk id="3" creationId="{4D31B8E1-E609-130F-8922-04C0E1D1DC5F}"/>
          </ac:spMkLst>
        </pc:spChg>
        <pc:spChg chg="mod ord">
          <ac:chgData name="Ian Lumb" userId="2630a383-0cad-4e30-b844-8e87d31697a6" providerId="ADAL" clId="{15AB5521-4E12-48E7-B1FA-C65CBFDBB35B}" dt="2022-06-15T02:09:36.648" v="1559" actId="700"/>
          <ac:spMkLst>
            <pc:docMk/>
            <pc:sldMk cId="1229434402" sldId="2147470187"/>
            <ac:spMk id="4" creationId="{4820D3A8-C50F-8A47-44AC-EFA6FC4FD82B}"/>
          </ac:spMkLst>
        </pc:spChg>
        <pc:spChg chg="add mod ord">
          <ac:chgData name="Ian Lumb" userId="2630a383-0cad-4e30-b844-8e87d31697a6" providerId="ADAL" clId="{15AB5521-4E12-48E7-B1FA-C65CBFDBB35B}" dt="2022-06-15T02:12:43.600" v="1707" actId="20577"/>
          <ac:spMkLst>
            <pc:docMk/>
            <pc:sldMk cId="1229434402" sldId="2147470187"/>
            <ac:spMk id="5" creationId="{B9B142C6-67F5-ADCB-EC38-0C83CAA5ABD1}"/>
          </ac:spMkLst>
        </pc:spChg>
        <pc:spChg chg="add mod ord">
          <ac:chgData name="Ian Lumb" userId="2630a383-0cad-4e30-b844-8e87d31697a6" providerId="ADAL" clId="{15AB5521-4E12-48E7-B1FA-C65CBFDBB35B}" dt="2022-06-15T02:30:47.909" v="2280" actId="20577"/>
          <ac:spMkLst>
            <pc:docMk/>
            <pc:sldMk cId="1229434402" sldId="2147470187"/>
            <ac:spMk id="6" creationId="{57B6340A-10FD-7A54-00C3-B2C15D530C66}"/>
          </ac:spMkLst>
        </pc:spChg>
      </pc:sldChg>
      <pc:sldChg chg="modSp new mod">
        <pc:chgData name="Ian Lumb" userId="2630a383-0cad-4e30-b844-8e87d31697a6" providerId="ADAL" clId="{15AB5521-4E12-48E7-B1FA-C65CBFDBB35B}" dt="2022-06-15T02:21:38.638" v="2139" actId="20577"/>
        <pc:sldMkLst>
          <pc:docMk/>
          <pc:sldMk cId="1151731301" sldId="2147470188"/>
        </pc:sldMkLst>
        <pc:spChg chg="mod">
          <ac:chgData name="Ian Lumb" userId="2630a383-0cad-4e30-b844-8e87d31697a6" providerId="ADAL" clId="{15AB5521-4E12-48E7-B1FA-C65CBFDBB35B}" dt="2022-06-15T02:19:04.396" v="2008" actId="20577"/>
          <ac:spMkLst>
            <pc:docMk/>
            <pc:sldMk cId="1151731301" sldId="2147470188"/>
            <ac:spMk id="2" creationId="{18BE0E10-DC8B-2E87-115C-16CAB558BB86}"/>
          </ac:spMkLst>
        </pc:spChg>
        <pc:spChg chg="mod">
          <ac:chgData name="Ian Lumb" userId="2630a383-0cad-4e30-b844-8e87d31697a6" providerId="ADAL" clId="{15AB5521-4E12-48E7-B1FA-C65CBFDBB35B}" dt="2022-06-15T02:21:38.638" v="2139" actId="20577"/>
          <ac:spMkLst>
            <pc:docMk/>
            <pc:sldMk cId="1151731301" sldId="2147470188"/>
            <ac:spMk id="3" creationId="{BA6CAD71-2B13-63B5-1C6F-EA6CF19183F5}"/>
          </ac:spMkLst>
        </pc:spChg>
      </pc:sldChg>
      <pc:sldChg chg="addSp delSp modSp new mod ord modClrScheme chgLayout">
        <pc:chgData name="Ian Lumb" userId="2630a383-0cad-4e30-b844-8e87d31697a6" providerId="ADAL" clId="{15AB5521-4E12-48E7-B1FA-C65CBFDBB35B}" dt="2022-06-15T02:24:37.472" v="2143"/>
        <pc:sldMkLst>
          <pc:docMk/>
          <pc:sldMk cId="2996763583" sldId="2147470189"/>
        </pc:sldMkLst>
        <pc:spChg chg="del mod">
          <ac:chgData name="Ian Lumb" userId="2630a383-0cad-4e30-b844-8e87d31697a6" providerId="ADAL" clId="{15AB5521-4E12-48E7-B1FA-C65CBFDBB35B}" dt="2022-06-15T02:24:17.889" v="2140" actId="700"/>
          <ac:spMkLst>
            <pc:docMk/>
            <pc:sldMk cId="2996763583" sldId="2147470189"/>
            <ac:spMk id="2" creationId="{07705B1A-5598-1109-6EE0-35DA0A30BB60}"/>
          </ac:spMkLst>
        </pc:spChg>
        <pc:spChg chg="del">
          <ac:chgData name="Ian Lumb" userId="2630a383-0cad-4e30-b844-8e87d31697a6" providerId="ADAL" clId="{15AB5521-4E12-48E7-B1FA-C65CBFDBB35B}" dt="2022-06-15T02:24:17.889" v="2140" actId="700"/>
          <ac:spMkLst>
            <pc:docMk/>
            <pc:sldMk cId="2996763583" sldId="2147470189"/>
            <ac:spMk id="3" creationId="{0A6A2CD5-EA4B-0ECD-1C4B-59F1E45A91A6}"/>
          </ac:spMkLst>
        </pc:spChg>
        <pc:spChg chg="mod ord">
          <ac:chgData name="Ian Lumb" userId="2630a383-0cad-4e30-b844-8e87d31697a6" providerId="ADAL" clId="{15AB5521-4E12-48E7-B1FA-C65CBFDBB35B}" dt="2022-06-15T02:24:17.889" v="2140" actId="700"/>
          <ac:spMkLst>
            <pc:docMk/>
            <pc:sldMk cId="2996763583" sldId="2147470189"/>
            <ac:spMk id="4" creationId="{B7012214-46B7-851C-C3FF-45FECB67550F}"/>
          </ac:spMkLst>
        </pc:spChg>
        <pc:picChg chg="add">
          <ac:chgData name="Ian Lumb" userId="2630a383-0cad-4e30-b844-8e87d31697a6" providerId="ADAL" clId="{15AB5521-4E12-48E7-B1FA-C65CBFDBB35B}" dt="2022-06-15T02:24:20.781" v="2141"/>
          <ac:picMkLst>
            <pc:docMk/>
            <pc:sldMk cId="2996763583" sldId="2147470189"/>
            <ac:picMk id="2050" creationId="{8B489611-6518-AD2A-2DE3-F7FEDDF83EA1}"/>
          </ac:picMkLst>
        </pc:picChg>
      </pc:sldChg>
      <pc:sldChg chg="modSp add mod ord">
        <pc:chgData name="Ian Lumb" userId="2630a383-0cad-4e30-b844-8e87d31697a6" providerId="ADAL" clId="{15AB5521-4E12-48E7-B1FA-C65CBFDBB35B}" dt="2022-06-15T02:15:40.105" v="1808" actId="14"/>
        <pc:sldMkLst>
          <pc:docMk/>
          <pc:sldMk cId="1679778013" sldId="2147470190"/>
        </pc:sldMkLst>
        <pc:spChg chg="mod">
          <ac:chgData name="Ian Lumb" userId="2630a383-0cad-4e30-b844-8e87d31697a6" providerId="ADAL" clId="{15AB5521-4E12-48E7-B1FA-C65CBFDBB35B}" dt="2022-06-15T02:14:55.636" v="1761" actId="20577"/>
          <ac:spMkLst>
            <pc:docMk/>
            <pc:sldMk cId="1679778013" sldId="2147470190"/>
            <ac:spMk id="2" creationId="{E75AA307-FFB4-61C0-9625-C40AD7AE3A44}"/>
          </ac:spMkLst>
        </pc:spChg>
        <pc:spChg chg="mod">
          <ac:chgData name="Ian Lumb" userId="2630a383-0cad-4e30-b844-8e87d31697a6" providerId="ADAL" clId="{15AB5521-4E12-48E7-B1FA-C65CBFDBB35B}" dt="2022-06-15T02:15:40.105" v="1808" actId="14"/>
          <ac:spMkLst>
            <pc:docMk/>
            <pc:sldMk cId="1679778013" sldId="2147470190"/>
            <ac:spMk id="3" creationId="{5813D571-3500-471D-92AD-1D09387D5B23}"/>
          </ac:spMkLst>
        </pc:spChg>
      </pc:sldChg>
      <pc:sldChg chg="modSp add mod">
        <pc:chgData name="Ian Lumb" userId="2630a383-0cad-4e30-b844-8e87d31697a6" providerId="ADAL" clId="{15AB5521-4E12-48E7-B1FA-C65CBFDBB35B}" dt="2022-06-15T02:39:20.169" v="2482" actId="15"/>
        <pc:sldMkLst>
          <pc:docMk/>
          <pc:sldMk cId="3558894971" sldId="2147470191"/>
        </pc:sldMkLst>
        <pc:spChg chg="mod">
          <ac:chgData name="Ian Lumb" userId="2630a383-0cad-4e30-b844-8e87d31697a6" providerId="ADAL" clId="{15AB5521-4E12-48E7-B1FA-C65CBFDBB35B}" dt="2022-06-15T02:37:51.075" v="2473" actId="20577"/>
          <ac:spMkLst>
            <pc:docMk/>
            <pc:sldMk cId="3558894971" sldId="2147470191"/>
            <ac:spMk id="2" creationId="{18BE0E10-DC8B-2E87-115C-16CAB558BB86}"/>
          </ac:spMkLst>
        </pc:spChg>
        <pc:spChg chg="mod">
          <ac:chgData name="Ian Lumb" userId="2630a383-0cad-4e30-b844-8e87d31697a6" providerId="ADAL" clId="{15AB5521-4E12-48E7-B1FA-C65CBFDBB35B}" dt="2022-06-15T02:39:20.169" v="2482" actId="15"/>
          <ac:spMkLst>
            <pc:docMk/>
            <pc:sldMk cId="3558894971" sldId="2147470191"/>
            <ac:spMk id="3" creationId="{BA6CAD71-2B13-63B5-1C6F-EA6CF19183F5}"/>
          </ac:spMkLst>
        </pc:spChg>
      </pc:sldChg>
      <pc:sldChg chg="addSp delSp modSp new mod modClrScheme chgLayout">
        <pc:chgData name="Ian Lumb" userId="2630a383-0cad-4e30-b844-8e87d31697a6" providerId="ADAL" clId="{15AB5521-4E12-48E7-B1FA-C65CBFDBB35B}" dt="2022-06-15T02:28:24.950" v="2225" actId="20577"/>
        <pc:sldMkLst>
          <pc:docMk/>
          <pc:sldMk cId="4053416595" sldId="2147470192"/>
        </pc:sldMkLst>
        <pc:spChg chg="del mod ord">
          <ac:chgData name="Ian Lumb" userId="2630a383-0cad-4e30-b844-8e87d31697a6" providerId="ADAL" clId="{15AB5521-4E12-48E7-B1FA-C65CBFDBB35B}" dt="2022-06-15T02:26:11.397" v="2145" actId="700"/>
          <ac:spMkLst>
            <pc:docMk/>
            <pc:sldMk cId="4053416595" sldId="2147470192"/>
            <ac:spMk id="2" creationId="{3B639102-66E8-E0FE-5148-CB25ECA7E87B}"/>
          </ac:spMkLst>
        </pc:spChg>
        <pc:spChg chg="del mod ord">
          <ac:chgData name="Ian Lumb" userId="2630a383-0cad-4e30-b844-8e87d31697a6" providerId="ADAL" clId="{15AB5521-4E12-48E7-B1FA-C65CBFDBB35B}" dt="2022-06-15T02:26:11.397" v="2145" actId="700"/>
          <ac:spMkLst>
            <pc:docMk/>
            <pc:sldMk cId="4053416595" sldId="2147470192"/>
            <ac:spMk id="3" creationId="{AC213019-6CDF-AB3A-881C-DD91BBB58F0F}"/>
          </ac:spMkLst>
        </pc:spChg>
        <pc:spChg chg="add mod ord">
          <ac:chgData name="Ian Lumb" userId="2630a383-0cad-4e30-b844-8e87d31697a6" providerId="ADAL" clId="{15AB5521-4E12-48E7-B1FA-C65CBFDBB35B}" dt="2022-06-15T02:26:38.980" v="2154" actId="20577"/>
          <ac:spMkLst>
            <pc:docMk/>
            <pc:sldMk cId="4053416595" sldId="2147470192"/>
            <ac:spMk id="4" creationId="{7D170F9C-A2C8-11DC-ADE7-317AF98BAC57}"/>
          </ac:spMkLst>
        </pc:spChg>
        <pc:spChg chg="add mod ord">
          <ac:chgData name="Ian Lumb" userId="2630a383-0cad-4e30-b844-8e87d31697a6" providerId="ADAL" clId="{15AB5521-4E12-48E7-B1FA-C65CBFDBB35B}" dt="2022-06-15T02:28:24.950" v="2225" actId="20577"/>
          <ac:spMkLst>
            <pc:docMk/>
            <pc:sldMk cId="4053416595" sldId="2147470192"/>
            <ac:spMk id="5" creationId="{C175574A-1954-26D0-99B0-E5002C81FF8C}"/>
          </ac:spMkLst>
        </pc:spChg>
      </pc:sldChg>
      <pc:sldChg chg="addSp delSp modSp new mod ord modClrScheme chgLayout">
        <pc:chgData name="Ian Lumb" userId="2630a383-0cad-4e30-b844-8e87d31697a6" providerId="ADAL" clId="{15AB5521-4E12-48E7-B1FA-C65CBFDBB35B}" dt="2022-06-15T02:29:24.356" v="2230"/>
        <pc:sldMkLst>
          <pc:docMk/>
          <pc:sldMk cId="552015189" sldId="2147470193"/>
        </pc:sldMkLst>
        <pc:spChg chg="del">
          <ac:chgData name="Ian Lumb" userId="2630a383-0cad-4e30-b844-8e87d31697a6" providerId="ADAL" clId="{15AB5521-4E12-48E7-B1FA-C65CBFDBB35B}" dt="2022-06-15T02:29:11.011" v="2227" actId="700"/>
          <ac:spMkLst>
            <pc:docMk/>
            <pc:sldMk cId="552015189" sldId="2147470193"/>
            <ac:spMk id="2" creationId="{EFAE8DAE-96FD-DD11-E127-283D47C1BC06}"/>
          </ac:spMkLst>
        </pc:spChg>
        <pc:spChg chg="del">
          <ac:chgData name="Ian Lumb" userId="2630a383-0cad-4e30-b844-8e87d31697a6" providerId="ADAL" clId="{15AB5521-4E12-48E7-B1FA-C65CBFDBB35B}" dt="2022-06-15T02:29:11.011" v="2227" actId="700"/>
          <ac:spMkLst>
            <pc:docMk/>
            <pc:sldMk cId="552015189" sldId="2147470193"/>
            <ac:spMk id="3" creationId="{F55B8B4C-6695-BAA8-B417-B523C3405FB7}"/>
          </ac:spMkLst>
        </pc:spChg>
        <pc:spChg chg="mod ord">
          <ac:chgData name="Ian Lumb" userId="2630a383-0cad-4e30-b844-8e87d31697a6" providerId="ADAL" clId="{15AB5521-4E12-48E7-B1FA-C65CBFDBB35B}" dt="2022-06-15T02:29:11.011" v="2227" actId="700"/>
          <ac:spMkLst>
            <pc:docMk/>
            <pc:sldMk cId="552015189" sldId="2147470193"/>
            <ac:spMk id="4" creationId="{B067A5A3-8F3D-B34D-ED97-32479D0187B9}"/>
          </ac:spMkLst>
        </pc:spChg>
        <pc:picChg chg="add">
          <ac:chgData name="Ian Lumb" userId="2630a383-0cad-4e30-b844-8e87d31697a6" providerId="ADAL" clId="{15AB5521-4E12-48E7-B1FA-C65CBFDBB35B}" dt="2022-06-15T02:29:12.583" v="2228"/>
          <ac:picMkLst>
            <pc:docMk/>
            <pc:sldMk cId="552015189" sldId="2147470193"/>
            <ac:picMk id="3074" creationId="{88A3CC3E-81F3-3231-AF42-3D93FEC9843D}"/>
          </ac:picMkLst>
        </pc:picChg>
      </pc:sldChg>
      <pc:sldChg chg="addSp modSp new mod modClrScheme addCm chgLayout">
        <pc:chgData name="Ian Lumb" userId="2630a383-0cad-4e30-b844-8e87d31697a6" providerId="ADAL" clId="{15AB5521-4E12-48E7-B1FA-C65CBFDBB35B}" dt="2022-06-15T02:33:27.438" v="2366"/>
        <pc:sldMkLst>
          <pc:docMk/>
          <pc:sldMk cId="3560447759" sldId="2147470194"/>
        </pc:sldMkLst>
        <pc:spChg chg="mod ord">
          <ac:chgData name="Ian Lumb" userId="2630a383-0cad-4e30-b844-8e87d31697a6" providerId="ADAL" clId="{15AB5521-4E12-48E7-B1FA-C65CBFDBB35B}" dt="2022-06-15T02:31:00.952" v="2282" actId="700"/>
          <ac:spMkLst>
            <pc:docMk/>
            <pc:sldMk cId="3560447759" sldId="2147470194"/>
            <ac:spMk id="2" creationId="{F4463408-A0AE-782E-ACFD-A13E4859085B}"/>
          </ac:spMkLst>
        </pc:spChg>
        <pc:spChg chg="add mod ord">
          <ac:chgData name="Ian Lumb" userId="2630a383-0cad-4e30-b844-8e87d31697a6" providerId="ADAL" clId="{15AB5521-4E12-48E7-B1FA-C65CBFDBB35B}" dt="2022-06-15T02:31:05.837" v="2285"/>
          <ac:spMkLst>
            <pc:docMk/>
            <pc:sldMk cId="3560447759" sldId="2147470194"/>
            <ac:spMk id="3" creationId="{BDFE8C56-AB2A-7CB3-3257-F7CAF3AE4EE1}"/>
          </ac:spMkLst>
        </pc:spChg>
        <pc:spChg chg="add mod ord">
          <ac:chgData name="Ian Lumb" userId="2630a383-0cad-4e30-b844-8e87d31697a6" providerId="ADAL" clId="{15AB5521-4E12-48E7-B1FA-C65CBFDBB35B}" dt="2022-06-15T02:33:05.860" v="2365" actId="27636"/>
          <ac:spMkLst>
            <pc:docMk/>
            <pc:sldMk cId="3560447759" sldId="2147470194"/>
            <ac:spMk id="4" creationId="{C6785D96-EE53-D965-8B1D-805001832EA6}"/>
          </ac:spMkLst>
        </pc:spChg>
      </pc:sldChg>
      <pc:sldChg chg="modSp new mod">
        <pc:chgData name="Ian Lumb" userId="2630a383-0cad-4e30-b844-8e87d31697a6" providerId="ADAL" clId="{15AB5521-4E12-48E7-B1FA-C65CBFDBB35B}" dt="2022-06-15T02:35:17.180" v="2397"/>
        <pc:sldMkLst>
          <pc:docMk/>
          <pc:sldMk cId="318262416" sldId="2147470195"/>
        </pc:sldMkLst>
        <pc:spChg chg="mod">
          <ac:chgData name="Ian Lumb" userId="2630a383-0cad-4e30-b844-8e87d31697a6" providerId="ADAL" clId="{15AB5521-4E12-48E7-B1FA-C65CBFDBB35B}" dt="2022-06-15T02:35:10.985" v="2394" actId="20577"/>
          <ac:spMkLst>
            <pc:docMk/>
            <pc:sldMk cId="318262416" sldId="2147470195"/>
            <ac:spMk id="2" creationId="{09AC2A37-E26A-DF43-C84B-ABD4C9F8AB63}"/>
          </ac:spMkLst>
        </pc:spChg>
        <pc:spChg chg="mod">
          <ac:chgData name="Ian Lumb" userId="2630a383-0cad-4e30-b844-8e87d31697a6" providerId="ADAL" clId="{15AB5521-4E12-48E7-B1FA-C65CBFDBB35B}" dt="2022-06-15T02:35:17.180" v="2397"/>
          <ac:spMkLst>
            <pc:docMk/>
            <pc:sldMk cId="318262416" sldId="2147470195"/>
            <ac:spMk id="3" creationId="{B1C8A069-9C01-21A4-E7AA-DED5194B3827}"/>
          </ac:spMkLst>
        </pc:spChg>
      </pc:sldChg>
      <pc:sldChg chg="modSp new mod">
        <pc:chgData name="Ian Lumb" userId="2630a383-0cad-4e30-b844-8e87d31697a6" providerId="ADAL" clId="{15AB5521-4E12-48E7-B1FA-C65CBFDBB35B}" dt="2022-06-15T02:36:53.973" v="2429"/>
        <pc:sldMkLst>
          <pc:docMk/>
          <pc:sldMk cId="108184244" sldId="2147470196"/>
        </pc:sldMkLst>
        <pc:spChg chg="mod">
          <ac:chgData name="Ian Lumb" userId="2630a383-0cad-4e30-b844-8e87d31697a6" providerId="ADAL" clId="{15AB5521-4E12-48E7-B1FA-C65CBFDBB35B}" dt="2022-06-15T02:35:58.802" v="2419" actId="20577"/>
          <ac:spMkLst>
            <pc:docMk/>
            <pc:sldMk cId="108184244" sldId="2147470196"/>
            <ac:spMk id="2" creationId="{5555C0C9-F02B-6F0C-626E-167F030CB2DA}"/>
          </ac:spMkLst>
        </pc:spChg>
        <pc:spChg chg="mod">
          <ac:chgData name="Ian Lumb" userId="2630a383-0cad-4e30-b844-8e87d31697a6" providerId="ADAL" clId="{15AB5521-4E12-48E7-B1FA-C65CBFDBB35B}" dt="2022-06-15T02:36:53.973" v="2429"/>
          <ac:spMkLst>
            <pc:docMk/>
            <pc:sldMk cId="108184244" sldId="2147470196"/>
            <ac:spMk id="3" creationId="{2D043E4E-C251-B224-6F10-A88EDB8289D9}"/>
          </ac:spMkLst>
        </pc:spChg>
      </pc:sldChg>
      <pc:sldMasterChg chg="delSldLayout">
        <pc:chgData name="Ian Lumb" userId="2630a383-0cad-4e30-b844-8e87d31697a6" providerId="ADAL" clId="{15AB5521-4E12-48E7-B1FA-C65CBFDBB35B}" dt="2022-06-15T00:06:08.429" v="23" actId="47"/>
        <pc:sldMasterMkLst>
          <pc:docMk/>
          <pc:sldMasterMk cId="480755092" sldId="2147483715"/>
        </pc:sldMasterMkLst>
        <pc:sldLayoutChg chg="del">
          <pc:chgData name="Ian Lumb" userId="2630a383-0cad-4e30-b844-8e87d31697a6" providerId="ADAL" clId="{15AB5521-4E12-48E7-B1FA-C65CBFDBB35B}" dt="2022-06-15T00:06:08.429" v="23" actId="47"/>
          <pc:sldLayoutMkLst>
            <pc:docMk/>
            <pc:sldMasterMk cId="480755092" sldId="2147483715"/>
            <pc:sldLayoutMk cId="3726694686" sldId="2147483737"/>
          </pc:sldLayoutMkLst>
        </pc:sldLayoutChg>
      </pc:sldMasterChg>
    </pc:docChg>
  </pc:docChgLst>
  <pc:docChgLst>
    <pc:chgData name="Dan Moore" userId="432a1231-f1bc-48da-b3ef-5b1092c905eb" providerId="ADAL" clId="{5DFDF105-2702-48F9-962A-B003707D7E04}"/>
    <pc:docChg chg="undo custSel delSld modSld delMainMaster modMainMaster">
      <pc:chgData name="Dan Moore" userId="432a1231-f1bc-48da-b3ef-5b1092c905eb" providerId="ADAL" clId="{5DFDF105-2702-48F9-962A-B003707D7E04}" dt="2022-06-27T20:35:57.392" v="1327" actId="18131"/>
      <pc:docMkLst>
        <pc:docMk/>
      </pc:docMkLst>
      <pc:sldChg chg="setBg">
        <pc:chgData name="Dan Moore" userId="432a1231-f1bc-48da-b3ef-5b1092c905eb" providerId="ADAL" clId="{5DFDF105-2702-48F9-962A-B003707D7E04}" dt="2022-06-27T19:57:43.777" v="991"/>
        <pc:sldMkLst>
          <pc:docMk/>
          <pc:sldMk cId="0" sldId="260"/>
        </pc:sldMkLst>
      </pc:sldChg>
      <pc:sldChg chg="addSp delSp modSp mod setBg">
        <pc:chgData name="Dan Moore" userId="432a1231-f1bc-48da-b3ef-5b1092c905eb" providerId="ADAL" clId="{5DFDF105-2702-48F9-962A-B003707D7E04}" dt="2022-06-27T19:57:43.777" v="991"/>
        <pc:sldMkLst>
          <pc:docMk/>
          <pc:sldMk cId="3396625383" sldId="291"/>
        </pc:sldMkLst>
        <pc:spChg chg="add mod">
          <ac:chgData name="Dan Moore" userId="432a1231-f1bc-48da-b3ef-5b1092c905eb" providerId="ADAL" clId="{5DFDF105-2702-48F9-962A-B003707D7E04}" dt="2022-06-27T19:32:32.924" v="510" actId="20577"/>
          <ac:spMkLst>
            <pc:docMk/>
            <pc:sldMk cId="3396625383" sldId="291"/>
            <ac:spMk id="3" creationId="{5B79AA4C-B569-F067-DE0C-C3ABEE93DC23}"/>
          </ac:spMkLst>
        </pc:spChg>
        <pc:spChg chg="del">
          <ac:chgData name="Dan Moore" userId="432a1231-f1bc-48da-b3ef-5b1092c905eb" providerId="ADAL" clId="{5DFDF105-2702-48F9-962A-B003707D7E04}" dt="2022-06-27T19:32:35.105" v="511" actId="478"/>
          <ac:spMkLst>
            <pc:docMk/>
            <pc:sldMk cId="3396625383" sldId="291"/>
            <ac:spMk id="4" creationId="{DE8898E4-E12B-4A83-96C9-98D2AF3A107A}"/>
          </ac:spMkLst>
        </pc:spChg>
        <pc:spChg chg="del">
          <ac:chgData name="Dan Moore" userId="432a1231-f1bc-48da-b3ef-5b1092c905eb" providerId="ADAL" clId="{5DFDF105-2702-48F9-962A-B003707D7E04}" dt="2022-06-27T19:32:29.649" v="497" actId="478"/>
          <ac:spMkLst>
            <pc:docMk/>
            <pc:sldMk cId="3396625383" sldId="291"/>
            <ac:spMk id="5" creationId="{07213ABD-2DEF-070E-5C92-2686669F2861}"/>
          </ac:spMkLst>
        </pc:spChg>
        <pc:spChg chg="mod">
          <ac:chgData name="Dan Moore" userId="432a1231-f1bc-48da-b3ef-5b1092c905eb" providerId="ADAL" clId="{5DFDF105-2702-48F9-962A-B003707D7E04}" dt="2022-06-27T19:32:42.110" v="527" actId="20577"/>
          <ac:spMkLst>
            <pc:docMk/>
            <pc:sldMk cId="3396625383" sldId="291"/>
            <ac:spMk id="6" creationId="{8B820BDF-290C-DBCB-1BD1-3AC4C7AA8A40}"/>
          </ac:spMkLst>
        </pc:spChg>
      </pc:sldChg>
      <pc:sldChg chg="setBg">
        <pc:chgData name="Dan Moore" userId="432a1231-f1bc-48da-b3ef-5b1092c905eb" providerId="ADAL" clId="{5DFDF105-2702-48F9-962A-B003707D7E04}" dt="2022-06-27T19:57:43.777" v="991"/>
        <pc:sldMkLst>
          <pc:docMk/>
          <pc:sldMk cId="3329845461" sldId="292"/>
        </pc:sldMkLst>
      </pc:sldChg>
      <pc:sldChg chg="addSp delSp modSp del mod">
        <pc:chgData name="Dan Moore" userId="432a1231-f1bc-48da-b3ef-5b1092c905eb" providerId="ADAL" clId="{5DFDF105-2702-48F9-962A-B003707D7E04}" dt="2022-06-27T19:45:28.045" v="778" actId="47"/>
        <pc:sldMkLst>
          <pc:docMk/>
          <pc:sldMk cId="1673758636" sldId="293"/>
        </pc:sldMkLst>
        <pc:spChg chg="del">
          <ac:chgData name="Dan Moore" userId="432a1231-f1bc-48da-b3ef-5b1092c905eb" providerId="ADAL" clId="{5DFDF105-2702-48F9-962A-B003707D7E04}" dt="2022-06-27T19:39:36.110" v="669" actId="478"/>
          <ac:spMkLst>
            <pc:docMk/>
            <pc:sldMk cId="1673758636" sldId="293"/>
            <ac:spMk id="2" creationId="{8EAC4AA9-36BF-1762-A580-25E52C437B93}"/>
          </ac:spMkLst>
        </pc:spChg>
        <pc:spChg chg="del">
          <ac:chgData name="Dan Moore" userId="432a1231-f1bc-48da-b3ef-5b1092c905eb" providerId="ADAL" clId="{5DFDF105-2702-48F9-962A-B003707D7E04}" dt="2022-06-27T19:36:32.145" v="553" actId="478"/>
          <ac:spMkLst>
            <pc:docMk/>
            <pc:sldMk cId="1673758636" sldId="293"/>
            <ac:spMk id="4" creationId="{3E71A268-8E94-1E3E-66D5-0E37CBE8258B}"/>
          </ac:spMkLst>
        </pc:spChg>
        <pc:spChg chg="mod">
          <ac:chgData name="Dan Moore" userId="432a1231-f1bc-48da-b3ef-5b1092c905eb" providerId="ADAL" clId="{5DFDF105-2702-48F9-962A-B003707D7E04}" dt="2022-06-27T19:19:32.773" v="324" actId="27636"/>
          <ac:spMkLst>
            <pc:docMk/>
            <pc:sldMk cId="1673758636" sldId="293"/>
            <ac:spMk id="5" creationId="{A5FE043D-9499-A4F8-E98C-573DF1C5210E}"/>
          </ac:spMkLst>
        </pc:spChg>
        <pc:spChg chg="del mod">
          <ac:chgData name="Dan Moore" userId="432a1231-f1bc-48da-b3ef-5b1092c905eb" providerId="ADAL" clId="{5DFDF105-2702-48F9-962A-B003707D7E04}" dt="2022-06-27T19:39:40.456" v="671" actId="21"/>
          <ac:spMkLst>
            <pc:docMk/>
            <pc:sldMk cId="1673758636" sldId="293"/>
            <ac:spMk id="6" creationId="{CBF34873-A3B9-F104-E9F3-9993E32D1909}"/>
          </ac:spMkLst>
        </pc:spChg>
        <pc:spChg chg="add del mod">
          <ac:chgData name="Dan Moore" userId="432a1231-f1bc-48da-b3ef-5b1092c905eb" providerId="ADAL" clId="{5DFDF105-2702-48F9-962A-B003707D7E04}" dt="2022-06-27T19:39:38.381" v="670" actId="478"/>
          <ac:spMkLst>
            <pc:docMk/>
            <pc:sldMk cId="1673758636" sldId="293"/>
            <ac:spMk id="7" creationId="{BC131A5D-1BA6-3157-13FC-719DB4897342}"/>
          </ac:spMkLst>
        </pc:spChg>
        <pc:spChg chg="add mod">
          <ac:chgData name="Dan Moore" userId="432a1231-f1bc-48da-b3ef-5b1092c905eb" providerId="ADAL" clId="{5DFDF105-2702-48F9-962A-B003707D7E04}" dt="2022-06-27T19:39:40.456" v="671" actId="21"/>
          <ac:spMkLst>
            <pc:docMk/>
            <pc:sldMk cId="1673758636" sldId="293"/>
            <ac:spMk id="9" creationId="{8997B390-3C63-B343-0C96-93C683BA2213}"/>
          </ac:spMkLst>
        </pc:spChg>
      </pc:sldChg>
      <pc:sldChg chg="setBg">
        <pc:chgData name="Dan Moore" userId="432a1231-f1bc-48da-b3ef-5b1092c905eb" providerId="ADAL" clId="{5DFDF105-2702-48F9-962A-B003707D7E04}" dt="2022-06-27T19:57:43.777" v="991"/>
        <pc:sldMkLst>
          <pc:docMk/>
          <pc:sldMk cId="1447758559" sldId="294"/>
        </pc:sldMkLst>
      </pc:sldChg>
      <pc:sldChg chg="setBg">
        <pc:chgData name="Dan Moore" userId="432a1231-f1bc-48da-b3ef-5b1092c905eb" providerId="ADAL" clId="{5DFDF105-2702-48F9-962A-B003707D7E04}" dt="2022-06-27T19:57:43.777" v="991"/>
        <pc:sldMkLst>
          <pc:docMk/>
          <pc:sldMk cId="2570058085" sldId="299"/>
        </pc:sldMkLst>
      </pc:sldChg>
      <pc:sldChg chg="addSp delSp modSp mod setBg modClrScheme chgLayout">
        <pc:chgData name="Dan Moore" userId="432a1231-f1bc-48da-b3ef-5b1092c905eb" providerId="ADAL" clId="{5DFDF105-2702-48F9-962A-B003707D7E04}" dt="2022-06-27T20:25:26.687" v="1112" actId="478"/>
        <pc:sldMkLst>
          <pc:docMk/>
          <pc:sldMk cId="3592828332" sldId="300"/>
        </pc:sldMkLst>
        <pc:spChg chg="mod ord">
          <ac:chgData name="Dan Moore" userId="432a1231-f1bc-48da-b3ef-5b1092c905eb" providerId="ADAL" clId="{5DFDF105-2702-48F9-962A-B003707D7E04}" dt="2022-06-27T20:25:23.496" v="1111" actId="700"/>
          <ac:spMkLst>
            <pc:docMk/>
            <pc:sldMk cId="3592828332" sldId="300"/>
            <ac:spMk id="2" creationId="{C4A85D5A-2441-9BBB-1189-6BA372D41D58}"/>
          </ac:spMkLst>
        </pc:spChg>
        <pc:spChg chg="mod ord">
          <ac:chgData name="Dan Moore" userId="432a1231-f1bc-48da-b3ef-5b1092c905eb" providerId="ADAL" clId="{5DFDF105-2702-48F9-962A-B003707D7E04}" dt="2022-06-27T20:25:23.496" v="1111" actId="700"/>
          <ac:spMkLst>
            <pc:docMk/>
            <pc:sldMk cId="3592828332" sldId="300"/>
            <ac:spMk id="3" creationId="{C2714CCA-6290-CF17-2FB6-6FFECA34011B}"/>
          </ac:spMkLst>
        </pc:spChg>
        <pc:spChg chg="del">
          <ac:chgData name="Dan Moore" userId="432a1231-f1bc-48da-b3ef-5b1092c905eb" providerId="ADAL" clId="{5DFDF105-2702-48F9-962A-B003707D7E04}" dt="2022-06-27T19:59:17.707" v="1009" actId="478"/>
          <ac:spMkLst>
            <pc:docMk/>
            <pc:sldMk cId="3592828332" sldId="300"/>
            <ac:spMk id="4" creationId="{69DDAACC-19ED-159E-AF9A-A95A1A00DD4F}"/>
          </ac:spMkLst>
        </pc:spChg>
        <pc:spChg chg="add del mod ord">
          <ac:chgData name="Dan Moore" userId="432a1231-f1bc-48da-b3ef-5b1092c905eb" providerId="ADAL" clId="{5DFDF105-2702-48F9-962A-B003707D7E04}" dt="2022-06-27T20:25:26.687" v="1112" actId="478"/>
          <ac:spMkLst>
            <pc:docMk/>
            <pc:sldMk cId="3592828332" sldId="300"/>
            <ac:spMk id="7" creationId="{6EB51123-BE78-198D-7DBA-2F073E519EAA}"/>
          </ac:spMkLst>
        </pc:spChg>
        <pc:picChg chg="add mod">
          <ac:chgData name="Dan Moore" userId="432a1231-f1bc-48da-b3ef-5b1092c905eb" providerId="ADAL" clId="{5DFDF105-2702-48F9-962A-B003707D7E04}" dt="2022-06-27T20:22:11.573" v="1096" actId="14100"/>
          <ac:picMkLst>
            <pc:docMk/>
            <pc:sldMk cId="3592828332" sldId="300"/>
            <ac:picMk id="6" creationId="{A6065E32-A446-F858-F46C-1AB014650FD8}"/>
          </ac:picMkLst>
        </pc:picChg>
      </pc:sldChg>
      <pc:sldChg chg="addSp delSp modSp mod setBg modClrScheme chgLayout">
        <pc:chgData name="Dan Moore" userId="432a1231-f1bc-48da-b3ef-5b1092c905eb" providerId="ADAL" clId="{5DFDF105-2702-48F9-962A-B003707D7E04}" dt="2022-06-27T20:33:56.274" v="1304" actId="478"/>
        <pc:sldMkLst>
          <pc:docMk/>
          <pc:sldMk cId="3830481652" sldId="301"/>
        </pc:sldMkLst>
        <pc:spChg chg="mod ord">
          <ac:chgData name="Dan Moore" userId="432a1231-f1bc-48da-b3ef-5b1092c905eb" providerId="ADAL" clId="{5DFDF105-2702-48F9-962A-B003707D7E04}" dt="2022-06-27T20:33:50.507" v="1302" actId="700"/>
          <ac:spMkLst>
            <pc:docMk/>
            <pc:sldMk cId="3830481652" sldId="301"/>
            <ac:spMk id="2" creationId="{0F8CF62C-B4F7-084C-BCD9-D47315CF6088}"/>
          </ac:spMkLst>
        </pc:spChg>
        <pc:spChg chg="mod ord">
          <ac:chgData name="Dan Moore" userId="432a1231-f1bc-48da-b3ef-5b1092c905eb" providerId="ADAL" clId="{5DFDF105-2702-48F9-962A-B003707D7E04}" dt="2022-06-27T20:33:50.507" v="1302" actId="700"/>
          <ac:spMkLst>
            <pc:docMk/>
            <pc:sldMk cId="3830481652" sldId="301"/>
            <ac:spMk id="3" creationId="{495AACDC-77E8-E867-03E7-31C44D307B1A}"/>
          </ac:spMkLst>
        </pc:spChg>
        <pc:spChg chg="del mod ord">
          <ac:chgData name="Dan Moore" userId="432a1231-f1bc-48da-b3ef-5b1092c905eb" providerId="ADAL" clId="{5DFDF105-2702-48F9-962A-B003707D7E04}" dt="2022-06-27T20:33:56.274" v="1304" actId="478"/>
          <ac:spMkLst>
            <pc:docMk/>
            <pc:sldMk cId="3830481652" sldId="301"/>
            <ac:spMk id="4" creationId="{D2895ED3-AB01-88F0-CF85-ADE4D24502AE}"/>
          </ac:spMkLst>
        </pc:spChg>
        <pc:spChg chg="mod">
          <ac:chgData name="Dan Moore" userId="432a1231-f1bc-48da-b3ef-5b1092c905eb" providerId="ADAL" clId="{5DFDF105-2702-48F9-962A-B003707D7E04}" dt="2022-06-27T20:33:55.239" v="1303" actId="1076"/>
          <ac:spMkLst>
            <pc:docMk/>
            <pc:sldMk cId="3830481652" sldId="301"/>
            <ac:spMk id="5" creationId="{C7F98ED8-393D-59CE-ED34-09E4CD2D3A46}"/>
          </ac:spMkLst>
        </pc:spChg>
        <pc:spChg chg="add mod ord">
          <ac:chgData name="Dan Moore" userId="432a1231-f1bc-48da-b3ef-5b1092c905eb" providerId="ADAL" clId="{5DFDF105-2702-48F9-962A-B003707D7E04}" dt="2022-06-27T20:33:50.507" v="1302" actId="700"/>
          <ac:spMkLst>
            <pc:docMk/>
            <pc:sldMk cId="3830481652" sldId="301"/>
            <ac:spMk id="6" creationId="{3110E144-52CD-3845-7610-182753E54242}"/>
          </ac:spMkLst>
        </pc:spChg>
      </pc:sldChg>
      <pc:sldChg chg="setBg">
        <pc:chgData name="Dan Moore" userId="432a1231-f1bc-48da-b3ef-5b1092c905eb" providerId="ADAL" clId="{5DFDF105-2702-48F9-962A-B003707D7E04}" dt="2022-06-27T19:57:43.777" v="991"/>
        <pc:sldMkLst>
          <pc:docMk/>
          <pc:sldMk cId="3747391529" sldId="381"/>
        </pc:sldMkLst>
      </pc:sldChg>
      <pc:sldChg chg="modSp setBg">
        <pc:chgData name="Dan Moore" userId="432a1231-f1bc-48da-b3ef-5b1092c905eb" providerId="ADAL" clId="{5DFDF105-2702-48F9-962A-B003707D7E04}" dt="2022-06-27T19:57:43.777" v="991"/>
        <pc:sldMkLst>
          <pc:docMk/>
          <pc:sldMk cId="20936621" sldId="1915"/>
        </pc:sldMkLst>
        <pc:spChg chg="mod">
          <ac:chgData name="Dan Moore" userId="432a1231-f1bc-48da-b3ef-5b1092c905eb" providerId="ADAL" clId="{5DFDF105-2702-48F9-962A-B003707D7E04}" dt="2022-06-27T19:49:23.174" v="849"/>
          <ac:spMkLst>
            <pc:docMk/>
            <pc:sldMk cId="20936621" sldId="1915"/>
            <ac:spMk id="4" creationId="{DA6A65AD-43AA-423E-8D08-19A36B5745EF}"/>
          </ac:spMkLst>
        </pc:spChg>
      </pc:sldChg>
      <pc:sldChg chg="setBg">
        <pc:chgData name="Dan Moore" userId="432a1231-f1bc-48da-b3ef-5b1092c905eb" providerId="ADAL" clId="{5DFDF105-2702-48F9-962A-B003707D7E04}" dt="2022-06-27T19:57:43.777" v="991"/>
        <pc:sldMkLst>
          <pc:docMk/>
          <pc:sldMk cId="1577116663" sldId="9949"/>
        </pc:sldMkLst>
      </pc:sldChg>
      <pc:sldChg chg="modSp setBg">
        <pc:chgData name="Dan Moore" userId="432a1231-f1bc-48da-b3ef-5b1092c905eb" providerId="ADAL" clId="{5DFDF105-2702-48F9-962A-B003707D7E04}" dt="2022-06-27T19:57:43.777" v="991"/>
        <pc:sldMkLst>
          <pc:docMk/>
          <pc:sldMk cId="2201566731" sldId="11635"/>
        </pc:sldMkLst>
        <pc:spChg chg="mod">
          <ac:chgData name="Dan Moore" userId="432a1231-f1bc-48da-b3ef-5b1092c905eb" providerId="ADAL" clId="{5DFDF105-2702-48F9-962A-B003707D7E04}" dt="2022-06-27T19:49:20.543" v="848"/>
          <ac:spMkLst>
            <pc:docMk/>
            <pc:sldMk cId="2201566731" sldId="11635"/>
            <ac:spMk id="76" creationId="{49C522D0-AE9A-4512-90D3-6AE529BE6F4A}"/>
          </ac:spMkLst>
        </pc:spChg>
      </pc:sldChg>
      <pc:sldChg chg="addSp delSp modSp mod setBg modClrScheme modAnim chgLayout">
        <pc:chgData name="Dan Moore" userId="432a1231-f1bc-48da-b3ef-5b1092c905eb" providerId="ADAL" clId="{5DFDF105-2702-48F9-962A-B003707D7E04}" dt="2022-06-27T20:01:39.010" v="1088" actId="1076"/>
        <pc:sldMkLst>
          <pc:docMk/>
          <pc:sldMk cId="1469576865" sldId="11666"/>
        </pc:sldMkLst>
        <pc:spChg chg="add mod ord">
          <ac:chgData name="Dan Moore" userId="432a1231-f1bc-48da-b3ef-5b1092c905eb" providerId="ADAL" clId="{5DFDF105-2702-48F9-962A-B003707D7E04}" dt="2022-06-27T19:57:19.529" v="989" actId="700"/>
          <ac:spMkLst>
            <pc:docMk/>
            <pc:sldMk cId="1469576865" sldId="11666"/>
            <ac:spMk id="3" creationId="{CFDF793C-A00D-14C7-9F5E-8115686650A8}"/>
          </ac:spMkLst>
        </pc:spChg>
        <pc:spChg chg="mod">
          <ac:chgData name="Dan Moore" userId="432a1231-f1bc-48da-b3ef-5b1092c905eb" providerId="ADAL" clId="{5DFDF105-2702-48F9-962A-B003707D7E04}" dt="2022-06-27T19:56:42.509" v="976" actId="571"/>
          <ac:spMkLst>
            <pc:docMk/>
            <pc:sldMk cId="1469576865" sldId="11666"/>
            <ac:spMk id="15" creationId="{291F4DFA-A3F1-4BD4-8A6C-CA41167634DD}"/>
          </ac:spMkLst>
        </pc:spChg>
        <pc:spChg chg="mod">
          <ac:chgData name="Dan Moore" userId="432a1231-f1bc-48da-b3ef-5b1092c905eb" providerId="ADAL" clId="{5DFDF105-2702-48F9-962A-B003707D7E04}" dt="2022-06-27T19:56:42.509" v="976" actId="571"/>
          <ac:spMkLst>
            <pc:docMk/>
            <pc:sldMk cId="1469576865" sldId="11666"/>
            <ac:spMk id="16" creationId="{BBB7E5F5-65C1-4AEA-A01A-F4884D43DAD2}"/>
          </ac:spMkLst>
        </pc:spChg>
        <pc:spChg chg="del">
          <ac:chgData name="Dan Moore" userId="432a1231-f1bc-48da-b3ef-5b1092c905eb" providerId="ADAL" clId="{5DFDF105-2702-48F9-962A-B003707D7E04}" dt="2022-06-27T19:56:24.561" v="946" actId="478"/>
          <ac:spMkLst>
            <pc:docMk/>
            <pc:sldMk cId="1469576865" sldId="11666"/>
            <ac:spMk id="17" creationId="{A5A05DD6-2979-4A83-BB1E-F9AF5708A959}"/>
          </ac:spMkLst>
        </pc:spChg>
        <pc:spChg chg="mod">
          <ac:chgData name="Dan Moore" userId="432a1231-f1bc-48da-b3ef-5b1092c905eb" providerId="ADAL" clId="{5DFDF105-2702-48F9-962A-B003707D7E04}" dt="2022-06-27T19:56:42.509" v="976" actId="571"/>
          <ac:spMkLst>
            <pc:docMk/>
            <pc:sldMk cId="1469576865" sldId="11666"/>
            <ac:spMk id="18" creationId="{A28BCB24-CBA8-4C0C-835F-58645280A578}"/>
          </ac:spMkLst>
        </pc:spChg>
        <pc:spChg chg="add mod">
          <ac:chgData name="Dan Moore" userId="432a1231-f1bc-48da-b3ef-5b1092c905eb" providerId="ADAL" clId="{5DFDF105-2702-48F9-962A-B003707D7E04}" dt="2022-06-27T19:56:42.509" v="976" actId="571"/>
          <ac:spMkLst>
            <pc:docMk/>
            <pc:sldMk cId="1469576865" sldId="11666"/>
            <ac:spMk id="48" creationId="{E869B4C1-7CA0-5A74-E2B4-50538883BD13}"/>
          </ac:spMkLst>
        </pc:spChg>
        <pc:spChg chg="mod">
          <ac:chgData name="Dan Moore" userId="432a1231-f1bc-48da-b3ef-5b1092c905eb" providerId="ADAL" clId="{5DFDF105-2702-48F9-962A-B003707D7E04}" dt="2022-06-27T20:00:19.351" v="1030"/>
          <ac:spMkLst>
            <pc:docMk/>
            <pc:sldMk cId="1469576865" sldId="11666"/>
            <ac:spMk id="56" creationId="{8C134F34-DD29-C598-8EE1-DAAA1459F000}"/>
          </ac:spMkLst>
        </pc:spChg>
        <pc:spChg chg="mod">
          <ac:chgData name="Dan Moore" userId="432a1231-f1bc-48da-b3ef-5b1092c905eb" providerId="ADAL" clId="{5DFDF105-2702-48F9-962A-B003707D7E04}" dt="2022-06-27T20:00:19.351" v="1030"/>
          <ac:spMkLst>
            <pc:docMk/>
            <pc:sldMk cId="1469576865" sldId="11666"/>
            <ac:spMk id="58" creationId="{EEAE4378-524A-A397-DFA2-25FEB24B829B}"/>
          </ac:spMkLst>
        </pc:spChg>
        <pc:spChg chg="mod">
          <ac:chgData name="Dan Moore" userId="432a1231-f1bc-48da-b3ef-5b1092c905eb" providerId="ADAL" clId="{5DFDF105-2702-48F9-962A-B003707D7E04}" dt="2022-06-27T20:00:19.351" v="1030"/>
          <ac:spMkLst>
            <pc:docMk/>
            <pc:sldMk cId="1469576865" sldId="11666"/>
            <ac:spMk id="64" creationId="{B8EA79EA-2FDB-8194-6107-61A9F4ED6EAC}"/>
          </ac:spMkLst>
        </pc:spChg>
        <pc:spChg chg="mod">
          <ac:chgData name="Dan Moore" userId="432a1231-f1bc-48da-b3ef-5b1092c905eb" providerId="ADAL" clId="{5DFDF105-2702-48F9-962A-B003707D7E04}" dt="2022-06-27T20:00:19.351" v="1030"/>
          <ac:spMkLst>
            <pc:docMk/>
            <pc:sldMk cId="1469576865" sldId="11666"/>
            <ac:spMk id="65" creationId="{F443D66E-9450-112F-056F-B847AEAEFA1A}"/>
          </ac:spMkLst>
        </pc:spChg>
        <pc:spChg chg="mod">
          <ac:chgData name="Dan Moore" userId="432a1231-f1bc-48da-b3ef-5b1092c905eb" providerId="ADAL" clId="{5DFDF105-2702-48F9-962A-B003707D7E04}" dt="2022-06-27T19:56:42.509" v="976" actId="571"/>
          <ac:spMkLst>
            <pc:docMk/>
            <pc:sldMk cId="1469576865" sldId="11666"/>
            <ac:spMk id="66" creationId="{61F5C6AC-05FF-4CFA-9714-C64B3E274782}"/>
          </ac:spMkLst>
        </pc:spChg>
        <pc:spChg chg="mod">
          <ac:chgData name="Dan Moore" userId="432a1231-f1bc-48da-b3ef-5b1092c905eb" providerId="ADAL" clId="{5DFDF105-2702-48F9-962A-B003707D7E04}" dt="2022-06-27T19:56:42.509" v="976" actId="571"/>
          <ac:spMkLst>
            <pc:docMk/>
            <pc:sldMk cId="1469576865" sldId="11666"/>
            <ac:spMk id="67" creationId="{A062D934-8AB8-4787-8F9F-A28A78158079}"/>
          </ac:spMkLst>
        </pc:spChg>
        <pc:spChg chg="mod">
          <ac:chgData name="Dan Moore" userId="432a1231-f1bc-48da-b3ef-5b1092c905eb" providerId="ADAL" clId="{5DFDF105-2702-48F9-962A-B003707D7E04}" dt="2022-06-27T19:56:42.509" v="976" actId="571"/>
          <ac:spMkLst>
            <pc:docMk/>
            <pc:sldMk cId="1469576865" sldId="11666"/>
            <ac:spMk id="68" creationId="{B668AE49-6CE7-4670-9BE5-185164568B00}"/>
          </ac:spMkLst>
        </pc:spChg>
        <pc:spChg chg="mod">
          <ac:chgData name="Dan Moore" userId="432a1231-f1bc-48da-b3ef-5b1092c905eb" providerId="ADAL" clId="{5DFDF105-2702-48F9-962A-B003707D7E04}" dt="2022-06-27T19:56:42.509" v="976" actId="571"/>
          <ac:spMkLst>
            <pc:docMk/>
            <pc:sldMk cId="1469576865" sldId="11666"/>
            <ac:spMk id="69" creationId="{3D0516F6-CA8C-45BC-B4F1-CC34DE55DFFD}"/>
          </ac:spMkLst>
        </pc:spChg>
        <pc:spChg chg="mod">
          <ac:chgData name="Dan Moore" userId="432a1231-f1bc-48da-b3ef-5b1092c905eb" providerId="ADAL" clId="{5DFDF105-2702-48F9-962A-B003707D7E04}" dt="2022-06-27T20:00:19.351" v="1030"/>
          <ac:spMkLst>
            <pc:docMk/>
            <pc:sldMk cId="1469576865" sldId="11666"/>
            <ac:spMk id="72" creationId="{31E9FA7A-54A0-5466-0673-2820960EC481}"/>
          </ac:spMkLst>
        </pc:spChg>
        <pc:spChg chg="mod">
          <ac:chgData name="Dan Moore" userId="432a1231-f1bc-48da-b3ef-5b1092c905eb" providerId="ADAL" clId="{5DFDF105-2702-48F9-962A-B003707D7E04}" dt="2022-06-27T20:00:19.351" v="1030"/>
          <ac:spMkLst>
            <pc:docMk/>
            <pc:sldMk cId="1469576865" sldId="11666"/>
            <ac:spMk id="73" creationId="{31F19AC6-78A9-2301-234D-6BAC9C8BB67E}"/>
          </ac:spMkLst>
        </pc:spChg>
        <pc:spChg chg="mod">
          <ac:chgData name="Dan Moore" userId="432a1231-f1bc-48da-b3ef-5b1092c905eb" providerId="ADAL" clId="{5DFDF105-2702-48F9-962A-B003707D7E04}" dt="2022-06-27T20:00:19.351" v="1030"/>
          <ac:spMkLst>
            <pc:docMk/>
            <pc:sldMk cId="1469576865" sldId="11666"/>
            <ac:spMk id="74" creationId="{99CF18A0-31BA-68FC-7F08-37D9ACA0C86F}"/>
          </ac:spMkLst>
        </pc:spChg>
        <pc:spChg chg="mod">
          <ac:chgData name="Dan Moore" userId="432a1231-f1bc-48da-b3ef-5b1092c905eb" providerId="ADAL" clId="{5DFDF105-2702-48F9-962A-B003707D7E04}" dt="2022-06-27T20:00:19.351" v="1030"/>
          <ac:spMkLst>
            <pc:docMk/>
            <pc:sldMk cId="1469576865" sldId="11666"/>
            <ac:spMk id="76" creationId="{8B75F724-6F9E-F4CA-DD3C-11379A84D29C}"/>
          </ac:spMkLst>
        </pc:spChg>
        <pc:spChg chg="mod">
          <ac:chgData name="Dan Moore" userId="432a1231-f1bc-48da-b3ef-5b1092c905eb" providerId="ADAL" clId="{5DFDF105-2702-48F9-962A-B003707D7E04}" dt="2022-06-27T20:00:19.351" v="1030"/>
          <ac:spMkLst>
            <pc:docMk/>
            <pc:sldMk cId="1469576865" sldId="11666"/>
            <ac:spMk id="77" creationId="{6CAE0EE8-555A-CAE2-6BFC-3ED6B5286C7F}"/>
          </ac:spMkLst>
        </pc:spChg>
        <pc:spChg chg="mod">
          <ac:chgData name="Dan Moore" userId="432a1231-f1bc-48da-b3ef-5b1092c905eb" providerId="ADAL" clId="{5DFDF105-2702-48F9-962A-B003707D7E04}" dt="2022-06-27T20:00:19.351" v="1030"/>
          <ac:spMkLst>
            <pc:docMk/>
            <pc:sldMk cId="1469576865" sldId="11666"/>
            <ac:spMk id="78" creationId="{0939EBE6-93E3-B69E-514F-D07EDF77CBBD}"/>
          </ac:spMkLst>
        </pc:spChg>
        <pc:spChg chg="mod">
          <ac:chgData name="Dan Moore" userId="432a1231-f1bc-48da-b3ef-5b1092c905eb" providerId="ADAL" clId="{5DFDF105-2702-48F9-962A-B003707D7E04}" dt="2022-06-27T20:00:19.351" v="1030"/>
          <ac:spMkLst>
            <pc:docMk/>
            <pc:sldMk cId="1469576865" sldId="11666"/>
            <ac:spMk id="79" creationId="{6F6996C8-BCB7-BF9B-F26E-32C37B1B4975}"/>
          </ac:spMkLst>
        </pc:spChg>
        <pc:spChg chg="mod">
          <ac:chgData name="Dan Moore" userId="432a1231-f1bc-48da-b3ef-5b1092c905eb" providerId="ADAL" clId="{5DFDF105-2702-48F9-962A-B003707D7E04}" dt="2022-06-27T20:00:19.351" v="1030"/>
          <ac:spMkLst>
            <pc:docMk/>
            <pc:sldMk cId="1469576865" sldId="11666"/>
            <ac:spMk id="80" creationId="{5713EE9F-F939-37A9-E1EB-2A84888C427D}"/>
          </ac:spMkLst>
        </pc:spChg>
        <pc:spChg chg="mod">
          <ac:chgData name="Dan Moore" userId="432a1231-f1bc-48da-b3ef-5b1092c905eb" providerId="ADAL" clId="{5DFDF105-2702-48F9-962A-B003707D7E04}" dt="2022-06-27T20:00:19.351" v="1030"/>
          <ac:spMkLst>
            <pc:docMk/>
            <pc:sldMk cId="1469576865" sldId="11666"/>
            <ac:spMk id="82" creationId="{60C40318-42D3-B5B2-0B0A-B0B5F46353C0}"/>
          </ac:spMkLst>
        </pc:spChg>
        <pc:spChg chg="mod">
          <ac:chgData name="Dan Moore" userId="432a1231-f1bc-48da-b3ef-5b1092c905eb" providerId="ADAL" clId="{5DFDF105-2702-48F9-962A-B003707D7E04}" dt="2022-06-27T20:00:19.351" v="1030"/>
          <ac:spMkLst>
            <pc:docMk/>
            <pc:sldMk cId="1469576865" sldId="11666"/>
            <ac:spMk id="83" creationId="{A2748098-6F11-696C-7BB1-F22315E82421}"/>
          </ac:spMkLst>
        </pc:spChg>
        <pc:spChg chg="mod">
          <ac:chgData name="Dan Moore" userId="432a1231-f1bc-48da-b3ef-5b1092c905eb" providerId="ADAL" clId="{5DFDF105-2702-48F9-962A-B003707D7E04}" dt="2022-06-27T20:00:19.351" v="1030"/>
          <ac:spMkLst>
            <pc:docMk/>
            <pc:sldMk cId="1469576865" sldId="11666"/>
            <ac:spMk id="84" creationId="{9293503E-4387-E4BA-8CA5-1C9835A748F7}"/>
          </ac:spMkLst>
        </pc:spChg>
        <pc:spChg chg="mod">
          <ac:chgData name="Dan Moore" userId="432a1231-f1bc-48da-b3ef-5b1092c905eb" providerId="ADAL" clId="{5DFDF105-2702-48F9-962A-B003707D7E04}" dt="2022-06-27T20:00:19.351" v="1030"/>
          <ac:spMkLst>
            <pc:docMk/>
            <pc:sldMk cId="1469576865" sldId="11666"/>
            <ac:spMk id="85" creationId="{E6C72A46-330B-CADD-13B1-CBB7FC8672CC}"/>
          </ac:spMkLst>
        </pc:spChg>
        <pc:spChg chg="mod">
          <ac:chgData name="Dan Moore" userId="432a1231-f1bc-48da-b3ef-5b1092c905eb" providerId="ADAL" clId="{5DFDF105-2702-48F9-962A-B003707D7E04}" dt="2022-06-27T20:00:19.351" v="1030"/>
          <ac:spMkLst>
            <pc:docMk/>
            <pc:sldMk cId="1469576865" sldId="11666"/>
            <ac:spMk id="86" creationId="{F591887F-D7FC-2BCC-5B56-921EC5D73607}"/>
          </ac:spMkLst>
        </pc:spChg>
        <pc:spChg chg="mod">
          <ac:chgData name="Dan Moore" userId="432a1231-f1bc-48da-b3ef-5b1092c905eb" providerId="ADAL" clId="{5DFDF105-2702-48F9-962A-B003707D7E04}" dt="2022-06-27T19:56:42.509" v="976" actId="571"/>
          <ac:spMkLst>
            <pc:docMk/>
            <pc:sldMk cId="1469576865" sldId="11666"/>
            <ac:spMk id="89" creationId="{936C6D6B-67E1-4C5C-BC8A-CCB573BF71C7}"/>
          </ac:spMkLst>
        </pc:spChg>
        <pc:spChg chg="mod">
          <ac:chgData name="Dan Moore" userId="432a1231-f1bc-48da-b3ef-5b1092c905eb" providerId="ADAL" clId="{5DFDF105-2702-48F9-962A-B003707D7E04}" dt="2022-06-27T19:56:42.509" v="976" actId="571"/>
          <ac:spMkLst>
            <pc:docMk/>
            <pc:sldMk cId="1469576865" sldId="11666"/>
            <ac:spMk id="90" creationId="{1AEDD792-3913-45F6-A5E4-EF6E2FE4857A}"/>
          </ac:spMkLst>
        </pc:spChg>
        <pc:spChg chg="mod">
          <ac:chgData name="Dan Moore" userId="432a1231-f1bc-48da-b3ef-5b1092c905eb" providerId="ADAL" clId="{5DFDF105-2702-48F9-962A-B003707D7E04}" dt="2022-06-27T19:56:42.509" v="976" actId="571"/>
          <ac:spMkLst>
            <pc:docMk/>
            <pc:sldMk cId="1469576865" sldId="11666"/>
            <ac:spMk id="91" creationId="{0134AF29-810B-4314-8CC5-CE137C7A5E9D}"/>
          </ac:spMkLst>
        </pc:spChg>
        <pc:spChg chg="mod">
          <ac:chgData name="Dan Moore" userId="432a1231-f1bc-48da-b3ef-5b1092c905eb" providerId="ADAL" clId="{5DFDF105-2702-48F9-962A-B003707D7E04}" dt="2022-06-27T19:56:42.509" v="976" actId="571"/>
          <ac:spMkLst>
            <pc:docMk/>
            <pc:sldMk cId="1469576865" sldId="11666"/>
            <ac:spMk id="92" creationId="{744C657E-43CF-43A4-9733-0DC635C351C4}"/>
          </ac:spMkLst>
        </pc:spChg>
        <pc:spChg chg="mod">
          <ac:chgData name="Dan Moore" userId="432a1231-f1bc-48da-b3ef-5b1092c905eb" providerId="ADAL" clId="{5DFDF105-2702-48F9-962A-B003707D7E04}" dt="2022-06-27T19:56:42.509" v="976" actId="571"/>
          <ac:spMkLst>
            <pc:docMk/>
            <pc:sldMk cId="1469576865" sldId="11666"/>
            <ac:spMk id="93" creationId="{B8425188-EF00-4958-8C82-41128EB5F5B4}"/>
          </ac:spMkLst>
        </pc:spChg>
        <pc:spChg chg="mod">
          <ac:chgData name="Dan Moore" userId="432a1231-f1bc-48da-b3ef-5b1092c905eb" providerId="ADAL" clId="{5DFDF105-2702-48F9-962A-B003707D7E04}" dt="2022-06-27T19:56:42.509" v="976" actId="571"/>
          <ac:spMkLst>
            <pc:docMk/>
            <pc:sldMk cId="1469576865" sldId="11666"/>
            <ac:spMk id="96" creationId="{1E8FBF4A-06B5-4336-AF4C-1851CFB3F516}"/>
          </ac:spMkLst>
        </pc:spChg>
        <pc:spChg chg="mod">
          <ac:chgData name="Dan Moore" userId="432a1231-f1bc-48da-b3ef-5b1092c905eb" providerId="ADAL" clId="{5DFDF105-2702-48F9-962A-B003707D7E04}" dt="2022-06-27T19:56:42.509" v="976" actId="571"/>
          <ac:spMkLst>
            <pc:docMk/>
            <pc:sldMk cId="1469576865" sldId="11666"/>
            <ac:spMk id="97" creationId="{86C77FBE-BDD5-4371-BB2D-1C0E071D085C}"/>
          </ac:spMkLst>
        </pc:spChg>
        <pc:spChg chg="mod">
          <ac:chgData name="Dan Moore" userId="432a1231-f1bc-48da-b3ef-5b1092c905eb" providerId="ADAL" clId="{5DFDF105-2702-48F9-962A-B003707D7E04}" dt="2022-06-27T19:56:42.509" v="976" actId="571"/>
          <ac:spMkLst>
            <pc:docMk/>
            <pc:sldMk cId="1469576865" sldId="11666"/>
            <ac:spMk id="98" creationId="{3ED2455F-F618-418C-AF94-116DC031EC24}"/>
          </ac:spMkLst>
        </pc:spChg>
        <pc:spChg chg="mod">
          <ac:chgData name="Dan Moore" userId="432a1231-f1bc-48da-b3ef-5b1092c905eb" providerId="ADAL" clId="{5DFDF105-2702-48F9-962A-B003707D7E04}" dt="2022-06-27T19:56:42.509" v="976" actId="571"/>
          <ac:spMkLst>
            <pc:docMk/>
            <pc:sldMk cId="1469576865" sldId="11666"/>
            <ac:spMk id="99" creationId="{444E5F72-CC10-4EA3-B190-2BD50D319492}"/>
          </ac:spMkLst>
        </pc:spChg>
        <pc:spChg chg="mod">
          <ac:chgData name="Dan Moore" userId="432a1231-f1bc-48da-b3ef-5b1092c905eb" providerId="ADAL" clId="{5DFDF105-2702-48F9-962A-B003707D7E04}" dt="2022-06-27T19:56:42.509" v="976" actId="571"/>
          <ac:spMkLst>
            <pc:docMk/>
            <pc:sldMk cId="1469576865" sldId="11666"/>
            <ac:spMk id="100" creationId="{676A6175-F54B-45B0-9F83-AE4745F9D236}"/>
          </ac:spMkLst>
        </pc:spChg>
        <pc:spChg chg="mod">
          <ac:chgData name="Dan Moore" userId="432a1231-f1bc-48da-b3ef-5b1092c905eb" providerId="ADAL" clId="{5DFDF105-2702-48F9-962A-B003707D7E04}" dt="2022-06-27T20:01:39.010" v="1088" actId="1076"/>
          <ac:spMkLst>
            <pc:docMk/>
            <pc:sldMk cId="1469576865" sldId="11666"/>
            <ac:spMk id="101" creationId="{6DB7FB28-BAA6-41F9-B028-2869890E1FDE}"/>
          </ac:spMkLst>
        </pc:spChg>
        <pc:spChg chg="mod">
          <ac:chgData name="Dan Moore" userId="432a1231-f1bc-48da-b3ef-5b1092c905eb" providerId="ADAL" clId="{5DFDF105-2702-48F9-962A-B003707D7E04}" dt="2022-06-27T19:56:42.509" v="976" actId="571"/>
          <ac:spMkLst>
            <pc:docMk/>
            <pc:sldMk cId="1469576865" sldId="11666"/>
            <ac:spMk id="104" creationId="{AEBE29D5-A622-4DD7-ACF9-D8B8271B2151}"/>
          </ac:spMkLst>
        </pc:spChg>
        <pc:spChg chg="mod">
          <ac:chgData name="Dan Moore" userId="432a1231-f1bc-48da-b3ef-5b1092c905eb" providerId="ADAL" clId="{5DFDF105-2702-48F9-962A-B003707D7E04}" dt="2022-06-27T19:56:42.509" v="976" actId="571"/>
          <ac:spMkLst>
            <pc:docMk/>
            <pc:sldMk cId="1469576865" sldId="11666"/>
            <ac:spMk id="105" creationId="{ABBBD133-0CFF-42D9-989C-E50273F8BB92}"/>
          </ac:spMkLst>
        </pc:spChg>
        <pc:spChg chg="mod">
          <ac:chgData name="Dan Moore" userId="432a1231-f1bc-48da-b3ef-5b1092c905eb" providerId="ADAL" clId="{5DFDF105-2702-48F9-962A-B003707D7E04}" dt="2022-06-27T19:56:42.509" v="976" actId="571"/>
          <ac:spMkLst>
            <pc:docMk/>
            <pc:sldMk cId="1469576865" sldId="11666"/>
            <ac:spMk id="106" creationId="{6CE1FC3A-74D1-4B34-94AF-4F5723B73429}"/>
          </ac:spMkLst>
        </pc:spChg>
        <pc:spChg chg="mod">
          <ac:chgData name="Dan Moore" userId="432a1231-f1bc-48da-b3ef-5b1092c905eb" providerId="ADAL" clId="{5DFDF105-2702-48F9-962A-B003707D7E04}" dt="2022-06-27T19:56:42.509" v="976" actId="571"/>
          <ac:spMkLst>
            <pc:docMk/>
            <pc:sldMk cId="1469576865" sldId="11666"/>
            <ac:spMk id="107" creationId="{5C37DE25-00DC-445C-88DC-709564893415}"/>
          </ac:spMkLst>
        </pc:spChg>
        <pc:spChg chg="mod">
          <ac:chgData name="Dan Moore" userId="432a1231-f1bc-48da-b3ef-5b1092c905eb" providerId="ADAL" clId="{5DFDF105-2702-48F9-962A-B003707D7E04}" dt="2022-06-27T19:56:42.509" v="976" actId="571"/>
          <ac:spMkLst>
            <pc:docMk/>
            <pc:sldMk cId="1469576865" sldId="11666"/>
            <ac:spMk id="108" creationId="{0F799CC8-BE46-4E9C-84CD-909AA939AB67}"/>
          </ac:spMkLst>
        </pc:spChg>
        <pc:spChg chg="mod">
          <ac:chgData name="Dan Moore" userId="432a1231-f1bc-48da-b3ef-5b1092c905eb" providerId="ADAL" clId="{5DFDF105-2702-48F9-962A-B003707D7E04}" dt="2022-06-27T19:56:42.509" v="976" actId="571"/>
          <ac:spMkLst>
            <pc:docMk/>
            <pc:sldMk cId="1469576865" sldId="11666"/>
            <ac:spMk id="111" creationId="{10B986B9-D9F6-4D2C-843A-77F5C7529C38}"/>
          </ac:spMkLst>
        </pc:spChg>
        <pc:spChg chg="mod">
          <ac:chgData name="Dan Moore" userId="432a1231-f1bc-48da-b3ef-5b1092c905eb" providerId="ADAL" clId="{5DFDF105-2702-48F9-962A-B003707D7E04}" dt="2022-06-27T19:56:42.509" v="976" actId="571"/>
          <ac:spMkLst>
            <pc:docMk/>
            <pc:sldMk cId="1469576865" sldId="11666"/>
            <ac:spMk id="112" creationId="{537A9F78-520A-41A4-AD81-2B0598C0C21B}"/>
          </ac:spMkLst>
        </pc:spChg>
        <pc:spChg chg="mod">
          <ac:chgData name="Dan Moore" userId="432a1231-f1bc-48da-b3ef-5b1092c905eb" providerId="ADAL" clId="{5DFDF105-2702-48F9-962A-B003707D7E04}" dt="2022-06-27T19:56:42.509" v="976" actId="571"/>
          <ac:spMkLst>
            <pc:docMk/>
            <pc:sldMk cId="1469576865" sldId="11666"/>
            <ac:spMk id="113" creationId="{CF9344CC-3892-4870-897C-3E11B6393F0E}"/>
          </ac:spMkLst>
        </pc:spChg>
        <pc:spChg chg="mod">
          <ac:chgData name="Dan Moore" userId="432a1231-f1bc-48da-b3ef-5b1092c905eb" providerId="ADAL" clId="{5DFDF105-2702-48F9-962A-B003707D7E04}" dt="2022-06-27T19:56:42.509" v="976" actId="571"/>
          <ac:spMkLst>
            <pc:docMk/>
            <pc:sldMk cId="1469576865" sldId="11666"/>
            <ac:spMk id="114" creationId="{39D07A67-6374-400F-9F1D-61193F28BCBB}"/>
          </ac:spMkLst>
        </pc:spChg>
        <pc:spChg chg="mod">
          <ac:chgData name="Dan Moore" userId="432a1231-f1bc-48da-b3ef-5b1092c905eb" providerId="ADAL" clId="{5DFDF105-2702-48F9-962A-B003707D7E04}" dt="2022-06-27T19:56:42.509" v="976" actId="571"/>
          <ac:spMkLst>
            <pc:docMk/>
            <pc:sldMk cId="1469576865" sldId="11666"/>
            <ac:spMk id="115" creationId="{AFDA64F7-99C3-4951-95C8-62547B5B6F08}"/>
          </ac:spMkLst>
        </pc:spChg>
        <pc:spChg chg="mod">
          <ac:chgData name="Dan Moore" userId="432a1231-f1bc-48da-b3ef-5b1092c905eb" providerId="ADAL" clId="{5DFDF105-2702-48F9-962A-B003707D7E04}" dt="2022-06-27T20:00:19.351" v="1030"/>
          <ac:spMkLst>
            <pc:docMk/>
            <pc:sldMk cId="1469576865" sldId="11666"/>
            <ac:spMk id="117" creationId="{3F56CF95-8DD3-665B-3475-9DD26B5AA001}"/>
          </ac:spMkLst>
        </pc:spChg>
        <pc:spChg chg="mod">
          <ac:chgData name="Dan Moore" userId="432a1231-f1bc-48da-b3ef-5b1092c905eb" providerId="ADAL" clId="{5DFDF105-2702-48F9-962A-B003707D7E04}" dt="2022-06-27T20:00:19.351" v="1030"/>
          <ac:spMkLst>
            <pc:docMk/>
            <pc:sldMk cId="1469576865" sldId="11666"/>
            <ac:spMk id="118" creationId="{7560C9E5-4D07-3158-ECD7-DF0FD170AA59}"/>
          </ac:spMkLst>
        </pc:spChg>
        <pc:spChg chg="mod">
          <ac:chgData name="Dan Moore" userId="432a1231-f1bc-48da-b3ef-5b1092c905eb" providerId="ADAL" clId="{5DFDF105-2702-48F9-962A-B003707D7E04}" dt="2022-06-27T20:00:19.351" v="1030"/>
          <ac:spMkLst>
            <pc:docMk/>
            <pc:sldMk cId="1469576865" sldId="11666"/>
            <ac:spMk id="119" creationId="{435AA375-E82F-452B-FA5F-7940E0F41B02}"/>
          </ac:spMkLst>
        </pc:spChg>
        <pc:spChg chg="mod">
          <ac:chgData name="Dan Moore" userId="432a1231-f1bc-48da-b3ef-5b1092c905eb" providerId="ADAL" clId="{5DFDF105-2702-48F9-962A-B003707D7E04}" dt="2022-06-27T20:00:19.351" v="1030"/>
          <ac:spMkLst>
            <pc:docMk/>
            <pc:sldMk cId="1469576865" sldId="11666"/>
            <ac:spMk id="120" creationId="{3161523E-A6EA-6CED-65DA-D5EDA958D845}"/>
          </ac:spMkLst>
        </pc:spChg>
        <pc:spChg chg="mod">
          <ac:chgData name="Dan Moore" userId="432a1231-f1bc-48da-b3ef-5b1092c905eb" providerId="ADAL" clId="{5DFDF105-2702-48F9-962A-B003707D7E04}" dt="2022-06-27T20:00:19.351" v="1030"/>
          <ac:spMkLst>
            <pc:docMk/>
            <pc:sldMk cId="1469576865" sldId="11666"/>
            <ac:spMk id="121" creationId="{7A988C8E-6C13-6508-B31E-01EAE24300D4}"/>
          </ac:spMkLst>
        </pc:spChg>
        <pc:spChg chg="mod">
          <ac:chgData name="Dan Moore" userId="432a1231-f1bc-48da-b3ef-5b1092c905eb" providerId="ADAL" clId="{5DFDF105-2702-48F9-962A-B003707D7E04}" dt="2022-06-27T20:00:19.351" v="1030"/>
          <ac:spMkLst>
            <pc:docMk/>
            <pc:sldMk cId="1469576865" sldId="11666"/>
            <ac:spMk id="123" creationId="{AC9B850C-0AEE-3758-4A04-BA0CBFC23122}"/>
          </ac:spMkLst>
        </pc:spChg>
        <pc:spChg chg="mod">
          <ac:chgData name="Dan Moore" userId="432a1231-f1bc-48da-b3ef-5b1092c905eb" providerId="ADAL" clId="{5DFDF105-2702-48F9-962A-B003707D7E04}" dt="2022-06-27T20:00:19.351" v="1030"/>
          <ac:spMkLst>
            <pc:docMk/>
            <pc:sldMk cId="1469576865" sldId="11666"/>
            <ac:spMk id="124" creationId="{4AE7BE2D-E4EC-4D08-6934-3E859F073EE8}"/>
          </ac:spMkLst>
        </pc:spChg>
        <pc:spChg chg="mod">
          <ac:chgData name="Dan Moore" userId="432a1231-f1bc-48da-b3ef-5b1092c905eb" providerId="ADAL" clId="{5DFDF105-2702-48F9-962A-B003707D7E04}" dt="2022-06-27T20:00:19.351" v="1030"/>
          <ac:spMkLst>
            <pc:docMk/>
            <pc:sldMk cId="1469576865" sldId="11666"/>
            <ac:spMk id="125" creationId="{65053283-4BA4-A89B-E473-A7FA585A8985}"/>
          </ac:spMkLst>
        </pc:spChg>
        <pc:spChg chg="mod">
          <ac:chgData name="Dan Moore" userId="432a1231-f1bc-48da-b3ef-5b1092c905eb" providerId="ADAL" clId="{5DFDF105-2702-48F9-962A-B003707D7E04}" dt="2022-06-27T20:00:19.351" v="1030"/>
          <ac:spMkLst>
            <pc:docMk/>
            <pc:sldMk cId="1469576865" sldId="11666"/>
            <ac:spMk id="126" creationId="{5535B460-8982-07A4-C84E-5BB25E70E603}"/>
          </ac:spMkLst>
        </pc:spChg>
        <pc:spChg chg="mod">
          <ac:chgData name="Dan Moore" userId="432a1231-f1bc-48da-b3ef-5b1092c905eb" providerId="ADAL" clId="{5DFDF105-2702-48F9-962A-B003707D7E04}" dt="2022-06-27T20:00:19.351" v="1030"/>
          <ac:spMkLst>
            <pc:docMk/>
            <pc:sldMk cId="1469576865" sldId="11666"/>
            <ac:spMk id="127" creationId="{79E1CF88-A392-4031-34B9-D5372555A429}"/>
          </ac:spMkLst>
        </pc:spChg>
        <pc:spChg chg="mod">
          <ac:chgData name="Dan Moore" userId="432a1231-f1bc-48da-b3ef-5b1092c905eb" providerId="ADAL" clId="{5DFDF105-2702-48F9-962A-B003707D7E04}" dt="2022-06-27T20:00:19.351" v="1030"/>
          <ac:spMkLst>
            <pc:docMk/>
            <pc:sldMk cId="1469576865" sldId="11666"/>
            <ac:spMk id="128" creationId="{5BBE5272-BD71-2781-3B08-D311998A3ED8}"/>
          </ac:spMkLst>
        </pc:spChg>
        <pc:spChg chg="mod">
          <ac:chgData name="Dan Moore" userId="432a1231-f1bc-48da-b3ef-5b1092c905eb" providerId="ADAL" clId="{5DFDF105-2702-48F9-962A-B003707D7E04}" dt="2022-06-27T20:00:19.351" v="1030"/>
          <ac:spMkLst>
            <pc:docMk/>
            <pc:sldMk cId="1469576865" sldId="11666"/>
            <ac:spMk id="130" creationId="{144F10FC-25CE-6C35-5FBD-B5309AB1869B}"/>
          </ac:spMkLst>
        </pc:spChg>
        <pc:spChg chg="mod">
          <ac:chgData name="Dan Moore" userId="432a1231-f1bc-48da-b3ef-5b1092c905eb" providerId="ADAL" clId="{5DFDF105-2702-48F9-962A-B003707D7E04}" dt="2022-06-27T20:00:19.351" v="1030"/>
          <ac:spMkLst>
            <pc:docMk/>
            <pc:sldMk cId="1469576865" sldId="11666"/>
            <ac:spMk id="136" creationId="{061A1D33-785A-F25A-A82B-C614BE7AF12B}"/>
          </ac:spMkLst>
        </pc:spChg>
        <pc:spChg chg="mod">
          <ac:chgData name="Dan Moore" userId="432a1231-f1bc-48da-b3ef-5b1092c905eb" providerId="ADAL" clId="{5DFDF105-2702-48F9-962A-B003707D7E04}" dt="2022-06-27T20:00:19.351" v="1030"/>
          <ac:spMkLst>
            <pc:docMk/>
            <pc:sldMk cId="1469576865" sldId="11666"/>
            <ac:spMk id="137" creationId="{7C391CB1-6DDF-4796-E672-CF0CE3F6AFAF}"/>
          </ac:spMkLst>
        </pc:spChg>
        <pc:spChg chg="mod">
          <ac:chgData name="Dan Moore" userId="432a1231-f1bc-48da-b3ef-5b1092c905eb" providerId="ADAL" clId="{5DFDF105-2702-48F9-962A-B003707D7E04}" dt="2022-06-27T20:00:19.351" v="1030"/>
          <ac:spMkLst>
            <pc:docMk/>
            <pc:sldMk cId="1469576865" sldId="11666"/>
            <ac:spMk id="138" creationId="{DFCB73AA-A0F7-C920-CAB9-88FA018768E4}"/>
          </ac:spMkLst>
        </pc:spChg>
        <pc:spChg chg="mod">
          <ac:chgData name="Dan Moore" userId="432a1231-f1bc-48da-b3ef-5b1092c905eb" providerId="ADAL" clId="{5DFDF105-2702-48F9-962A-B003707D7E04}" dt="2022-06-27T20:00:19.351" v="1030"/>
          <ac:spMkLst>
            <pc:docMk/>
            <pc:sldMk cId="1469576865" sldId="11666"/>
            <ac:spMk id="139" creationId="{ABE6159C-2412-4F58-3171-3C0A8BAFBBD4}"/>
          </ac:spMkLst>
        </pc:spChg>
        <pc:spChg chg="mod">
          <ac:chgData name="Dan Moore" userId="432a1231-f1bc-48da-b3ef-5b1092c905eb" providerId="ADAL" clId="{5DFDF105-2702-48F9-962A-B003707D7E04}" dt="2022-06-27T20:00:19.351" v="1030"/>
          <ac:spMkLst>
            <pc:docMk/>
            <pc:sldMk cId="1469576865" sldId="11666"/>
            <ac:spMk id="140" creationId="{3F6C064B-2DCB-563F-5ACC-4E64A7862142}"/>
          </ac:spMkLst>
        </pc:spChg>
        <pc:spChg chg="mod">
          <ac:chgData name="Dan Moore" userId="432a1231-f1bc-48da-b3ef-5b1092c905eb" providerId="ADAL" clId="{5DFDF105-2702-48F9-962A-B003707D7E04}" dt="2022-06-27T20:00:19.351" v="1030"/>
          <ac:spMkLst>
            <pc:docMk/>
            <pc:sldMk cId="1469576865" sldId="11666"/>
            <ac:spMk id="142" creationId="{C6626E6C-CEB6-3596-2389-12A40DAC7F16}"/>
          </ac:spMkLst>
        </pc:spChg>
        <pc:spChg chg="mod">
          <ac:chgData name="Dan Moore" userId="432a1231-f1bc-48da-b3ef-5b1092c905eb" providerId="ADAL" clId="{5DFDF105-2702-48F9-962A-B003707D7E04}" dt="2022-06-27T20:00:19.351" v="1030"/>
          <ac:spMkLst>
            <pc:docMk/>
            <pc:sldMk cId="1469576865" sldId="11666"/>
            <ac:spMk id="143" creationId="{B59C737C-8944-DC12-EED9-FB48FCE332DF}"/>
          </ac:spMkLst>
        </pc:spChg>
        <pc:spChg chg="mod">
          <ac:chgData name="Dan Moore" userId="432a1231-f1bc-48da-b3ef-5b1092c905eb" providerId="ADAL" clId="{5DFDF105-2702-48F9-962A-B003707D7E04}" dt="2022-06-27T20:00:19.351" v="1030"/>
          <ac:spMkLst>
            <pc:docMk/>
            <pc:sldMk cId="1469576865" sldId="11666"/>
            <ac:spMk id="144" creationId="{D869962F-E5EF-1511-3445-A30FA5E2E016}"/>
          </ac:spMkLst>
        </pc:spChg>
        <pc:spChg chg="mod">
          <ac:chgData name="Dan Moore" userId="432a1231-f1bc-48da-b3ef-5b1092c905eb" providerId="ADAL" clId="{5DFDF105-2702-48F9-962A-B003707D7E04}" dt="2022-06-27T20:00:19.351" v="1030"/>
          <ac:spMkLst>
            <pc:docMk/>
            <pc:sldMk cId="1469576865" sldId="11666"/>
            <ac:spMk id="145" creationId="{324A9E5C-6E59-C016-F9FD-D741DD66D58C}"/>
          </ac:spMkLst>
        </pc:spChg>
        <pc:spChg chg="mod">
          <ac:chgData name="Dan Moore" userId="432a1231-f1bc-48da-b3ef-5b1092c905eb" providerId="ADAL" clId="{5DFDF105-2702-48F9-962A-B003707D7E04}" dt="2022-06-27T20:00:19.351" v="1030"/>
          <ac:spMkLst>
            <pc:docMk/>
            <pc:sldMk cId="1469576865" sldId="11666"/>
            <ac:spMk id="146" creationId="{0C765F75-6617-4D1A-761C-C45A4661502D}"/>
          </ac:spMkLst>
        </pc:spChg>
        <pc:spChg chg="mod">
          <ac:chgData name="Dan Moore" userId="432a1231-f1bc-48da-b3ef-5b1092c905eb" providerId="ADAL" clId="{5DFDF105-2702-48F9-962A-B003707D7E04}" dt="2022-06-27T20:00:19.351" v="1030"/>
          <ac:spMkLst>
            <pc:docMk/>
            <pc:sldMk cId="1469576865" sldId="11666"/>
            <ac:spMk id="148" creationId="{939F0791-604B-89BE-A521-765173CE4BA5}"/>
          </ac:spMkLst>
        </pc:spChg>
        <pc:spChg chg="mod">
          <ac:chgData name="Dan Moore" userId="432a1231-f1bc-48da-b3ef-5b1092c905eb" providerId="ADAL" clId="{5DFDF105-2702-48F9-962A-B003707D7E04}" dt="2022-06-27T20:00:19.351" v="1030"/>
          <ac:spMkLst>
            <pc:docMk/>
            <pc:sldMk cId="1469576865" sldId="11666"/>
            <ac:spMk id="149" creationId="{63087DE0-5826-42E6-3FD5-E3C9A1451E39}"/>
          </ac:spMkLst>
        </pc:spChg>
        <pc:spChg chg="mod">
          <ac:chgData name="Dan Moore" userId="432a1231-f1bc-48da-b3ef-5b1092c905eb" providerId="ADAL" clId="{5DFDF105-2702-48F9-962A-B003707D7E04}" dt="2022-06-27T20:00:19.351" v="1030"/>
          <ac:spMkLst>
            <pc:docMk/>
            <pc:sldMk cId="1469576865" sldId="11666"/>
            <ac:spMk id="150" creationId="{1DF67A2F-DBD3-1817-B264-F31281D10E9E}"/>
          </ac:spMkLst>
        </pc:spChg>
        <pc:spChg chg="mod">
          <ac:chgData name="Dan Moore" userId="432a1231-f1bc-48da-b3ef-5b1092c905eb" providerId="ADAL" clId="{5DFDF105-2702-48F9-962A-B003707D7E04}" dt="2022-06-27T20:00:19.351" v="1030"/>
          <ac:spMkLst>
            <pc:docMk/>
            <pc:sldMk cId="1469576865" sldId="11666"/>
            <ac:spMk id="151" creationId="{66A99FF0-6D96-91D4-5E05-3CD91E9A20B3}"/>
          </ac:spMkLst>
        </pc:spChg>
        <pc:spChg chg="mod">
          <ac:chgData name="Dan Moore" userId="432a1231-f1bc-48da-b3ef-5b1092c905eb" providerId="ADAL" clId="{5DFDF105-2702-48F9-962A-B003707D7E04}" dt="2022-06-27T20:00:19.351" v="1030"/>
          <ac:spMkLst>
            <pc:docMk/>
            <pc:sldMk cId="1469576865" sldId="11666"/>
            <ac:spMk id="152" creationId="{A3551FD2-A1DD-BAF9-91EE-C4D1DBD07DBC}"/>
          </ac:spMkLst>
        </pc:spChg>
        <pc:spChg chg="mod">
          <ac:chgData name="Dan Moore" userId="432a1231-f1bc-48da-b3ef-5b1092c905eb" providerId="ADAL" clId="{5DFDF105-2702-48F9-962A-B003707D7E04}" dt="2022-06-27T20:00:19.351" v="1030"/>
          <ac:spMkLst>
            <pc:docMk/>
            <pc:sldMk cId="1469576865" sldId="11666"/>
            <ac:spMk id="154" creationId="{B7ACEE05-F192-F06D-5F7F-3D17F2D1EDBE}"/>
          </ac:spMkLst>
        </pc:spChg>
        <pc:spChg chg="mod">
          <ac:chgData name="Dan Moore" userId="432a1231-f1bc-48da-b3ef-5b1092c905eb" providerId="ADAL" clId="{5DFDF105-2702-48F9-962A-B003707D7E04}" dt="2022-06-27T20:00:19.351" v="1030"/>
          <ac:spMkLst>
            <pc:docMk/>
            <pc:sldMk cId="1469576865" sldId="11666"/>
            <ac:spMk id="155" creationId="{08C927E1-7051-3B7C-9028-668AF0AA937A}"/>
          </ac:spMkLst>
        </pc:spChg>
        <pc:spChg chg="mod">
          <ac:chgData name="Dan Moore" userId="432a1231-f1bc-48da-b3ef-5b1092c905eb" providerId="ADAL" clId="{5DFDF105-2702-48F9-962A-B003707D7E04}" dt="2022-06-27T20:00:19.351" v="1030"/>
          <ac:spMkLst>
            <pc:docMk/>
            <pc:sldMk cId="1469576865" sldId="11666"/>
            <ac:spMk id="156" creationId="{8F2F451B-E370-39D7-2B56-F42688811DE3}"/>
          </ac:spMkLst>
        </pc:spChg>
        <pc:spChg chg="mod">
          <ac:chgData name="Dan Moore" userId="432a1231-f1bc-48da-b3ef-5b1092c905eb" providerId="ADAL" clId="{5DFDF105-2702-48F9-962A-B003707D7E04}" dt="2022-06-27T20:00:19.351" v="1030"/>
          <ac:spMkLst>
            <pc:docMk/>
            <pc:sldMk cId="1469576865" sldId="11666"/>
            <ac:spMk id="157" creationId="{BE2C3225-E9FA-26FF-0160-315F239DD98C}"/>
          </ac:spMkLst>
        </pc:spChg>
        <pc:spChg chg="mod">
          <ac:chgData name="Dan Moore" userId="432a1231-f1bc-48da-b3ef-5b1092c905eb" providerId="ADAL" clId="{5DFDF105-2702-48F9-962A-B003707D7E04}" dt="2022-06-27T20:00:19.351" v="1030"/>
          <ac:spMkLst>
            <pc:docMk/>
            <pc:sldMk cId="1469576865" sldId="11666"/>
            <ac:spMk id="158" creationId="{2B609240-E004-C215-2B54-EB3887931D70}"/>
          </ac:spMkLst>
        </pc:spChg>
        <pc:spChg chg="mod">
          <ac:chgData name="Dan Moore" userId="432a1231-f1bc-48da-b3ef-5b1092c905eb" providerId="ADAL" clId="{5DFDF105-2702-48F9-962A-B003707D7E04}" dt="2022-06-27T20:00:19.351" v="1030"/>
          <ac:spMkLst>
            <pc:docMk/>
            <pc:sldMk cId="1469576865" sldId="11666"/>
            <ac:spMk id="160" creationId="{C72BD1C9-D598-AC71-CA1F-818F2C32C935}"/>
          </ac:spMkLst>
        </pc:spChg>
        <pc:spChg chg="mod">
          <ac:chgData name="Dan Moore" userId="432a1231-f1bc-48da-b3ef-5b1092c905eb" providerId="ADAL" clId="{5DFDF105-2702-48F9-962A-B003707D7E04}" dt="2022-06-27T20:00:19.351" v="1030"/>
          <ac:spMkLst>
            <pc:docMk/>
            <pc:sldMk cId="1469576865" sldId="11666"/>
            <ac:spMk id="161" creationId="{B840D118-CD03-257C-72F4-66861F0F0F8A}"/>
          </ac:spMkLst>
        </pc:spChg>
        <pc:spChg chg="mod">
          <ac:chgData name="Dan Moore" userId="432a1231-f1bc-48da-b3ef-5b1092c905eb" providerId="ADAL" clId="{5DFDF105-2702-48F9-962A-B003707D7E04}" dt="2022-06-27T20:00:19.351" v="1030"/>
          <ac:spMkLst>
            <pc:docMk/>
            <pc:sldMk cId="1469576865" sldId="11666"/>
            <ac:spMk id="162" creationId="{86809479-BCE1-BCE8-EC0D-0319F6075B54}"/>
          </ac:spMkLst>
        </pc:spChg>
        <pc:spChg chg="mod">
          <ac:chgData name="Dan Moore" userId="432a1231-f1bc-48da-b3ef-5b1092c905eb" providerId="ADAL" clId="{5DFDF105-2702-48F9-962A-B003707D7E04}" dt="2022-06-27T20:00:19.351" v="1030"/>
          <ac:spMkLst>
            <pc:docMk/>
            <pc:sldMk cId="1469576865" sldId="11666"/>
            <ac:spMk id="163" creationId="{EB147FE2-862E-5BD0-D782-557EF541A739}"/>
          </ac:spMkLst>
        </pc:spChg>
        <pc:spChg chg="mod">
          <ac:chgData name="Dan Moore" userId="432a1231-f1bc-48da-b3ef-5b1092c905eb" providerId="ADAL" clId="{5DFDF105-2702-48F9-962A-B003707D7E04}" dt="2022-06-27T20:00:19.351" v="1030"/>
          <ac:spMkLst>
            <pc:docMk/>
            <pc:sldMk cId="1469576865" sldId="11666"/>
            <ac:spMk id="164" creationId="{647A9ABB-758E-9DE8-39D0-DA79F0ECC4B8}"/>
          </ac:spMkLst>
        </pc:spChg>
        <pc:spChg chg="mod">
          <ac:chgData name="Dan Moore" userId="432a1231-f1bc-48da-b3ef-5b1092c905eb" providerId="ADAL" clId="{5DFDF105-2702-48F9-962A-B003707D7E04}" dt="2022-06-27T20:00:19.351" v="1030"/>
          <ac:spMkLst>
            <pc:docMk/>
            <pc:sldMk cId="1469576865" sldId="11666"/>
            <ac:spMk id="165" creationId="{64560BA4-2BED-6151-C1D4-6FE0F814EE71}"/>
          </ac:spMkLst>
        </pc:spChg>
        <pc:spChg chg="mod">
          <ac:chgData name="Dan Moore" userId="432a1231-f1bc-48da-b3ef-5b1092c905eb" providerId="ADAL" clId="{5DFDF105-2702-48F9-962A-B003707D7E04}" dt="2022-06-27T20:00:19.351" v="1030"/>
          <ac:spMkLst>
            <pc:docMk/>
            <pc:sldMk cId="1469576865" sldId="11666"/>
            <ac:spMk id="167" creationId="{534AD59B-B921-72DB-4B89-49A78C412787}"/>
          </ac:spMkLst>
        </pc:spChg>
        <pc:spChg chg="mod">
          <ac:chgData name="Dan Moore" userId="432a1231-f1bc-48da-b3ef-5b1092c905eb" providerId="ADAL" clId="{5DFDF105-2702-48F9-962A-B003707D7E04}" dt="2022-06-27T20:00:19.351" v="1030"/>
          <ac:spMkLst>
            <pc:docMk/>
            <pc:sldMk cId="1469576865" sldId="11666"/>
            <ac:spMk id="173" creationId="{35951CA3-063E-3B58-4625-9A292CDB2926}"/>
          </ac:spMkLst>
        </pc:spChg>
        <pc:spChg chg="mod">
          <ac:chgData name="Dan Moore" userId="432a1231-f1bc-48da-b3ef-5b1092c905eb" providerId="ADAL" clId="{5DFDF105-2702-48F9-962A-B003707D7E04}" dt="2022-06-27T20:00:19.351" v="1030"/>
          <ac:spMkLst>
            <pc:docMk/>
            <pc:sldMk cId="1469576865" sldId="11666"/>
            <ac:spMk id="174" creationId="{CC99391F-E9C3-3ED1-47B0-FB4AB152B4B7}"/>
          </ac:spMkLst>
        </pc:spChg>
        <pc:spChg chg="mod">
          <ac:chgData name="Dan Moore" userId="432a1231-f1bc-48da-b3ef-5b1092c905eb" providerId="ADAL" clId="{5DFDF105-2702-48F9-962A-B003707D7E04}" dt="2022-06-27T20:00:19.351" v="1030"/>
          <ac:spMkLst>
            <pc:docMk/>
            <pc:sldMk cId="1469576865" sldId="11666"/>
            <ac:spMk id="175" creationId="{78200F90-1E53-5628-5BC4-03BDFC906EB2}"/>
          </ac:spMkLst>
        </pc:spChg>
        <pc:spChg chg="mod">
          <ac:chgData name="Dan Moore" userId="432a1231-f1bc-48da-b3ef-5b1092c905eb" providerId="ADAL" clId="{5DFDF105-2702-48F9-962A-B003707D7E04}" dt="2022-06-27T20:00:19.351" v="1030"/>
          <ac:spMkLst>
            <pc:docMk/>
            <pc:sldMk cId="1469576865" sldId="11666"/>
            <ac:spMk id="176" creationId="{D95F9A5D-4FA0-0841-C893-915326185494}"/>
          </ac:spMkLst>
        </pc:spChg>
        <pc:spChg chg="mod">
          <ac:chgData name="Dan Moore" userId="432a1231-f1bc-48da-b3ef-5b1092c905eb" providerId="ADAL" clId="{5DFDF105-2702-48F9-962A-B003707D7E04}" dt="2022-06-27T20:00:19.351" v="1030"/>
          <ac:spMkLst>
            <pc:docMk/>
            <pc:sldMk cId="1469576865" sldId="11666"/>
            <ac:spMk id="177" creationId="{FE16CAC2-5D1C-E84B-EE35-A3EF89921647}"/>
          </ac:spMkLst>
        </pc:spChg>
        <pc:spChg chg="mod">
          <ac:chgData name="Dan Moore" userId="432a1231-f1bc-48da-b3ef-5b1092c905eb" providerId="ADAL" clId="{5DFDF105-2702-48F9-962A-B003707D7E04}" dt="2022-06-27T20:00:19.351" v="1030"/>
          <ac:spMkLst>
            <pc:docMk/>
            <pc:sldMk cId="1469576865" sldId="11666"/>
            <ac:spMk id="179" creationId="{FD948867-0745-6D6F-726D-67C0B5C53897}"/>
          </ac:spMkLst>
        </pc:spChg>
        <pc:spChg chg="mod">
          <ac:chgData name="Dan Moore" userId="432a1231-f1bc-48da-b3ef-5b1092c905eb" providerId="ADAL" clId="{5DFDF105-2702-48F9-962A-B003707D7E04}" dt="2022-06-27T20:00:19.351" v="1030"/>
          <ac:spMkLst>
            <pc:docMk/>
            <pc:sldMk cId="1469576865" sldId="11666"/>
            <ac:spMk id="180" creationId="{055883B9-2951-9228-FEC3-2C9E70EEE70B}"/>
          </ac:spMkLst>
        </pc:spChg>
        <pc:spChg chg="mod">
          <ac:chgData name="Dan Moore" userId="432a1231-f1bc-48da-b3ef-5b1092c905eb" providerId="ADAL" clId="{5DFDF105-2702-48F9-962A-B003707D7E04}" dt="2022-06-27T20:00:19.351" v="1030"/>
          <ac:spMkLst>
            <pc:docMk/>
            <pc:sldMk cId="1469576865" sldId="11666"/>
            <ac:spMk id="181" creationId="{FC914957-F599-0706-CA1B-624EE12F9E79}"/>
          </ac:spMkLst>
        </pc:spChg>
        <pc:spChg chg="mod">
          <ac:chgData name="Dan Moore" userId="432a1231-f1bc-48da-b3ef-5b1092c905eb" providerId="ADAL" clId="{5DFDF105-2702-48F9-962A-B003707D7E04}" dt="2022-06-27T20:00:19.351" v="1030"/>
          <ac:spMkLst>
            <pc:docMk/>
            <pc:sldMk cId="1469576865" sldId="11666"/>
            <ac:spMk id="182" creationId="{04ECA96A-D294-DE56-6170-6B878C967266}"/>
          </ac:spMkLst>
        </pc:spChg>
        <pc:spChg chg="mod">
          <ac:chgData name="Dan Moore" userId="432a1231-f1bc-48da-b3ef-5b1092c905eb" providerId="ADAL" clId="{5DFDF105-2702-48F9-962A-B003707D7E04}" dt="2022-06-27T20:00:19.351" v="1030"/>
          <ac:spMkLst>
            <pc:docMk/>
            <pc:sldMk cId="1469576865" sldId="11666"/>
            <ac:spMk id="183" creationId="{6DF81EB4-AACF-C245-3109-36DCF1520F30}"/>
          </ac:spMkLst>
        </pc:spChg>
        <pc:spChg chg="mod">
          <ac:chgData name="Dan Moore" userId="432a1231-f1bc-48da-b3ef-5b1092c905eb" providerId="ADAL" clId="{5DFDF105-2702-48F9-962A-B003707D7E04}" dt="2022-06-27T20:00:19.351" v="1030"/>
          <ac:spMkLst>
            <pc:docMk/>
            <pc:sldMk cId="1469576865" sldId="11666"/>
            <ac:spMk id="185" creationId="{2DB13EEB-7F72-3CCF-2E7B-12204522E967}"/>
          </ac:spMkLst>
        </pc:spChg>
        <pc:spChg chg="mod">
          <ac:chgData name="Dan Moore" userId="432a1231-f1bc-48da-b3ef-5b1092c905eb" providerId="ADAL" clId="{5DFDF105-2702-48F9-962A-B003707D7E04}" dt="2022-06-27T20:00:19.351" v="1030"/>
          <ac:spMkLst>
            <pc:docMk/>
            <pc:sldMk cId="1469576865" sldId="11666"/>
            <ac:spMk id="186" creationId="{452B246B-CFD5-2859-F2E0-91B9517FCCF9}"/>
          </ac:spMkLst>
        </pc:spChg>
        <pc:spChg chg="mod">
          <ac:chgData name="Dan Moore" userId="432a1231-f1bc-48da-b3ef-5b1092c905eb" providerId="ADAL" clId="{5DFDF105-2702-48F9-962A-B003707D7E04}" dt="2022-06-27T20:00:19.351" v="1030"/>
          <ac:spMkLst>
            <pc:docMk/>
            <pc:sldMk cId="1469576865" sldId="11666"/>
            <ac:spMk id="187" creationId="{5F8F9404-CDBC-C438-68EA-20E0FCEA840B}"/>
          </ac:spMkLst>
        </pc:spChg>
        <pc:spChg chg="mod">
          <ac:chgData name="Dan Moore" userId="432a1231-f1bc-48da-b3ef-5b1092c905eb" providerId="ADAL" clId="{5DFDF105-2702-48F9-962A-B003707D7E04}" dt="2022-06-27T20:00:19.351" v="1030"/>
          <ac:spMkLst>
            <pc:docMk/>
            <pc:sldMk cId="1469576865" sldId="11666"/>
            <ac:spMk id="188" creationId="{5CEF66E7-273B-0851-3E7E-7AF4092FE840}"/>
          </ac:spMkLst>
        </pc:spChg>
        <pc:spChg chg="mod">
          <ac:chgData name="Dan Moore" userId="432a1231-f1bc-48da-b3ef-5b1092c905eb" providerId="ADAL" clId="{5DFDF105-2702-48F9-962A-B003707D7E04}" dt="2022-06-27T20:00:19.351" v="1030"/>
          <ac:spMkLst>
            <pc:docMk/>
            <pc:sldMk cId="1469576865" sldId="11666"/>
            <ac:spMk id="189" creationId="{26F04DB4-BE84-938B-C002-935037231481}"/>
          </ac:spMkLst>
        </pc:spChg>
        <pc:spChg chg="mod">
          <ac:chgData name="Dan Moore" userId="432a1231-f1bc-48da-b3ef-5b1092c905eb" providerId="ADAL" clId="{5DFDF105-2702-48F9-962A-B003707D7E04}" dt="2022-06-27T20:00:19.351" v="1030"/>
          <ac:spMkLst>
            <pc:docMk/>
            <pc:sldMk cId="1469576865" sldId="11666"/>
            <ac:spMk id="191" creationId="{D9A9B7E3-046A-15F2-164F-FC186EA818B3}"/>
          </ac:spMkLst>
        </pc:spChg>
        <pc:spChg chg="mod">
          <ac:chgData name="Dan Moore" userId="432a1231-f1bc-48da-b3ef-5b1092c905eb" providerId="ADAL" clId="{5DFDF105-2702-48F9-962A-B003707D7E04}" dt="2022-06-27T20:00:19.351" v="1030"/>
          <ac:spMkLst>
            <pc:docMk/>
            <pc:sldMk cId="1469576865" sldId="11666"/>
            <ac:spMk id="192" creationId="{64C1CC6A-E7C4-26F4-6161-4571BE5F8CD9}"/>
          </ac:spMkLst>
        </pc:spChg>
        <pc:spChg chg="mod">
          <ac:chgData name="Dan Moore" userId="432a1231-f1bc-48da-b3ef-5b1092c905eb" providerId="ADAL" clId="{5DFDF105-2702-48F9-962A-B003707D7E04}" dt="2022-06-27T20:00:19.351" v="1030"/>
          <ac:spMkLst>
            <pc:docMk/>
            <pc:sldMk cId="1469576865" sldId="11666"/>
            <ac:spMk id="193" creationId="{C0873BB6-E1BF-83FF-90E2-D3E5C8DFD151}"/>
          </ac:spMkLst>
        </pc:spChg>
        <pc:spChg chg="mod">
          <ac:chgData name="Dan Moore" userId="432a1231-f1bc-48da-b3ef-5b1092c905eb" providerId="ADAL" clId="{5DFDF105-2702-48F9-962A-B003707D7E04}" dt="2022-06-27T20:00:19.351" v="1030"/>
          <ac:spMkLst>
            <pc:docMk/>
            <pc:sldMk cId="1469576865" sldId="11666"/>
            <ac:spMk id="194" creationId="{90CFECE6-320C-44BC-16F9-A8C251CE8715}"/>
          </ac:spMkLst>
        </pc:spChg>
        <pc:spChg chg="mod">
          <ac:chgData name="Dan Moore" userId="432a1231-f1bc-48da-b3ef-5b1092c905eb" providerId="ADAL" clId="{5DFDF105-2702-48F9-962A-B003707D7E04}" dt="2022-06-27T20:00:19.351" v="1030"/>
          <ac:spMkLst>
            <pc:docMk/>
            <pc:sldMk cId="1469576865" sldId="11666"/>
            <ac:spMk id="195" creationId="{1C3F68A9-17BB-3DB1-12E7-D41016B05AC6}"/>
          </ac:spMkLst>
        </pc:spChg>
        <pc:spChg chg="mod">
          <ac:chgData name="Dan Moore" userId="432a1231-f1bc-48da-b3ef-5b1092c905eb" providerId="ADAL" clId="{5DFDF105-2702-48F9-962A-B003707D7E04}" dt="2022-06-27T20:00:19.351" v="1030"/>
          <ac:spMkLst>
            <pc:docMk/>
            <pc:sldMk cId="1469576865" sldId="11666"/>
            <ac:spMk id="197" creationId="{F3BB240E-A94C-7F46-5D97-08BF947C1D47}"/>
          </ac:spMkLst>
        </pc:spChg>
        <pc:spChg chg="mod">
          <ac:chgData name="Dan Moore" userId="432a1231-f1bc-48da-b3ef-5b1092c905eb" providerId="ADAL" clId="{5DFDF105-2702-48F9-962A-B003707D7E04}" dt="2022-06-27T20:00:19.351" v="1030"/>
          <ac:spMkLst>
            <pc:docMk/>
            <pc:sldMk cId="1469576865" sldId="11666"/>
            <ac:spMk id="198" creationId="{6D759DEE-C6BE-7050-5D68-01A05CC1F13F}"/>
          </ac:spMkLst>
        </pc:spChg>
        <pc:spChg chg="mod">
          <ac:chgData name="Dan Moore" userId="432a1231-f1bc-48da-b3ef-5b1092c905eb" providerId="ADAL" clId="{5DFDF105-2702-48F9-962A-B003707D7E04}" dt="2022-06-27T20:00:19.351" v="1030"/>
          <ac:spMkLst>
            <pc:docMk/>
            <pc:sldMk cId="1469576865" sldId="11666"/>
            <ac:spMk id="199" creationId="{D56F1A01-F8CC-17BD-C652-9CB4F29B43AD}"/>
          </ac:spMkLst>
        </pc:spChg>
        <pc:spChg chg="mod">
          <ac:chgData name="Dan Moore" userId="432a1231-f1bc-48da-b3ef-5b1092c905eb" providerId="ADAL" clId="{5DFDF105-2702-48F9-962A-B003707D7E04}" dt="2022-06-27T20:00:19.351" v="1030"/>
          <ac:spMkLst>
            <pc:docMk/>
            <pc:sldMk cId="1469576865" sldId="11666"/>
            <ac:spMk id="200" creationId="{0489DCA2-327E-C08F-8BFA-34BB8FA264C1}"/>
          </ac:spMkLst>
        </pc:spChg>
        <pc:spChg chg="mod">
          <ac:chgData name="Dan Moore" userId="432a1231-f1bc-48da-b3ef-5b1092c905eb" providerId="ADAL" clId="{5DFDF105-2702-48F9-962A-B003707D7E04}" dt="2022-06-27T20:00:19.351" v="1030"/>
          <ac:spMkLst>
            <pc:docMk/>
            <pc:sldMk cId="1469576865" sldId="11666"/>
            <ac:spMk id="201" creationId="{79E0D079-6B3E-36E1-B6EC-9B615799DAF1}"/>
          </ac:spMkLst>
        </pc:spChg>
        <pc:spChg chg="add mod">
          <ac:chgData name="Dan Moore" userId="432a1231-f1bc-48da-b3ef-5b1092c905eb" providerId="ADAL" clId="{5DFDF105-2702-48F9-962A-B003707D7E04}" dt="2022-06-27T20:01:39.010" v="1088" actId="1076"/>
          <ac:spMkLst>
            <pc:docMk/>
            <pc:sldMk cId="1469576865" sldId="11666"/>
            <ac:spMk id="202" creationId="{B5F485A7-1C03-6CA4-0D58-D7CC8A4E4135}"/>
          </ac:spMkLst>
        </pc:spChg>
        <pc:grpChg chg="add mod">
          <ac:chgData name="Dan Moore" userId="432a1231-f1bc-48da-b3ef-5b1092c905eb" providerId="ADAL" clId="{5DFDF105-2702-48F9-962A-B003707D7E04}" dt="2022-06-27T20:01:39.010" v="1088" actId="1076"/>
          <ac:grpSpMkLst>
            <pc:docMk/>
            <pc:sldMk cId="1469576865" sldId="11666"/>
            <ac:grpSpMk id="4" creationId="{F87E7A7F-CAE7-1E91-30F5-EE547B35FA05}"/>
          </ac:grpSpMkLst>
        </pc:grpChg>
        <pc:grpChg chg="add mod">
          <ac:chgData name="Dan Moore" userId="432a1231-f1bc-48da-b3ef-5b1092c905eb" providerId="ADAL" clId="{5DFDF105-2702-48F9-962A-B003707D7E04}" dt="2022-06-27T20:01:39.010" v="1088" actId="1076"/>
          <ac:grpSpMkLst>
            <pc:docMk/>
            <pc:sldMk cId="1469576865" sldId="11666"/>
            <ac:grpSpMk id="49" creationId="{06CABC0E-946C-CFC9-7339-653202616FDA}"/>
          </ac:grpSpMkLst>
        </pc:grpChg>
        <pc:grpChg chg="mod">
          <ac:chgData name="Dan Moore" userId="432a1231-f1bc-48da-b3ef-5b1092c905eb" providerId="ADAL" clId="{5DFDF105-2702-48F9-962A-B003707D7E04}" dt="2022-06-27T20:00:19.351" v="1030"/>
          <ac:grpSpMkLst>
            <pc:docMk/>
            <pc:sldMk cId="1469576865" sldId="11666"/>
            <ac:grpSpMk id="53" creationId="{F7D8BF60-DE9D-7FEA-7BE1-6E2042F36A64}"/>
          </ac:grpSpMkLst>
        </pc:grpChg>
        <pc:grpChg chg="mod">
          <ac:chgData name="Dan Moore" userId="432a1231-f1bc-48da-b3ef-5b1092c905eb" providerId="ADAL" clId="{5DFDF105-2702-48F9-962A-B003707D7E04}" dt="2022-06-27T20:00:19.351" v="1030"/>
          <ac:grpSpMkLst>
            <pc:docMk/>
            <pc:sldMk cId="1469576865" sldId="11666"/>
            <ac:grpSpMk id="54" creationId="{4677C96F-F955-8AB5-EDF9-00F5DA6DFACF}"/>
          </ac:grpSpMkLst>
        </pc:grpChg>
        <pc:grpChg chg="mod">
          <ac:chgData name="Dan Moore" userId="432a1231-f1bc-48da-b3ef-5b1092c905eb" providerId="ADAL" clId="{5DFDF105-2702-48F9-962A-B003707D7E04}" dt="2022-06-27T20:00:19.351" v="1030"/>
          <ac:grpSpMkLst>
            <pc:docMk/>
            <pc:sldMk cId="1469576865" sldId="11666"/>
            <ac:grpSpMk id="55" creationId="{A4EDCC22-2256-E703-5EA7-E7E871AE1739}"/>
          </ac:grpSpMkLst>
        </pc:grpChg>
        <pc:grpChg chg="mod">
          <ac:chgData name="Dan Moore" userId="432a1231-f1bc-48da-b3ef-5b1092c905eb" providerId="ADAL" clId="{5DFDF105-2702-48F9-962A-B003707D7E04}" dt="2022-06-27T20:00:19.351" v="1030"/>
          <ac:grpSpMkLst>
            <pc:docMk/>
            <pc:sldMk cId="1469576865" sldId="11666"/>
            <ac:grpSpMk id="57" creationId="{B325E7B0-8138-4269-57C3-3484BB444627}"/>
          </ac:grpSpMkLst>
        </pc:grpChg>
        <pc:grpChg chg="mod">
          <ac:chgData name="Dan Moore" userId="432a1231-f1bc-48da-b3ef-5b1092c905eb" providerId="ADAL" clId="{5DFDF105-2702-48F9-962A-B003707D7E04}" dt="2022-06-27T20:00:19.351" v="1030"/>
          <ac:grpSpMkLst>
            <pc:docMk/>
            <pc:sldMk cId="1469576865" sldId="11666"/>
            <ac:grpSpMk id="59" creationId="{E1BC561A-E8A3-925D-DD06-E42F98E6EA68}"/>
          </ac:grpSpMkLst>
        </pc:grpChg>
        <pc:grpChg chg="mod">
          <ac:chgData name="Dan Moore" userId="432a1231-f1bc-48da-b3ef-5b1092c905eb" providerId="ADAL" clId="{5DFDF105-2702-48F9-962A-B003707D7E04}" dt="2022-06-27T20:00:19.351" v="1030"/>
          <ac:grpSpMkLst>
            <pc:docMk/>
            <pc:sldMk cId="1469576865" sldId="11666"/>
            <ac:grpSpMk id="60" creationId="{3FFB5379-2C0D-792C-F3F5-98CCDB828EE2}"/>
          </ac:grpSpMkLst>
        </pc:grpChg>
        <pc:grpChg chg="mod">
          <ac:chgData name="Dan Moore" userId="432a1231-f1bc-48da-b3ef-5b1092c905eb" providerId="ADAL" clId="{5DFDF105-2702-48F9-962A-B003707D7E04}" dt="2022-06-27T20:00:19.351" v="1030"/>
          <ac:grpSpMkLst>
            <pc:docMk/>
            <pc:sldMk cId="1469576865" sldId="11666"/>
            <ac:grpSpMk id="61" creationId="{EA93BF64-1134-C780-FE03-18247BFF1527}"/>
          </ac:grpSpMkLst>
        </pc:grpChg>
        <pc:grpChg chg="mod">
          <ac:chgData name="Dan Moore" userId="432a1231-f1bc-48da-b3ef-5b1092c905eb" providerId="ADAL" clId="{5DFDF105-2702-48F9-962A-B003707D7E04}" dt="2022-06-27T20:00:19.351" v="1030"/>
          <ac:grpSpMkLst>
            <pc:docMk/>
            <pc:sldMk cId="1469576865" sldId="11666"/>
            <ac:grpSpMk id="62" creationId="{A5DD1731-C5EF-1B54-5BFC-755667DA99F4}"/>
          </ac:grpSpMkLst>
        </pc:grpChg>
        <pc:grpChg chg="mod">
          <ac:chgData name="Dan Moore" userId="432a1231-f1bc-48da-b3ef-5b1092c905eb" providerId="ADAL" clId="{5DFDF105-2702-48F9-962A-B003707D7E04}" dt="2022-06-27T20:00:19.351" v="1030"/>
          <ac:grpSpMkLst>
            <pc:docMk/>
            <pc:sldMk cId="1469576865" sldId="11666"/>
            <ac:grpSpMk id="63" creationId="{B9B33454-0BC6-B373-C317-501D7EEDE2DC}"/>
          </ac:grpSpMkLst>
        </pc:grpChg>
        <pc:grpChg chg="mod">
          <ac:chgData name="Dan Moore" userId="432a1231-f1bc-48da-b3ef-5b1092c905eb" providerId="ADAL" clId="{5DFDF105-2702-48F9-962A-B003707D7E04}" dt="2022-06-27T19:56:42.509" v="976" actId="571"/>
          <ac:grpSpMkLst>
            <pc:docMk/>
            <pc:sldMk cId="1469576865" sldId="11666"/>
            <ac:grpSpMk id="70" creationId="{37080C82-36F1-4549-A817-088A49B0728C}"/>
          </ac:grpSpMkLst>
        </pc:grpChg>
        <pc:grpChg chg="mod">
          <ac:chgData name="Dan Moore" userId="432a1231-f1bc-48da-b3ef-5b1092c905eb" providerId="ADAL" clId="{5DFDF105-2702-48F9-962A-B003707D7E04}" dt="2022-06-27T19:56:42.509" v="976" actId="571"/>
          <ac:grpSpMkLst>
            <pc:docMk/>
            <pc:sldMk cId="1469576865" sldId="11666"/>
            <ac:grpSpMk id="71" creationId="{C2966C03-59A2-443A-A670-3CA67ADEED3B}"/>
          </ac:grpSpMkLst>
        </pc:grpChg>
        <pc:grpChg chg="mod">
          <ac:chgData name="Dan Moore" userId="432a1231-f1bc-48da-b3ef-5b1092c905eb" providerId="ADAL" clId="{5DFDF105-2702-48F9-962A-B003707D7E04}" dt="2022-06-27T20:00:19.351" v="1030"/>
          <ac:grpSpMkLst>
            <pc:docMk/>
            <pc:sldMk cId="1469576865" sldId="11666"/>
            <ac:grpSpMk id="75" creationId="{CCFB63C3-FD5F-9F8B-EDAD-A0DFE3C0E638}"/>
          </ac:grpSpMkLst>
        </pc:grpChg>
        <pc:grpChg chg="mod">
          <ac:chgData name="Dan Moore" userId="432a1231-f1bc-48da-b3ef-5b1092c905eb" providerId="ADAL" clId="{5DFDF105-2702-48F9-962A-B003707D7E04}" dt="2022-06-27T20:00:19.351" v="1030"/>
          <ac:grpSpMkLst>
            <pc:docMk/>
            <pc:sldMk cId="1469576865" sldId="11666"/>
            <ac:grpSpMk id="81" creationId="{FB3B38CD-AC2B-FAAB-301B-119ABB50EED4}"/>
          </ac:grpSpMkLst>
        </pc:grpChg>
        <pc:grpChg chg="mod">
          <ac:chgData name="Dan Moore" userId="432a1231-f1bc-48da-b3ef-5b1092c905eb" providerId="ADAL" clId="{5DFDF105-2702-48F9-962A-B003707D7E04}" dt="2022-06-27T19:56:42.509" v="976" actId="571"/>
          <ac:grpSpMkLst>
            <pc:docMk/>
            <pc:sldMk cId="1469576865" sldId="11666"/>
            <ac:grpSpMk id="87" creationId="{CDD94FEE-9B30-44AE-96D3-DE9C06371E64}"/>
          </ac:grpSpMkLst>
        </pc:grpChg>
        <pc:grpChg chg="mod">
          <ac:chgData name="Dan Moore" userId="432a1231-f1bc-48da-b3ef-5b1092c905eb" providerId="ADAL" clId="{5DFDF105-2702-48F9-962A-B003707D7E04}" dt="2022-06-27T19:56:42.509" v="976" actId="571"/>
          <ac:grpSpMkLst>
            <pc:docMk/>
            <pc:sldMk cId="1469576865" sldId="11666"/>
            <ac:grpSpMk id="88" creationId="{5AC4165D-3EB6-4FCA-88B8-09E3CE9B7AB4}"/>
          </ac:grpSpMkLst>
        </pc:grpChg>
        <pc:grpChg chg="mod">
          <ac:chgData name="Dan Moore" userId="432a1231-f1bc-48da-b3ef-5b1092c905eb" providerId="ADAL" clId="{5DFDF105-2702-48F9-962A-B003707D7E04}" dt="2022-06-27T19:56:42.509" v="976" actId="571"/>
          <ac:grpSpMkLst>
            <pc:docMk/>
            <pc:sldMk cId="1469576865" sldId="11666"/>
            <ac:grpSpMk id="94" creationId="{79BB6337-5E4D-4D10-808A-7E8FF9966987}"/>
          </ac:grpSpMkLst>
        </pc:grpChg>
        <pc:grpChg chg="mod">
          <ac:chgData name="Dan Moore" userId="432a1231-f1bc-48da-b3ef-5b1092c905eb" providerId="ADAL" clId="{5DFDF105-2702-48F9-962A-B003707D7E04}" dt="2022-06-27T19:56:42.509" v="976" actId="571"/>
          <ac:grpSpMkLst>
            <pc:docMk/>
            <pc:sldMk cId="1469576865" sldId="11666"/>
            <ac:grpSpMk id="95" creationId="{4653AFEA-8438-41DE-927D-040B0FE7CC7D}"/>
          </ac:grpSpMkLst>
        </pc:grpChg>
        <pc:grpChg chg="mod">
          <ac:chgData name="Dan Moore" userId="432a1231-f1bc-48da-b3ef-5b1092c905eb" providerId="ADAL" clId="{5DFDF105-2702-48F9-962A-B003707D7E04}" dt="2022-06-27T19:56:42.509" v="976" actId="571"/>
          <ac:grpSpMkLst>
            <pc:docMk/>
            <pc:sldMk cId="1469576865" sldId="11666"/>
            <ac:grpSpMk id="102" creationId="{E0481182-E2F3-471E-9C6B-B2CB7F5AAC8F}"/>
          </ac:grpSpMkLst>
        </pc:grpChg>
        <pc:grpChg chg="mod">
          <ac:chgData name="Dan Moore" userId="432a1231-f1bc-48da-b3ef-5b1092c905eb" providerId="ADAL" clId="{5DFDF105-2702-48F9-962A-B003707D7E04}" dt="2022-06-27T19:56:42.509" v="976" actId="571"/>
          <ac:grpSpMkLst>
            <pc:docMk/>
            <pc:sldMk cId="1469576865" sldId="11666"/>
            <ac:grpSpMk id="103" creationId="{99C2205C-D749-472D-A6C9-59D5758DE4B6}"/>
          </ac:grpSpMkLst>
        </pc:grpChg>
        <pc:grpChg chg="mod">
          <ac:chgData name="Dan Moore" userId="432a1231-f1bc-48da-b3ef-5b1092c905eb" providerId="ADAL" clId="{5DFDF105-2702-48F9-962A-B003707D7E04}" dt="2022-06-27T19:56:42.509" v="976" actId="571"/>
          <ac:grpSpMkLst>
            <pc:docMk/>
            <pc:sldMk cId="1469576865" sldId="11666"/>
            <ac:grpSpMk id="109" creationId="{AA802C79-2E33-4BBB-B52A-6B24F565A68F}"/>
          </ac:grpSpMkLst>
        </pc:grpChg>
        <pc:grpChg chg="mod">
          <ac:chgData name="Dan Moore" userId="432a1231-f1bc-48da-b3ef-5b1092c905eb" providerId="ADAL" clId="{5DFDF105-2702-48F9-962A-B003707D7E04}" dt="2022-06-27T19:56:42.509" v="976" actId="571"/>
          <ac:grpSpMkLst>
            <pc:docMk/>
            <pc:sldMk cId="1469576865" sldId="11666"/>
            <ac:grpSpMk id="110" creationId="{48601F5E-E832-4D1B-BFCD-65B911082CEE}"/>
          </ac:grpSpMkLst>
        </pc:grpChg>
        <pc:grpChg chg="mod">
          <ac:chgData name="Dan Moore" userId="432a1231-f1bc-48da-b3ef-5b1092c905eb" providerId="ADAL" clId="{5DFDF105-2702-48F9-962A-B003707D7E04}" dt="2022-06-27T20:00:19.351" v="1030"/>
          <ac:grpSpMkLst>
            <pc:docMk/>
            <pc:sldMk cId="1469576865" sldId="11666"/>
            <ac:grpSpMk id="116" creationId="{4D1BEF03-3D9F-7DB5-6A70-EDCC373E0C11}"/>
          </ac:grpSpMkLst>
        </pc:grpChg>
        <pc:grpChg chg="mod">
          <ac:chgData name="Dan Moore" userId="432a1231-f1bc-48da-b3ef-5b1092c905eb" providerId="ADAL" clId="{5DFDF105-2702-48F9-962A-B003707D7E04}" dt="2022-06-27T20:00:19.351" v="1030"/>
          <ac:grpSpMkLst>
            <pc:docMk/>
            <pc:sldMk cId="1469576865" sldId="11666"/>
            <ac:grpSpMk id="122" creationId="{6E1722D7-4A3A-9E22-2DC1-E87763041E2C}"/>
          </ac:grpSpMkLst>
        </pc:grpChg>
        <pc:grpChg chg="mod">
          <ac:chgData name="Dan Moore" userId="432a1231-f1bc-48da-b3ef-5b1092c905eb" providerId="ADAL" clId="{5DFDF105-2702-48F9-962A-B003707D7E04}" dt="2022-06-27T20:00:19.351" v="1030"/>
          <ac:grpSpMkLst>
            <pc:docMk/>
            <pc:sldMk cId="1469576865" sldId="11666"/>
            <ac:grpSpMk id="129" creationId="{CA8D8F14-9E16-4651-0A24-D0E29C3D20B4}"/>
          </ac:grpSpMkLst>
        </pc:grpChg>
        <pc:grpChg chg="mod">
          <ac:chgData name="Dan Moore" userId="432a1231-f1bc-48da-b3ef-5b1092c905eb" providerId="ADAL" clId="{5DFDF105-2702-48F9-962A-B003707D7E04}" dt="2022-06-27T20:00:19.351" v="1030"/>
          <ac:grpSpMkLst>
            <pc:docMk/>
            <pc:sldMk cId="1469576865" sldId="11666"/>
            <ac:grpSpMk id="131" creationId="{E4B13460-2044-3230-7E70-E47699B9A006}"/>
          </ac:grpSpMkLst>
        </pc:grpChg>
        <pc:grpChg chg="mod">
          <ac:chgData name="Dan Moore" userId="432a1231-f1bc-48da-b3ef-5b1092c905eb" providerId="ADAL" clId="{5DFDF105-2702-48F9-962A-B003707D7E04}" dt="2022-06-27T20:00:19.351" v="1030"/>
          <ac:grpSpMkLst>
            <pc:docMk/>
            <pc:sldMk cId="1469576865" sldId="11666"/>
            <ac:grpSpMk id="132" creationId="{4E84C0AB-9A56-3432-6F4B-11AEA7B83A89}"/>
          </ac:grpSpMkLst>
        </pc:grpChg>
        <pc:grpChg chg="mod">
          <ac:chgData name="Dan Moore" userId="432a1231-f1bc-48da-b3ef-5b1092c905eb" providerId="ADAL" clId="{5DFDF105-2702-48F9-962A-B003707D7E04}" dt="2022-06-27T20:00:19.351" v="1030"/>
          <ac:grpSpMkLst>
            <pc:docMk/>
            <pc:sldMk cId="1469576865" sldId="11666"/>
            <ac:grpSpMk id="133" creationId="{EB489ED6-7221-1CE4-E8AA-B20A0C8B23EB}"/>
          </ac:grpSpMkLst>
        </pc:grpChg>
        <pc:grpChg chg="mod">
          <ac:chgData name="Dan Moore" userId="432a1231-f1bc-48da-b3ef-5b1092c905eb" providerId="ADAL" clId="{5DFDF105-2702-48F9-962A-B003707D7E04}" dt="2022-06-27T20:00:19.351" v="1030"/>
          <ac:grpSpMkLst>
            <pc:docMk/>
            <pc:sldMk cId="1469576865" sldId="11666"/>
            <ac:grpSpMk id="134" creationId="{04484B1B-DBBD-C886-1FBE-135AFB151D10}"/>
          </ac:grpSpMkLst>
        </pc:grpChg>
        <pc:grpChg chg="mod">
          <ac:chgData name="Dan Moore" userId="432a1231-f1bc-48da-b3ef-5b1092c905eb" providerId="ADAL" clId="{5DFDF105-2702-48F9-962A-B003707D7E04}" dt="2022-06-27T20:00:19.351" v="1030"/>
          <ac:grpSpMkLst>
            <pc:docMk/>
            <pc:sldMk cId="1469576865" sldId="11666"/>
            <ac:grpSpMk id="135" creationId="{21DD2A46-F44C-A656-90F1-22A3403751A2}"/>
          </ac:grpSpMkLst>
        </pc:grpChg>
        <pc:grpChg chg="mod">
          <ac:chgData name="Dan Moore" userId="432a1231-f1bc-48da-b3ef-5b1092c905eb" providerId="ADAL" clId="{5DFDF105-2702-48F9-962A-B003707D7E04}" dt="2022-06-27T20:00:19.351" v="1030"/>
          <ac:grpSpMkLst>
            <pc:docMk/>
            <pc:sldMk cId="1469576865" sldId="11666"/>
            <ac:grpSpMk id="141" creationId="{8EC457EF-4D6A-4F45-7911-6CF7D0C5ECB3}"/>
          </ac:grpSpMkLst>
        </pc:grpChg>
        <pc:grpChg chg="mod">
          <ac:chgData name="Dan Moore" userId="432a1231-f1bc-48da-b3ef-5b1092c905eb" providerId="ADAL" clId="{5DFDF105-2702-48F9-962A-B003707D7E04}" dt="2022-06-27T20:00:19.351" v="1030"/>
          <ac:grpSpMkLst>
            <pc:docMk/>
            <pc:sldMk cId="1469576865" sldId="11666"/>
            <ac:grpSpMk id="147" creationId="{0D11D7AB-5937-D3FD-DB91-A86A600DD82C}"/>
          </ac:grpSpMkLst>
        </pc:grpChg>
        <pc:grpChg chg="mod">
          <ac:chgData name="Dan Moore" userId="432a1231-f1bc-48da-b3ef-5b1092c905eb" providerId="ADAL" clId="{5DFDF105-2702-48F9-962A-B003707D7E04}" dt="2022-06-27T20:00:19.351" v="1030"/>
          <ac:grpSpMkLst>
            <pc:docMk/>
            <pc:sldMk cId="1469576865" sldId="11666"/>
            <ac:grpSpMk id="153" creationId="{C3A9E3C0-86E7-CB84-3247-21D167E6B978}"/>
          </ac:grpSpMkLst>
        </pc:grpChg>
        <pc:grpChg chg="mod">
          <ac:chgData name="Dan Moore" userId="432a1231-f1bc-48da-b3ef-5b1092c905eb" providerId="ADAL" clId="{5DFDF105-2702-48F9-962A-B003707D7E04}" dt="2022-06-27T20:00:19.351" v="1030"/>
          <ac:grpSpMkLst>
            <pc:docMk/>
            <pc:sldMk cId="1469576865" sldId="11666"/>
            <ac:grpSpMk id="159" creationId="{D64FFE8A-6919-6161-F8B8-D76C53ABDB60}"/>
          </ac:grpSpMkLst>
        </pc:grpChg>
        <pc:grpChg chg="mod">
          <ac:chgData name="Dan Moore" userId="432a1231-f1bc-48da-b3ef-5b1092c905eb" providerId="ADAL" clId="{5DFDF105-2702-48F9-962A-B003707D7E04}" dt="2022-06-27T20:00:19.351" v="1030"/>
          <ac:grpSpMkLst>
            <pc:docMk/>
            <pc:sldMk cId="1469576865" sldId="11666"/>
            <ac:grpSpMk id="166" creationId="{5FDA1237-803E-A338-AEF0-73D8A225827D}"/>
          </ac:grpSpMkLst>
        </pc:grpChg>
        <pc:grpChg chg="mod">
          <ac:chgData name="Dan Moore" userId="432a1231-f1bc-48da-b3ef-5b1092c905eb" providerId="ADAL" clId="{5DFDF105-2702-48F9-962A-B003707D7E04}" dt="2022-06-27T20:00:19.351" v="1030"/>
          <ac:grpSpMkLst>
            <pc:docMk/>
            <pc:sldMk cId="1469576865" sldId="11666"/>
            <ac:grpSpMk id="168" creationId="{267C0DFA-9AA3-3DC0-766A-3FCC83FC1F36}"/>
          </ac:grpSpMkLst>
        </pc:grpChg>
        <pc:grpChg chg="mod">
          <ac:chgData name="Dan Moore" userId="432a1231-f1bc-48da-b3ef-5b1092c905eb" providerId="ADAL" clId="{5DFDF105-2702-48F9-962A-B003707D7E04}" dt="2022-06-27T20:00:19.351" v="1030"/>
          <ac:grpSpMkLst>
            <pc:docMk/>
            <pc:sldMk cId="1469576865" sldId="11666"/>
            <ac:grpSpMk id="169" creationId="{FA5CDCE5-9843-F969-B3A0-A7EFFDEE1615}"/>
          </ac:grpSpMkLst>
        </pc:grpChg>
        <pc:grpChg chg="mod">
          <ac:chgData name="Dan Moore" userId="432a1231-f1bc-48da-b3ef-5b1092c905eb" providerId="ADAL" clId="{5DFDF105-2702-48F9-962A-B003707D7E04}" dt="2022-06-27T20:00:19.351" v="1030"/>
          <ac:grpSpMkLst>
            <pc:docMk/>
            <pc:sldMk cId="1469576865" sldId="11666"/>
            <ac:grpSpMk id="170" creationId="{BFDAE941-48B6-0A8B-B306-7D222CCC100A}"/>
          </ac:grpSpMkLst>
        </pc:grpChg>
        <pc:grpChg chg="mod">
          <ac:chgData name="Dan Moore" userId="432a1231-f1bc-48da-b3ef-5b1092c905eb" providerId="ADAL" clId="{5DFDF105-2702-48F9-962A-B003707D7E04}" dt="2022-06-27T20:00:19.351" v="1030"/>
          <ac:grpSpMkLst>
            <pc:docMk/>
            <pc:sldMk cId="1469576865" sldId="11666"/>
            <ac:grpSpMk id="171" creationId="{854DBAAA-DB10-1525-52E7-19B2022691C7}"/>
          </ac:grpSpMkLst>
        </pc:grpChg>
        <pc:grpChg chg="mod">
          <ac:chgData name="Dan Moore" userId="432a1231-f1bc-48da-b3ef-5b1092c905eb" providerId="ADAL" clId="{5DFDF105-2702-48F9-962A-B003707D7E04}" dt="2022-06-27T20:00:19.351" v="1030"/>
          <ac:grpSpMkLst>
            <pc:docMk/>
            <pc:sldMk cId="1469576865" sldId="11666"/>
            <ac:grpSpMk id="172" creationId="{7E17B0F9-F958-BD9D-DD50-DA84F593878F}"/>
          </ac:grpSpMkLst>
        </pc:grpChg>
        <pc:grpChg chg="mod">
          <ac:chgData name="Dan Moore" userId="432a1231-f1bc-48da-b3ef-5b1092c905eb" providerId="ADAL" clId="{5DFDF105-2702-48F9-962A-B003707D7E04}" dt="2022-06-27T20:00:19.351" v="1030"/>
          <ac:grpSpMkLst>
            <pc:docMk/>
            <pc:sldMk cId="1469576865" sldId="11666"/>
            <ac:grpSpMk id="178" creationId="{A20F5821-FB30-599E-8521-A59ACF704DB3}"/>
          </ac:grpSpMkLst>
        </pc:grpChg>
        <pc:grpChg chg="mod">
          <ac:chgData name="Dan Moore" userId="432a1231-f1bc-48da-b3ef-5b1092c905eb" providerId="ADAL" clId="{5DFDF105-2702-48F9-962A-B003707D7E04}" dt="2022-06-27T20:00:19.351" v="1030"/>
          <ac:grpSpMkLst>
            <pc:docMk/>
            <pc:sldMk cId="1469576865" sldId="11666"/>
            <ac:grpSpMk id="184" creationId="{C91EACC7-43DF-C07E-4FFF-BE9458F766CF}"/>
          </ac:grpSpMkLst>
        </pc:grpChg>
        <pc:grpChg chg="mod">
          <ac:chgData name="Dan Moore" userId="432a1231-f1bc-48da-b3ef-5b1092c905eb" providerId="ADAL" clId="{5DFDF105-2702-48F9-962A-B003707D7E04}" dt="2022-06-27T20:00:19.351" v="1030"/>
          <ac:grpSpMkLst>
            <pc:docMk/>
            <pc:sldMk cId="1469576865" sldId="11666"/>
            <ac:grpSpMk id="190" creationId="{C6B9D259-D6AA-F384-5187-6082B733A35F}"/>
          </ac:grpSpMkLst>
        </pc:grpChg>
        <pc:grpChg chg="mod">
          <ac:chgData name="Dan Moore" userId="432a1231-f1bc-48da-b3ef-5b1092c905eb" providerId="ADAL" clId="{5DFDF105-2702-48F9-962A-B003707D7E04}" dt="2022-06-27T20:00:19.351" v="1030"/>
          <ac:grpSpMkLst>
            <pc:docMk/>
            <pc:sldMk cId="1469576865" sldId="11666"/>
            <ac:grpSpMk id="196" creationId="{71C642D9-2CD5-461B-8220-F1C8C1D3CE68}"/>
          </ac:grpSpMkLst>
        </pc:grpChg>
      </pc:sldChg>
      <pc:sldChg chg="setBg">
        <pc:chgData name="Dan Moore" userId="432a1231-f1bc-48da-b3ef-5b1092c905eb" providerId="ADAL" clId="{5DFDF105-2702-48F9-962A-B003707D7E04}" dt="2022-06-27T19:57:43.777" v="991"/>
        <pc:sldMkLst>
          <pc:docMk/>
          <pc:sldMk cId="2205024091" sldId="11667"/>
        </pc:sldMkLst>
      </pc:sldChg>
      <pc:sldChg chg="setBg">
        <pc:chgData name="Dan Moore" userId="432a1231-f1bc-48da-b3ef-5b1092c905eb" providerId="ADAL" clId="{5DFDF105-2702-48F9-962A-B003707D7E04}" dt="2022-06-27T19:57:43.777" v="991"/>
        <pc:sldMkLst>
          <pc:docMk/>
          <pc:sldMk cId="267651035" sldId="11672"/>
        </pc:sldMkLst>
      </pc:sldChg>
      <pc:sldChg chg="modSp mod setBg">
        <pc:chgData name="Dan Moore" userId="432a1231-f1bc-48da-b3ef-5b1092c905eb" providerId="ADAL" clId="{5DFDF105-2702-48F9-962A-B003707D7E04}" dt="2022-06-27T19:57:43.777" v="991"/>
        <pc:sldMkLst>
          <pc:docMk/>
          <pc:sldMk cId="1412725519" sldId="2076136779"/>
        </pc:sldMkLst>
        <pc:spChg chg="mod">
          <ac:chgData name="Dan Moore" userId="432a1231-f1bc-48da-b3ef-5b1092c905eb" providerId="ADAL" clId="{5DFDF105-2702-48F9-962A-B003707D7E04}" dt="2022-06-27T19:49:27.267" v="852" actId="27636"/>
          <ac:spMkLst>
            <pc:docMk/>
            <pc:sldMk cId="1412725519" sldId="2076136779"/>
            <ac:spMk id="2" creationId="{BED66F06-30BB-44A6-87BC-C93D1AC479C8}"/>
          </ac:spMkLst>
        </pc:spChg>
        <pc:spChg chg="mod">
          <ac:chgData name="Dan Moore" userId="432a1231-f1bc-48da-b3ef-5b1092c905eb" providerId="ADAL" clId="{5DFDF105-2702-48F9-962A-B003707D7E04}" dt="2022-06-27T19:49:27.267" v="851" actId="27636"/>
          <ac:spMkLst>
            <pc:docMk/>
            <pc:sldMk cId="1412725519" sldId="2076136779"/>
            <ac:spMk id="4" creationId="{D0320905-8BB6-4842-9AC0-6EFE43E4BF6B}"/>
          </ac:spMkLst>
        </pc:spChg>
      </pc:sldChg>
      <pc:sldChg chg="addSp delSp modSp del mod setBg modClrScheme modAnim chgLayout">
        <pc:chgData name="Dan Moore" userId="432a1231-f1bc-48da-b3ef-5b1092c905eb" providerId="ADAL" clId="{5DFDF105-2702-48F9-962A-B003707D7E04}" dt="2022-06-27T20:01:42.919" v="1089" actId="47"/>
        <pc:sldMkLst>
          <pc:docMk/>
          <pc:sldMk cId="23236823" sldId="2076137088"/>
        </pc:sldMkLst>
        <pc:spChg chg="add mod ord">
          <ac:chgData name="Dan Moore" userId="432a1231-f1bc-48da-b3ef-5b1092c905eb" providerId="ADAL" clId="{5DFDF105-2702-48F9-962A-B003707D7E04}" dt="2022-06-27T19:57:19.529" v="989" actId="700"/>
          <ac:spMkLst>
            <pc:docMk/>
            <pc:sldMk cId="23236823" sldId="2076137088"/>
            <ac:spMk id="4" creationId="{DEF0E179-969E-EC58-1AA9-F61587252271}"/>
          </ac:spMkLst>
        </pc:spChg>
        <pc:spChg chg="del">
          <ac:chgData name="Dan Moore" userId="432a1231-f1bc-48da-b3ef-5b1092c905eb" providerId="ADAL" clId="{5DFDF105-2702-48F9-962A-B003707D7E04}" dt="2022-06-27T19:51:41.332" v="856" actId="478"/>
          <ac:spMkLst>
            <pc:docMk/>
            <pc:sldMk cId="23236823" sldId="2076137088"/>
            <ac:spMk id="17" creationId="{A5A05DD6-2979-4A83-BB1E-F9AF5708A959}"/>
          </ac:spMkLst>
        </pc:spChg>
        <pc:grpChg chg="mod">
          <ac:chgData name="Dan Moore" userId="432a1231-f1bc-48da-b3ef-5b1092c905eb" providerId="ADAL" clId="{5DFDF105-2702-48F9-962A-B003707D7E04}" dt="2022-06-27T20:00:15.094" v="1027" actId="164"/>
          <ac:grpSpMkLst>
            <pc:docMk/>
            <pc:sldMk cId="23236823" sldId="2076137088"/>
            <ac:grpSpMk id="2" creationId="{DBBD1598-F9C1-4AED-B03F-6664BAC91AE5}"/>
          </ac:grpSpMkLst>
        </pc:grpChg>
        <pc:grpChg chg="add del mod">
          <ac:chgData name="Dan Moore" userId="432a1231-f1bc-48da-b3ef-5b1092c905eb" providerId="ADAL" clId="{5DFDF105-2702-48F9-962A-B003707D7E04}" dt="2022-06-27T20:00:18.063" v="1029" actId="21"/>
          <ac:grpSpMkLst>
            <pc:docMk/>
            <pc:sldMk cId="23236823" sldId="2076137088"/>
            <ac:grpSpMk id="5" creationId="{B46A877E-1843-3EE9-092A-91981F9BAE1A}"/>
          </ac:grpSpMkLst>
        </pc:grpChg>
        <pc:grpChg chg="mod">
          <ac:chgData name="Dan Moore" userId="432a1231-f1bc-48da-b3ef-5b1092c905eb" providerId="ADAL" clId="{5DFDF105-2702-48F9-962A-B003707D7E04}" dt="2022-06-27T20:00:15.094" v="1027" actId="164"/>
          <ac:grpSpMkLst>
            <pc:docMk/>
            <pc:sldMk cId="23236823" sldId="2076137088"/>
            <ac:grpSpMk id="86" creationId="{14B30B16-10B4-41DC-B61B-7C9501668A7A}"/>
          </ac:grpSpMkLst>
        </pc:grpChg>
        <pc:grpChg chg="mod">
          <ac:chgData name="Dan Moore" userId="432a1231-f1bc-48da-b3ef-5b1092c905eb" providerId="ADAL" clId="{5DFDF105-2702-48F9-962A-B003707D7E04}" dt="2022-06-27T20:00:15.094" v="1027" actId="164"/>
          <ac:grpSpMkLst>
            <pc:docMk/>
            <pc:sldMk cId="23236823" sldId="2076137088"/>
            <ac:grpSpMk id="153" creationId="{5F2D387C-AD77-43AD-95C9-F3D3328F41F1}"/>
          </ac:grpSpMkLst>
        </pc:grpChg>
        <pc:picChg chg="del">
          <ac:chgData name="Dan Moore" userId="432a1231-f1bc-48da-b3ef-5b1092c905eb" providerId="ADAL" clId="{5DFDF105-2702-48F9-962A-B003707D7E04}" dt="2022-06-27T19:51:55.161" v="889" actId="478"/>
          <ac:picMkLst>
            <pc:docMk/>
            <pc:sldMk cId="23236823" sldId="2076137088"/>
            <ac:picMk id="192" creationId="{095430EE-5BD1-468C-9DA2-0C47D92E7331}"/>
          </ac:picMkLst>
        </pc:picChg>
      </pc:sldChg>
      <pc:sldChg chg="setBg">
        <pc:chgData name="Dan Moore" userId="432a1231-f1bc-48da-b3ef-5b1092c905eb" providerId="ADAL" clId="{5DFDF105-2702-48F9-962A-B003707D7E04}" dt="2022-06-27T19:57:43.777" v="991"/>
        <pc:sldMkLst>
          <pc:docMk/>
          <pc:sldMk cId="3050563501" sldId="2076137326"/>
        </pc:sldMkLst>
      </pc:sldChg>
      <pc:sldChg chg="modSp setBg">
        <pc:chgData name="Dan Moore" userId="432a1231-f1bc-48da-b3ef-5b1092c905eb" providerId="ADAL" clId="{5DFDF105-2702-48F9-962A-B003707D7E04}" dt="2022-06-27T19:57:43.777" v="991"/>
        <pc:sldMkLst>
          <pc:docMk/>
          <pc:sldMk cId="3299470472" sldId="2076137342"/>
        </pc:sldMkLst>
        <pc:spChg chg="mod">
          <ac:chgData name="Dan Moore" userId="432a1231-f1bc-48da-b3ef-5b1092c905eb" providerId="ADAL" clId="{5DFDF105-2702-48F9-962A-B003707D7E04}" dt="2022-06-27T19:49:24.315" v="850"/>
          <ac:spMkLst>
            <pc:docMk/>
            <pc:sldMk cId="3299470472" sldId="2076137342"/>
            <ac:spMk id="58" creationId="{9B12491B-8900-4C8B-B39F-3884C9605830}"/>
          </ac:spMkLst>
        </pc:spChg>
      </pc:sldChg>
      <pc:sldChg chg="setBg">
        <pc:chgData name="Dan Moore" userId="432a1231-f1bc-48da-b3ef-5b1092c905eb" providerId="ADAL" clId="{5DFDF105-2702-48F9-962A-B003707D7E04}" dt="2022-06-27T19:57:43.777" v="991"/>
        <pc:sldMkLst>
          <pc:docMk/>
          <pc:sldMk cId="2827947631" sldId="2076137345"/>
        </pc:sldMkLst>
      </pc:sldChg>
      <pc:sldChg chg="modSp setBg">
        <pc:chgData name="Dan Moore" userId="432a1231-f1bc-48da-b3ef-5b1092c905eb" providerId="ADAL" clId="{5DFDF105-2702-48F9-962A-B003707D7E04}" dt="2022-06-27T19:57:43.777" v="991"/>
        <pc:sldMkLst>
          <pc:docMk/>
          <pc:sldMk cId="2446178923" sldId="2134804593"/>
        </pc:sldMkLst>
        <pc:spChg chg="mod">
          <ac:chgData name="Dan Moore" userId="432a1231-f1bc-48da-b3ef-5b1092c905eb" providerId="ADAL" clId="{5DFDF105-2702-48F9-962A-B003707D7E04}" dt="2022-06-27T19:49:24.315" v="850"/>
          <ac:spMkLst>
            <pc:docMk/>
            <pc:sldMk cId="2446178923" sldId="2134804593"/>
            <ac:spMk id="2" creationId="{57727CAB-7ED5-4F44-B836-5F34557054E3}"/>
          </ac:spMkLst>
        </pc:spChg>
      </pc:sldChg>
      <pc:sldChg chg="addSp delSp modSp mod setBg modClrScheme modAnim chgLayout">
        <pc:chgData name="Dan Moore" userId="432a1231-f1bc-48da-b3ef-5b1092c905eb" providerId="ADAL" clId="{5DFDF105-2702-48F9-962A-B003707D7E04}" dt="2022-06-27T20:33:15.289" v="1298" actId="14861"/>
        <pc:sldMkLst>
          <pc:docMk/>
          <pc:sldMk cId="307894445" sldId="2147469593"/>
        </pc:sldMkLst>
        <pc:spChg chg="add mod">
          <ac:chgData name="Dan Moore" userId="432a1231-f1bc-48da-b3ef-5b1092c905eb" providerId="ADAL" clId="{5DFDF105-2702-48F9-962A-B003707D7E04}" dt="2022-06-27T20:30:22.812" v="1150" actId="20577"/>
          <ac:spMkLst>
            <pc:docMk/>
            <pc:sldMk cId="307894445" sldId="2147469593"/>
            <ac:spMk id="3" creationId="{F7E4B049-A0F0-BD62-5D10-6D91CB4BFFD3}"/>
          </ac:spMkLst>
        </pc:spChg>
        <pc:spChg chg="del mod ord">
          <ac:chgData name="Dan Moore" userId="432a1231-f1bc-48da-b3ef-5b1092c905eb" providerId="ADAL" clId="{5DFDF105-2702-48F9-962A-B003707D7E04}" dt="2022-06-27T20:26:02.440" v="1115" actId="478"/>
          <ac:spMkLst>
            <pc:docMk/>
            <pc:sldMk cId="307894445" sldId="2147469593"/>
            <ac:spMk id="4" creationId="{C178C4BB-E3CB-41D0-8791-BA4B452E9F5C}"/>
          </ac:spMkLst>
        </pc:spChg>
        <pc:spChg chg="mod">
          <ac:chgData name="Dan Moore" userId="432a1231-f1bc-48da-b3ef-5b1092c905eb" providerId="ADAL" clId="{5DFDF105-2702-48F9-962A-B003707D7E04}" dt="2022-06-27T20:30:31.481" v="1153"/>
          <ac:spMkLst>
            <pc:docMk/>
            <pc:sldMk cId="307894445" sldId="2147469593"/>
            <ac:spMk id="5" creationId="{EADA66A3-1EF7-4797-ABB1-82F51F59F8ED}"/>
          </ac:spMkLst>
        </pc:spChg>
        <pc:spChg chg="mod">
          <ac:chgData name="Dan Moore" userId="432a1231-f1bc-48da-b3ef-5b1092c905eb" providerId="ADAL" clId="{5DFDF105-2702-48F9-962A-B003707D7E04}" dt="2022-06-27T20:30:31.481" v="1153"/>
          <ac:spMkLst>
            <pc:docMk/>
            <pc:sldMk cId="307894445" sldId="2147469593"/>
            <ac:spMk id="6" creationId="{AF3E6270-2D41-42F1-B261-55D0C8D3A429}"/>
          </ac:spMkLst>
        </pc:spChg>
        <pc:spChg chg="mod">
          <ac:chgData name="Dan Moore" userId="432a1231-f1bc-48da-b3ef-5b1092c905eb" providerId="ADAL" clId="{5DFDF105-2702-48F9-962A-B003707D7E04}" dt="2022-06-27T20:30:31.481" v="1153"/>
          <ac:spMkLst>
            <pc:docMk/>
            <pc:sldMk cId="307894445" sldId="2147469593"/>
            <ac:spMk id="7" creationId="{80B9AF82-A3F9-48BA-9407-4D4F4FAB8655}"/>
          </ac:spMkLst>
        </pc:spChg>
        <pc:spChg chg="mod">
          <ac:chgData name="Dan Moore" userId="432a1231-f1bc-48da-b3ef-5b1092c905eb" providerId="ADAL" clId="{5DFDF105-2702-48F9-962A-B003707D7E04}" dt="2022-06-27T20:30:31.481" v="1153"/>
          <ac:spMkLst>
            <pc:docMk/>
            <pc:sldMk cId="307894445" sldId="2147469593"/>
            <ac:spMk id="8" creationId="{9C668DF3-2A19-4BE8-9875-3FE058BD0119}"/>
          </ac:spMkLst>
        </pc:spChg>
        <pc:spChg chg="mod">
          <ac:chgData name="Dan Moore" userId="432a1231-f1bc-48da-b3ef-5b1092c905eb" providerId="ADAL" clId="{5DFDF105-2702-48F9-962A-B003707D7E04}" dt="2022-06-27T20:30:51.567" v="1173" actId="1076"/>
          <ac:spMkLst>
            <pc:docMk/>
            <pc:sldMk cId="307894445" sldId="2147469593"/>
            <ac:spMk id="9" creationId="{71293F15-255B-462B-BE9F-E0BB799157A7}"/>
          </ac:spMkLst>
        </pc:spChg>
        <pc:spChg chg="del">
          <ac:chgData name="Dan Moore" userId="432a1231-f1bc-48da-b3ef-5b1092c905eb" providerId="ADAL" clId="{5DFDF105-2702-48F9-962A-B003707D7E04}" dt="2022-06-27T20:31:56.793" v="1177" actId="478"/>
          <ac:spMkLst>
            <pc:docMk/>
            <pc:sldMk cId="307894445" sldId="2147469593"/>
            <ac:spMk id="11" creationId="{5D0A387A-B2BA-4B83-B626-4CB9BFBB9FC2}"/>
          </ac:spMkLst>
        </pc:spChg>
        <pc:spChg chg="add mod">
          <ac:chgData name="Dan Moore" userId="432a1231-f1bc-48da-b3ef-5b1092c905eb" providerId="ADAL" clId="{5DFDF105-2702-48F9-962A-B003707D7E04}" dt="2022-06-27T20:30:44.627" v="1169" actId="1076"/>
          <ac:spMkLst>
            <pc:docMk/>
            <pc:sldMk cId="307894445" sldId="2147469593"/>
            <ac:spMk id="13" creationId="{02838ED7-358D-DE83-156B-D4D3452199F3}"/>
          </ac:spMkLst>
        </pc:spChg>
        <pc:spChg chg="add mod">
          <ac:chgData name="Dan Moore" userId="432a1231-f1bc-48da-b3ef-5b1092c905eb" providerId="ADAL" clId="{5DFDF105-2702-48F9-962A-B003707D7E04}" dt="2022-06-27T20:32:10.313" v="1178" actId="1076"/>
          <ac:spMkLst>
            <pc:docMk/>
            <pc:sldMk cId="307894445" sldId="2147469593"/>
            <ac:spMk id="14" creationId="{E93A0EDD-2492-9BB9-4359-C02A181D8DD0}"/>
          </ac:spMkLst>
        </pc:spChg>
        <pc:spChg chg="add mod">
          <ac:chgData name="Dan Moore" userId="432a1231-f1bc-48da-b3ef-5b1092c905eb" providerId="ADAL" clId="{5DFDF105-2702-48F9-962A-B003707D7E04}" dt="2022-06-27T20:33:15.289" v="1298" actId="14861"/>
          <ac:spMkLst>
            <pc:docMk/>
            <pc:sldMk cId="307894445" sldId="2147469593"/>
            <ac:spMk id="16" creationId="{DD681F13-2339-8CCE-5EEF-49ED12486155}"/>
          </ac:spMkLst>
        </pc:spChg>
        <pc:spChg chg="mod">
          <ac:chgData name="Dan Moore" userId="432a1231-f1bc-48da-b3ef-5b1092c905eb" providerId="ADAL" clId="{5DFDF105-2702-48F9-962A-B003707D7E04}" dt="2022-06-27T20:32:30.020" v="1194" actId="14861"/>
          <ac:spMkLst>
            <pc:docMk/>
            <pc:sldMk cId="307894445" sldId="2147469593"/>
            <ac:spMk id="18" creationId="{F7674E5F-BF5A-498F-043D-8CFD2965F5B0}"/>
          </ac:spMkLst>
        </pc:spChg>
        <pc:spChg chg="mod">
          <ac:chgData name="Dan Moore" userId="432a1231-f1bc-48da-b3ef-5b1092c905eb" providerId="ADAL" clId="{5DFDF105-2702-48F9-962A-B003707D7E04}" dt="2022-06-27T20:32:10.313" v="1178" actId="1076"/>
          <ac:spMkLst>
            <pc:docMk/>
            <pc:sldMk cId="307894445" sldId="2147469593"/>
            <ac:spMk id="21" creationId="{6C2F7BD8-EBBC-8391-E6BA-B507FABEF61C}"/>
          </ac:spMkLst>
        </pc:spChg>
        <pc:spChg chg="mod">
          <ac:chgData name="Dan Moore" userId="432a1231-f1bc-48da-b3ef-5b1092c905eb" providerId="ADAL" clId="{5DFDF105-2702-48F9-962A-B003707D7E04}" dt="2022-06-27T20:32:10.313" v="1178" actId="1076"/>
          <ac:spMkLst>
            <pc:docMk/>
            <pc:sldMk cId="307894445" sldId="2147469593"/>
            <ac:spMk id="24" creationId="{50EE4FE6-3D85-7736-C4B5-CCC5967F5B9A}"/>
          </ac:spMkLst>
        </pc:spChg>
        <pc:spChg chg="mod">
          <ac:chgData name="Dan Moore" userId="432a1231-f1bc-48da-b3ef-5b1092c905eb" providerId="ADAL" clId="{5DFDF105-2702-48F9-962A-B003707D7E04}" dt="2022-06-27T20:32:10.313" v="1178" actId="1076"/>
          <ac:spMkLst>
            <pc:docMk/>
            <pc:sldMk cId="307894445" sldId="2147469593"/>
            <ac:spMk id="25" creationId="{D686F988-CD06-69EA-E40B-6156D76D02E4}"/>
          </ac:spMkLst>
        </pc:spChg>
        <pc:spChg chg="mod">
          <ac:chgData name="Dan Moore" userId="432a1231-f1bc-48da-b3ef-5b1092c905eb" providerId="ADAL" clId="{5DFDF105-2702-48F9-962A-B003707D7E04}" dt="2022-06-27T20:32:10.313" v="1178" actId="1076"/>
          <ac:spMkLst>
            <pc:docMk/>
            <pc:sldMk cId="307894445" sldId="2147469593"/>
            <ac:spMk id="26" creationId="{764EB402-3741-C008-19DB-5620A958D3E9}"/>
          </ac:spMkLst>
        </pc:spChg>
        <pc:spChg chg="mod">
          <ac:chgData name="Dan Moore" userId="432a1231-f1bc-48da-b3ef-5b1092c905eb" providerId="ADAL" clId="{5DFDF105-2702-48F9-962A-B003707D7E04}" dt="2022-06-27T20:32:10.313" v="1178" actId="1076"/>
          <ac:spMkLst>
            <pc:docMk/>
            <pc:sldMk cId="307894445" sldId="2147469593"/>
            <ac:spMk id="27" creationId="{934D0CAE-7868-15F0-0A87-272E22847F52}"/>
          </ac:spMkLst>
        </pc:spChg>
        <pc:spChg chg="mod">
          <ac:chgData name="Dan Moore" userId="432a1231-f1bc-48da-b3ef-5b1092c905eb" providerId="ADAL" clId="{5DFDF105-2702-48F9-962A-B003707D7E04}" dt="2022-06-27T20:32:10.313" v="1178" actId="1076"/>
          <ac:spMkLst>
            <pc:docMk/>
            <pc:sldMk cId="307894445" sldId="2147469593"/>
            <ac:spMk id="28" creationId="{F51A327A-60D5-FBA2-0037-E5A7C98D381C}"/>
          </ac:spMkLst>
        </pc:spChg>
        <pc:spChg chg="mod">
          <ac:chgData name="Dan Moore" userId="432a1231-f1bc-48da-b3ef-5b1092c905eb" providerId="ADAL" clId="{5DFDF105-2702-48F9-962A-B003707D7E04}" dt="2022-06-27T20:32:10.313" v="1178" actId="1076"/>
          <ac:spMkLst>
            <pc:docMk/>
            <pc:sldMk cId="307894445" sldId="2147469593"/>
            <ac:spMk id="29" creationId="{4BF48153-8295-2287-8F9C-796694A98DBF}"/>
          </ac:spMkLst>
        </pc:spChg>
        <pc:spChg chg="mod">
          <ac:chgData name="Dan Moore" userId="432a1231-f1bc-48da-b3ef-5b1092c905eb" providerId="ADAL" clId="{5DFDF105-2702-48F9-962A-B003707D7E04}" dt="2022-06-27T20:32:10.313" v="1178" actId="1076"/>
          <ac:spMkLst>
            <pc:docMk/>
            <pc:sldMk cId="307894445" sldId="2147469593"/>
            <ac:spMk id="30" creationId="{9CD4EAFC-103C-B663-336B-A050C62DF1D6}"/>
          </ac:spMkLst>
        </pc:spChg>
        <pc:spChg chg="mod">
          <ac:chgData name="Dan Moore" userId="432a1231-f1bc-48da-b3ef-5b1092c905eb" providerId="ADAL" clId="{5DFDF105-2702-48F9-962A-B003707D7E04}" dt="2022-06-27T20:32:10.313" v="1178" actId="1076"/>
          <ac:spMkLst>
            <pc:docMk/>
            <pc:sldMk cId="307894445" sldId="2147469593"/>
            <ac:spMk id="31" creationId="{BE8DCD90-3C30-05F3-FA91-18F76CA3C9D8}"/>
          </ac:spMkLst>
        </pc:spChg>
        <pc:spChg chg="mod">
          <ac:chgData name="Dan Moore" userId="432a1231-f1bc-48da-b3ef-5b1092c905eb" providerId="ADAL" clId="{5DFDF105-2702-48F9-962A-B003707D7E04}" dt="2022-06-27T20:32:10.313" v="1178" actId="1076"/>
          <ac:spMkLst>
            <pc:docMk/>
            <pc:sldMk cId="307894445" sldId="2147469593"/>
            <ac:spMk id="32" creationId="{83E3891E-00D7-8331-B6E0-ABEB0735DCEE}"/>
          </ac:spMkLst>
        </pc:spChg>
        <pc:spChg chg="mod">
          <ac:chgData name="Dan Moore" userId="432a1231-f1bc-48da-b3ef-5b1092c905eb" providerId="ADAL" clId="{5DFDF105-2702-48F9-962A-B003707D7E04}" dt="2022-06-27T20:32:10.313" v="1178" actId="1076"/>
          <ac:spMkLst>
            <pc:docMk/>
            <pc:sldMk cId="307894445" sldId="2147469593"/>
            <ac:spMk id="33" creationId="{209D36F4-9EE5-36F2-FBCE-6305C0BE63DD}"/>
          </ac:spMkLst>
        </pc:spChg>
        <pc:spChg chg="mod">
          <ac:chgData name="Dan Moore" userId="432a1231-f1bc-48da-b3ef-5b1092c905eb" providerId="ADAL" clId="{5DFDF105-2702-48F9-962A-B003707D7E04}" dt="2022-06-27T20:32:10.313" v="1178" actId="1076"/>
          <ac:spMkLst>
            <pc:docMk/>
            <pc:sldMk cId="307894445" sldId="2147469593"/>
            <ac:spMk id="34" creationId="{7CDC1C0F-D9C0-C5A6-179B-0C95F4AAC83E}"/>
          </ac:spMkLst>
        </pc:spChg>
        <pc:spChg chg="mod">
          <ac:chgData name="Dan Moore" userId="432a1231-f1bc-48da-b3ef-5b1092c905eb" providerId="ADAL" clId="{5DFDF105-2702-48F9-962A-B003707D7E04}" dt="2022-06-27T20:32:10.313" v="1178" actId="1076"/>
          <ac:spMkLst>
            <pc:docMk/>
            <pc:sldMk cId="307894445" sldId="2147469593"/>
            <ac:spMk id="35" creationId="{05AA6EEB-13B4-A295-C396-7FE00B02337D}"/>
          </ac:spMkLst>
        </pc:spChg>
        <pc:spChg chg="mod">
          <ac:chgData name="Dan Moore" userId="432a1231-f1bc-48da-b3ef-5b1092c905eb" providerId="ADAL" clId="{5DFDF105-2702-48F9-962A-B003707D7E04}" dt="2022-06-27T20:32:10.313" v="1178" actId="1076"/>
          <ac:spMkLst>
            <pc:docMk/>
            <pc:sldMk cId="307894445" sldId="2147469593"/>
            <ac:spMk id="36" creationId="{62A5E9E7-21B2-B09E-F28A-AAFB704D8B52}"/>
          </ac:spMkLst>
        </pc:spChg>
        <pc:spChg chg="mod">
          <ac:chgData name="Dan Moore" userId="432a1231-f1bc-48da-b3ef-5b1092c905eb" providerId="ADAL" clId="{5DFDF105-2702-48F9-962A-B003707D7E04}" dt="2022-06-27T20:32:10.313" v="1178" actId="1076"/>
          <ac:spMkLst>
            <pc:docMk/>
            <pc:sldMk cId="307894445" sldId="2147469593"/>
            <ac:spMk id="37" creationId="{0EEFE512-9003-AF39-F205-77BB0FA93B4B}"/>
          </ac:spMkLst>
        </pc:spChg>
        <pc:spChg chg="mod">
          <ac:chgData name="Dan Moore" userId="432a1231-f1bc-48da-b3ef-5b1092c905eb" providerId="ADAL" clId="{5DFDF105-2702-48F9-962A-B003707D7E04}" dt="2022-06-27T20:32:10.313" v="1178" actId="1076"/>
          <ac:spMkLst>
            <pc:docMk/>
            <pc:sldMk cId="307894445" sldId="2147469593"/>
            <ac:spMk id="38" creationId="{097C3CCC-3BC9-0829-EE9E-0CE703C49B33}"/>
          </ac:spMkLst>
        </pc:spChg>
        <pc:spChg chg="mod">
          <ac:chgData name="Dan Moore" userId="432a1231-f1bc-48da-b3ef-5b1092c905eb" providerId="ADAL" clId="{5DFDF105-2702-48F9-962A-B003707D7E04}" dt="2022-06-27T20:32:10.313" v="1178" actId="1076"/>
          <ac:spMkLst>
            <pc:docMk/>
            <pc:sldMk cId="307894445" sldId="2147469593"/>
            <ac:spMk id="39" creationId="{34F6BEE5-48F4-C39B-19DC-741D3D59A113}"/>
          </ac:spMkLst>
        </pc:spChg>
        <pc:spChg chg="mod">
          <ac:chgData name="Dan Moore" userId="432a1231-f1bc-48da-b3ef-5b1092c905eb" providerId="ADAL" clId="{5DFDF105-2702-48F9-962A-B003707D7E04}" dt="2022-06-27T20:32:10.313" v="1178" actId="1076"/>
          <ac:spMkLst>
            <pc:docMk/>
            <pc:sldMk cId="307894445" sldId="2147469593"/>
            <ac:spMk id="40" creationId="{04DDF822-B713-AA32-541B-B9AF091107C9}"/>
          </ac:spMkLst>
        </pc:spChg>
        <pc:spChg chg="mod">
          <ac:chgData name="Dan Moore" userId="432a1231-f1bc-48da-b3ef-5b1092c905eb" providerId="ADAL" clId="{5DFDF105-2702-48F9-962A-B003707D7E04}" dt="2022-06-27T20:32:10.313" v="1178" actId="1076"/>
          <ac:spMkLst>
            <pc:docMk/>
            <pc:sldMk cId="307894445" sldId="2147469593"/>
            <ac:spMk id="41" creationId="{C8EF254B-0305-F4AC-4F58-0C0DC47C0DA3}"/>
          </ac:spMkLst>
        </pc:spChg>
        <pc:spChg chg="mod">
          <ac:chgData name="Dan Moore" userId="432a1231-f1bc-48da-b3ef-5b1092c905eb" providerId="ADAL" clId="{5DFDF105-2702-48F9-962A-B003707D7E04}" dt="2022-06-27T20:32:10.313" v="1178" actId="1076"/>
          <ac:spMkLst>
            <pc:docMk/>
            <pc:sldMk cId="307894445" sldId="2147469593"/>
            <ac:spMk id="42" creationId="{562DBD59-4452-1B15-B77B-812FD32419C4}"/>
          </ac:spMkLst>
        </pc:spChg>
        <pc:spChg chg="mod">
          <ac:chgData name="Dan Moore" userId="432a1231-f1bc-48da-b3ef-5b1092c905eb" providerId="ADAL" clId="{5DFDF105-2702-48F9-962A-B003707D7E04}" dt="2022-06-27T20:32:10.313" v="1178" actId="1076"/>
          <ac:spMkLst>
            <pc:docMk/>
            <pc:sldMk cId="307894445" sldId="2147469593"/>
            <ac:spMk id="43" creationId="{5478BD23-E7A0-3635-71DA-A03DFFEC905B}"/>
          </ac:spMkLst>
        </pc:spChg>
        <pc:spChg chg="mod">
          <ac:chgData name="Dan Moore" userId="432a1231-f1bc-48da-b3ef-5b1092c905eb" providerId="ADAL" clId="{5DFDF105-2702-48F9-962A-B003707D7E04}" dt="2022-06-27T20:32:10.313" v="1178" actId="1076"/>
          <ac:spMkLst>
            <pc:docMk/>
            <pc:sldMk cId="307894445" sldId="2147469593"/>
            <ac:spMk id="45" creationId="{420FF0DB-99BC-D4E6-EC54-C649E54EE11A}"/>
          </ac:spMkLst>
        </pc:spChg>
        <pc:spChg chg="mod">
          <ac:chgData name="Dan Moore" userId="432a1231-f1bc-48da-b3ef-5b1092c905eb" providerId="ADAL" clId="{5DFDF105-2702-48F9-962A-B003707D7E04}" dt="2022-06-27T20:32:10.313" v="1178" actId="1076"/>
          <ac:spMkLst>
            <pc:docMk/>
            <pc:sldMk cId="307894445" sldId="2147469593"/>
            <ac:spMk id="47" creationId="{6A61DAA5-B2B9-95D0-55A7-FD94092B670B}"/>
          </ac:spMkLst>
        </pc:spChg>
        <pc:spChg chg="mod">
          <ac:chgData name="Dan Moore" userId="432a1231-f1bc-48da-b3ef-5b1092c905eb" providerId="ADAL" clId="{5DFDF105-2702-48F9-962A-B003707D7E04}" dt="2022-06-27T20:32:10.313" v="1178" actId="1076"/>
          <ac:spMkLst>
            <pc:docMk/>
            <pc:sldMk cId="307894445" sldId="2147469593"/>
            <ac:spMk id="48" creationId="{1BF05515-DDBC-20EF-CFCA-6623496C96D4}"/>
          </ac:spMkLst>
        </pc:spChg>
        <pc:spChg chg="mod">
          <ac:chgData name="Dan Moore" userId="432a1231-f1bc-48da-b3ef-5b1092c905eb" providerId="ADAL" clId="{5DFDF105-2702-48F9-962A-B003707D7E04}" dt="2022-06-27T20:32:10.313" v="1178" actId="1076"/>
          <ac:spMkLst>
            <pc:docMk/>
            <pc:sldMk cId="307894445" sldId="2147469593"/>
            <ac:spMk id="49" creationId="{27595805-D772-BEC1-698D-9A538FE154F6}"/>
          </ac:spMkLst>
        </pc:spChg>
        <pc:spChg chg="mod">
          <ac:chgData name="Dan Moore" userId="432a1231-f1bc-48da-b3ef-5b1092c905eb" providerId="ADAL" clId="{5DFDF105-2702-48F9-962A-B003707D7E04}" dt="2022-06-27T20:32:10.313" v="1178" actId="1076"/>
          <ac:spMkLst>
            <pc:docMk/>
            <pc:sldMk cId="307894445" sldId="2147469593"/>
            <ac:spMk id="50" creationId="{96E5423E-A79F-4ADF-1652-E4C2FC066FE8}"/>
          </ac:spMkLst>
        </pc:spChg>
        <pc:spChg chg="mod">
          <ac:chgData name="Dan Moore" userId="432a1231-f1bc-48da-b3ef-5b1092c905eb" providerId="ADAL" clId="{5DFDF105-2702-48F9-962A-B003707D7E04}" dt="2022-06-27T20:32:10.313" v="1178" actId="1076"/>
          <ac:spMkLst>
            <pc:docMk/>
            <pc:sldMk cId="307894445" sldId="2147469593"/>
            <ac:spMk id="51" creationId="{F84D6A97-37F7-6E39-05BF-7812E1B752CC}"/>
          </ac:spMkLst>
        </pc:spChg>
        <pc:spChg chg="mod">
          <ac:chgData name="Dan Moore" userId="432a1231-f1bc-48da-b3ef-5b1092c905eb" providerId="ADAL" clId="{5DFDF105-2702-48F9-962A-B003707D7E04}" dt="2022-06-27T20:32:10.313" v="1178" actId="1076"/>
          <ac:spMkLst>
            <pc:docMk/>
            <pc:sldMk cId="307894445" sldId="2147469593"/>
            <ac:spMk id="52" creationId="{45EFF6EA-64A9-0B5F-3578-BDC7FBB4A900}"/>
          </ac:spMkLst>
        </pc:spChg>
        <pc:spChg chg="mod">
          <ac:chgData name="Dan Moore" userId="432a1231-f1bc-48da-b3ef-5b1092c905eb" providerId="ADAL" clId="{5DFDF105-2702-48F9-962A-B003707D7E04}" dt="2022-06-27T20:32:10.313" v="1178" actId="1076"/>
          <ac:spMkLst>
            <pc:docMk/>
            <pc:sldMk cId="307894445" sldId="2147469593"/>
            <ac:spMk id="54" creationId="{CB8D755E-020C-070C-4CE5-F287E8760ACE}"/>
          </ac:spMkLst>
        </pc:spChg>
        <pc:grpChg chg="del mod">
          <ac:chgData name="Dan Moore" userId="432a1231-f1bc-48da-b3ef-5b1092c905eb" providerId="ADAL" clId="{5DFDF105-2702-48F9-962A-B003707D7E04}" dt="2022-06-27T20:31:36.814" v="1175" actId="478"/>
          <ac:grpSpMkLst>
            <pc:docMk/>
            <pc:sldMk cId="307894445" sldId="2147469593"/>
            <ac:grpSpMk id="15" creationId="{91062801-3A3B-44C6-82B9-02175FDC0924}"/>
          </ac:grpSpMkLst>
        </pc:grpChg>
        <pc:grpChg chg="add mod">
          <ac:chgData name="Dan Moore" userId="432a1231-f1bc-48da-b3ef-5b1092c905eb" providerId="ADAL" clId="{5DFDF105-2702-48F9-962A-B003707D7E04}" dt="2022-06-27T20:32:10.313" v="1178" actId="1076"/>
          <ac:grpSpMkLst>
            <pc:docMk/>
            <pc:sldMk cId="307894445" sldId="2147469593"/>
            <ac:grpSpMk id="17" creationId="{6AB57C2D-5C3D-D49A-AAFA-BF9181A0856D}"/>
          </ac:grpSpMkLst>
        </pc:grpChg>
        <pc:grpChg chg="add mod">
          <ac:chgData name="Dan Moore" userId="432a1231-f1bc-48da-b3ef-5b1092c905eb" providerId="ADAL" clId="{5DFDF105-2702-48F9-962A-B003707D7E04}" dt="2022-06-27T20:32:10.313" v="1178" actId="1076"/>
          <ac:grpSpMkLst>
            <pc:docMk/>
            <pc:sldMk cId="307894445" sldId="2147469593"/>
            <ac:grpSpMk id="20" creationId="{91FB3D2D-E61B-B311-255F-098A9C5F04E5}"/>
          </ac:grpSpMkLst>
        </pc:grpChg>
        <pc:grpChg chg="mod">
          <ac:chgData name="Dan Moore" userId="432a1231-f1bc-48da-b3ef-5b1092c905eb" providerId="ADAL" clId="{5DFDF105-2702-48F9-962A-B003707D7E04}" dt="2022-06-27T20:32:10.313" v="1178" actId="1076"/>
          <ac:grpSpMkLst>
            <pc:docMk/>
            <pc:sldMk cId="307894445" sldId="2147469593"/>
            <ac:grpSpMk id="23" creationId="{229FCA1B-1027-4CBB-46E3-FD3489BFA1D0}"/>
          </ac:grpSpMkLst>
        </pc:grpChg>
        <pc:grpChg chg="add mod">
          <ac:chgData name="Dan Moore" userId="432a1231-f1bc-48da-b3ef-5b1092c905eb" providerId="ADAL" clId="{5DFDF105-2702-48F9-962A-B003707D7E04}" dt="2022-06-27T20:32:10.313" v="1178" actId="1076"/>
          <ac:grpSpMkLst>
            <pc:docMk/>
            <pc:sldMk cId="307894445" sldId="2147469593"/>
            <ac:grpSpMk id="44" creationId="{87B8D69A-F179-682D-C98C-E60F51147338}"/>
          </ac:grpSpMkLst>
        </pc:grpChg>
        <pc:grpChg chg="mod">
          <ac:chgData name="Dan Moore" userId="432a1231-f1bc-48da-b3ef-5b1092c905eb" providerId="ADAL" clId="{5DFDF105-2702-48F9-962A-B003707D7E04}" dt="2022-06-27T20:32:10.313" v="1178" actId="1076"/>
          <ac:grpSpMkLst>
            <pc:docMk/>
            <pc:sldMk cId="307894445" sldId="2147469593"/>
            <ac:grpSpMk id="46" creationId="{10B4B10D-5A7C-6F6C-0713-D4C661C601DE}"/>
          </ac:grpSpMkLst>
        </pc:grpChg>
        <pc:grpChg chg="add mod">
          <ac:chgData name="Dan Moore" userId="432a1231-f1bc-48da-b3ef-5b1092c905eb" providerId="ADAL" clId="{5DFDF105-2702-48F9-962A-B003707D7E04}" dt="2022-06-27T20:32:10.313" v="1178" actId="1076"/>
          <ac:grpSpMkLst>
            <pc:docMk/>
            <pc:sldMk cId="307894445" sldId="2147469593"/>
            <ac:grpSpMk id="53" creationId="{DA6A34E3-DF70-D523-807A-D4444AACCBF7}"/>
          </ac:grpSpMkLst>
        </pc:grpChg>
        <pc:graphicFrameChg chg="del">
          <ac:chgData name="Dan Moore" userId="432a1231-f1bc-48da-b3ef-5b1092c905eb" providerId="ADAL" clId="{5DFDF105-2702-48F9-962A-B003707D7E04}" dt="2022-06-27T20:25:53.935" v="1113" actId="478"/>
          <ac:graphicFrameMkLst>
            <pc:docMk/>
            <pc:sldMk cId="307894445" sldId="2147469593"/>
            <ac:graphicFrameMk id="22" creationId="{1B6E5004-7AD3-4584-B6FB-9B75AB32C507}"/>
          </ac:graphicFrameMkLst>
        </pc:graphicFrameChg>
        <pc:picChg chg="mod">
          <ac:chgData name="Dan Moore" userId="432a1231-f1bc-48da-b3ef-5b1092c905eb" providerId="ADAL" clId="{5DFDF105-2702-48F9-962A-B003707D7E04}" dt="2022-06-27T20:32:10.313" v="1178" actId="1076"/>
          <ac:picMkLst>
            <pc:docMk/>
            <pc:sldMk cId="307894445" sldId="2147469593"/>
            <ac:picMk id="19" creationId="{7079AD48-4338-CD22-AADA-05DD0C1AA5C8}"/>
          </ac:picMkLst>
        </pc:picChg>
        <pc:picChg chg="mod">
          <ac:chgData name="Dan Moore" userId="432a1231-f1bc-48da-b3ef-5b1092c905eb" providerId="ADAL" clId="{5DFDF105-2702-48F9-962A-B003707D7E04}" dt="2022-06-27T20:32:10.313" v="1178" actId="1076"/>
          <ac:picMkLst>
            <pc:docMk/>
            <pc:sldMk cId="307894445" sldId="2147469593"/>
            <ac:picMk id="55" creationId="{E8C87A89-7E13-35DA-E6BB-4EAEC5C94F50}"/>
          </ac:picMkLst>
        </pc:picChg>
      </pc:sldChg>
      <pc:sldChg chg="addSp modSp mod setBg modClrScheme chgLayout">
        <pc:chgData name="Dan Moore" userId="432a1231-f1bc-48da-b3ef-5b1092c905eb" providerId="ADAL" clId="{5DFDF105-2702-48F9-962A-B003707D7E04}" dt="2022-06-27T20:35:57.392" v="1327" actId="18131"/>
        <pc:sldMkLst>
          <pc:docMk/>
          <pc:sldMk cId="3671410135" sldId="2147469594"/>
        </pc:sldMkLst>
        <pc:spChg chg="mod ord">
          <ac:chgData name="Dan Moore" userId="432a1231-f1bc-48da-b3ef-5b1092c905eb" providerId="ADAL" clId="{5DFDF105-2702-48F9-962A-B003707D7E04}" dt="2022-06-27T20:34:39.645" v="1308" actId="700"/>
          <ac:spMkLst>
            <pc:docMk/>
            <pc:sldMk cId="3671410135" sldId="2147469594"/>
            <ac:spMk id="4" creationId="{447A5405-D91A-70BD-C6F5-4C95E7523A18}"/>
          </ac:spMkLst>
        </pc:spChg>
        <pc:spChg chg="mod ord">
          <ac:chgData name="Dan Moore" userId="432a1231-f1bc-48da-b3ef-5b1092c905eb" providerId="ADAL" clId="{5DFDF105-2702-48F9-962A-B003707D7E04}" dt="2022-06-27T20:35:21.155" v="1319" actId="1076"/>
          <ac:spMkLst>
            <pc:docMk/>
            <pc:sldMk cId="3671410135" sldId="2147469594"/>
            <ac:spMk id="5" creationId="{885FFBA3-7486-B77C-F47C-9E03FBAC196D}"/>
          </ac:spMkLst>
        </pc:spChg>
        <pc:picChg chg="add mod modCrop">
          <ac:chgData name="Dan Moore" userId="432a1231-f1bc-48da-b3ef-5b1092c905eb" providerId="ADAL" clId="{5DFDF105-2702-48F9-962A-B003707D7E04}" dt="2022-06-27T20:35:57.392" v="1327" actId="18131"/>
          <ac:picMkLst>
            <pc:docMk/>
            <pc:sldMk cId="3671410135" sldId="2147469594"/>
            <ac:picMk id="3" creationId="{404966F4-E740-0AB8-93A7-CA8824B53444}"/>
          </ac:picMkLst>
        </pc:picChg>
      </pc:sldChg>
      <pc:sldChg chg="modSp mod setBg modShow">
        <pc:chgData name="Dan Moore" userId="432a1231-f1bc-48da-b3ef-5b1092c905eb" providerId="ADAL" clId="{5DFDF105-2702-48F9-962A-B003707D7E04}" dt="2022-06-27T19:57:43.777" v="991"/>
        <pc:sldMkLst>
          <pc:docMk/>
          <pc:sldMk cId="2741281810" sldId="2147469599"/>
        </pc:sldMkLst>
        <pc:spChg chg="mod">
          <ac:chgData name="Dan Moore" userId="432a1231-f1bc-48da-b3ef-5b1092c905eb" providerId="ADAL" clId="{5DFDF105-2702-48F9-962A-B003707D7E04}" dt="2022-06-27T19:19:32.766" v="322" actId="27636"/>
          <ac:spMkLst>
            <pc:docMk/>
            <pc:sldMk cId="2741281810" sldId="2147469599"/>
            <ac:spMk id="5" creationId="{77FD45C2-B506-86A0-1A0C-2A17456DB672}"/>
          </ac:spMkLst>
        </pc:spChg>
      </pc:sldChg>
      <pc:sldChg chg="setBg">
        <pc:chgData name="Dan Moore" userId="432a1231-f1bc-48da-b3ef-5b1092c905eb" providerId="ADAL" clId="{5DFDF105-2702-48F9-962A-B003707D7E04}" dt="2022-06-27T19:57:43.777" v="991"/>
        <pc:sldMkLst>
          <pc:docMk/>
          <pc:sldMk cId="3799475860" sldId="2147469600"/>
        </pc:sldMkLst>
      </pc:sldChg>
      <pc:sldChg chg="setBg">
        <pc:chgData name="Dan Moore" userId="432a1231-f1bc-48da-b3ef-5b1092c905eb" providerId="ADAL" clId="{5DFDF105-2702-48F9-962A-B003707D7E04}" dt="2022-06-27T19:57:43.777" v="991"/>
        <pc:sldMkLst>
          <pc:docMk/>
          <pc:sldMk cId="2586040291" sldId="2147469605"/>
        </pc:sldMkLst>
      </pc:sldChg>
      <pc:sldChg chg="modSp mod setBg">
        <pc:chgData name="Dan Moore" userId="432a1231-f1bc-48da-b3ef-5b1092c905eb" providerId="ADAL" clId="{5DFDF105-2702-48F9-962A-B003707D7E04}" dt="2022-06-27T19:57:43.777" v="991"/>
        <pc:sldMkLst>
          <pc:docMk/>
          <pc:sldMk cId="1117014756" sldId="2147469609"/>
        </pc:sldMkLst>
        <pc:spChg chg="mod">
          <ac:chgData name="Dan Moore" userId="432a1231-f1bc-48da-b3ef-5b1092c905eb" providerId="ADAL" clId="{5DFDF105-2702-48F9-962A-B003707D7E04}" dt="2022-06-27T19:19:32.804" v="331" actId="27636"/>
          <ac:spMkLst>
            <pc:docMk/>
            <pc:sldMk cId="1117014756" sldId="2147469609"/>
            <ac:spMk id="2" creationId="{E75AA307-FFB4-61C0-9625-C40AD7AE3A44}"/>
          </ac:spMkLst>
        </pc:spChg>
      </pc:sldChg>
      <pc:sldChg chg="addSp delSp modSp mod setBg modClrScheme chgLayout">
        <pc:chgData name="Dan Moore" userId="432a1231-f1bc-48da-b3ef-5b1092c905eb" providerId="ADAL" clId="{5DFDF105-2702-48F9-962A-B003707D7E04}" dt="2022-06-27T19:57:43.777" v="991"/>
        <pc:sldMkLst>
          <pc:docMk/>
          <pc:sldMk cId="3725804100" sldId="2147469616"/>
        </pc:sldMkLst>
        <pc:spChg chg="add del mod ord">
          <ac:chgData name="Dan Moore" userId="432a1231-f1bc-48da-b3ef-5b1092c905eb" providerId="ADAL" clId="{5DFDF105-2702-48F9-962A-B003707D7E04}" dt="2022-06-27T19:33:22.453" v="531" actId="478"/>
          <ac:spMkLst>
            <pc:docMk/>
            <pc:sldMk cId="3725804100" sldId="2147469616"/>
            <ac:spMk id="2" creationId="{1FBE218B-2ECC-B618-4718-270EFD16A910}"/>
          </ac:spMkLst>
        </pc:spChg>
        <pc:spChg chg="del mod ord">
          <ac:chgData name="Dan Moore" userId="432a1231-f1bc-48da-b3ef-5b1092c905eb" providerId="ADAL" clId="{5DFDF105-2702-48F9-962A-B003707D7E04}" dt="2022-06-27T19:33:21.183" v="530" actId="478"/>
          <ac:spMkLst>
            <pc:docMk/>
            <pc:sldMk cId="3725804100" sldId="2147469616"/>
            <ac:spMk id="4" creationId="{DC69EF0C-5A66-449F-7526-ED8C975AFA2E}"/>
          </ac:spMkLst>
        </pc:spChg>
        <pc:spChg chg="mod ord">
          <ac:chgData name="Dan Moore" userId="432a1231-f1bc-48da-b3ef-5b1092c905eb" providerId="ADAL" clId="{5DFDF105-2702-48F9-962A-B003707D7E04}" dt="2022-06-27T19:33:16.826" v="529" actId="700"/>
          <ac:spMkLst>
            <pc:docMk/>
            <pc:sldMk cId="3725804100" sldId="2147469616"/>
            <ac:spMk id="5" creationId="{966BE908-330D-8850-3E47-D2E52A2B7145}"/>
          </ac:spMkLst>
        </pc:spChg>
        <pc:spChg chg="del mod ord">
          <ac:chgData name="Dan Moore" userId="432a1231-f1bc-48da-b3ef-5b1092c905eb" providerId="ADAL" clId="{5DFDF105-2702-48F9-962A-B003707D7E04}" dt="2022-06-27T19:33:16.826" v="529" actId="700"/>
          <ac:spMkLst>
            <pc:docMk/>
            <pc:sldMk cId="3725804100" sldId="2147469616"/>
            <ac:spMk id="6" creationId="{D04F47EA-CB23-53B2-8F98-088D9FC2FCFC}"/>
          </ac:spMkLst>
        </pc:spChg>
      </pc:sldChg>
      <pc:sldChg chg="addSp delSp modSp mod setBg">
        <pc:chgData name="Dan Moore" userId="432a1231-f1bc-48da-b3ef-5b1092c905eb" providerId="ADAL" clId="{5DFDF105-2702-48F9-962A-B003707D7E04}" dt="2022-06-27T19:57:43.777" v="991"/>
        <pc:sldMkLst>
          <pc:docMk/>
          <pc:sldMk cId="4229963047" sldId="2147469617"/>
        </pc:sldMkLst>
        <pc:spChg chg="del">
          <ac:chgData name="Dan Moore" userId="432a1231-f1bc-48da-b3ef-5b1092c905eb" providerId="ADAL" clId="{5DFDF105-2702-48F9-962A-B003707D7E04}" dt="2022-06-27T19:34:03.372" v="532" actId="478"/>
          <ac:spMkLst>
            <pc:docMk/>
            <pc:sldMk cId="4229963047" sldId="2147469617"/>
            <ac:spMk id="4" creationId="{3E71A268-8E94-1E3E-66D5-0E37CBE8258B}"/>
          </ac:spMkLst>
        </pc:spChg>
        <pc:spChg chg="mod">
          <ac:chgData name="Dan Moore" userId="432a1231-f1bc-48da-b3ef-5b1092c905eb" providerId="ADAL" clId="{5DFDF105-2702-48F9-962A-B003707D7E04}" dt="2022-06-27T19:37:08.332" v="571" actId="20577"/>
          <ac:spMkLst>
            <pc:docMk/>
            <pc:sldMk cId="4229963047" sldId="2147469617"/>
            <ac:spMk id="5" creationId="{A5FE043D-9499-A4F8-E98C-573DF1C5210E}"/>
          </ac:spMkLst>
        </pc:spChg>
        <pc:spChg chg="mod">
          <ac:chgData name="Dan Moore" userId="432a1231-f1bc-48da-b3ef-5b1092c905eb" providerId="ADAL" clId="{5DFDF105-2702-48F9-962A-B003707D7E04}" dt="2022-06-27T19:45:13.085" v="777" actId="948"/>
          <ac:spMkLst>
            <pc:docMk/>
            <pc:sldMk cId="4229963047" sldId="2147469617"/>
            <ac:spMk id="6" creationId="{CBF34873-A3B9-F104-E9F3-9993E32D1909}"/>
          </ac:spMkLst>
        </pc:spChg>
        <pc:spChg chg="add mod">
          <ac:chgData name="Dan Moore" userId="432a1231-f1bc-48da-b3ef-5b1092c905eb" providerId="ADAL" clId="{5DFDF105-2702-48F9-962A-B003707D7E04}" dt="2022-06-27T19:45:09.079" v="776" actId="948"/>
          <ac:spMkLst>
            <pc:docMk/>
            <pc:sldMk cId="4229963047" sldId="2147469617"/>
            <ac:spMk id="7" creationId="{F7151996-3637-1E34-AF40-F3DED72F3E3A}"/>
          </ac:spMkLst>
        </pc:spChg>
        <pc:spChg chg="add mod">
          <ac:chgData name="Dan Moore" userId="432a1231-f1bc-48da-b3ef-5b1092c905eb" providerId="ADAL" clId="{5DFDF105-2702-48F9-962A-B003707D7E04}" dt="2022-06-27T19:45:04.423" v="775" actId="948"/>
          <ac:spMkLst>
            <pc:docMk/>
            <pc:sldMk cId="4229963047" sldId="2147469617"/>
            <ac:spMk id="8" creationId="{DE666A2F-A972-A729-5692-EAAED0E64737}"/>
          </ac:spMkLst>
        </pc:spChg>
      </pc:sldChg>
      <pc:sldChg chg="modSp del mod">
        <pc:chgData name="Dan Moore" userId="432a1231-f1bc-48da-b3ef-5b1092c905eb" providerId="ADAL" clId="{5DFDF105-2702-48F9-962A-B003707D7E04}" dt="2022-06-27T19:45:28.045" v="778" actId="47"/>
        <pc:sldMkLst>
          <pc:docMk/>
          <pc:sldMk cId="1212369767" sldId="2147469619"/>
        </pc:sldMkLst>
        <pc:spChg chg="mod">
          <ac:chgData name="Dan Moore" userId="432a1231-f1bc-48da-b3ef-5b1092c905eb" providerId="ADAL" clId="{5DFDF105-2702-48F9-962A-B003707D7E04}" dt="2022-06-27T19:19:32.773" v="325" actId="27636"/>
          <ac:spMkLst>
            <pc:docMk/>
            <pc:sldMk cId="1212369767" sldId="2147469619"/>
            <ac:spMk id="6" creationId="{A32E0138-EAD8-C795-C594-66338484A1EB}"/>
          </ac:spMkLst>
        </pc:spChg>
      </pc:sldChg>
      <pc:sldChg chg="addSp delSp modSp mod setBg modClrScheme chgLayout">
        <pc:chgData name="Dan Moore" userId="432a1231-f1bc-48da-b3ef-5b1092c905eb" providerId="ADAL" clId="{5DFDF105-2702-48F9-962A-B003707D7E04}" dt="2022-06-27T19:57:43.777" v="991"/>
        <pc:sldMkLst>
          <pc:docMk/>
          <pc:sldMk cId="2857144471" sldId="2147469620"/>
        </pc:sldMkLst>
        <pc:spChg chg="add del mod ord">
          <ac:chgData name="Dan Moore" userId="432a1231-f1bc-48da-b3ef-5b1092c905eb" providerId="ADAL" clId="{5DFDF105-2702-48F9-962A-B003707D7E04}" dt="2022-06-27T19:45:42.156" v="782" actId="478"/>
          <ac:spMkLst>
            <pc:docMk/>
            <pc:sldMk cId="2857144471" sldId="2147469620"/>
            <ac:spMk id="2" creationId="{274CF5D1-7F3C-372A-65E5-4FDFD5D6E6B3}"/>
          </ac:spMkLst>
        </pc:spChg>
        <pc:spChg chg="del mod ord">
          <ac:chgData name="Dan Moore" userId="432a1231-f1bc-48da-b3ef-5b1092c905eb" providerId="ADAL" clId="{5DFDF105-2702-48F9-962A-B003707D7E04}" dt="2022-06-27T19:45:43.848" v="783" actId="478"/>
          <ac:spMkLst>
            <pc:docMk/>
            <pc:sldMk cId="2857144471" sldId="2147469620"/>
            <ac:spMk id="4" creationId="{58452BC6-FB75-5443-655B-CA36E8A4FAA4}"/>
          </ac:spMkLst>
        </pc:spChg>
        <pc:spChg chg="add del mod ord">
          <ac:chgData name="Dan Moore" userId="432a1231-f1bc-48da-b3ef-5b1092c905eb" providerId="ADAL" clId="{5DFDF105-2702-48F9-962A-B003707D7E04}" dt="2022-06-27T19:45:39.963" v="781" actId="478"/>
          <ac:spMkLst>
            <pc:docMk/>
            <pc:sldMk cId="2857144471" sldId="2147469620"/>
            <ac:spMk id="5" creationId="{60403E24-BE3E-0145-BAF5-A1C067FDB465}"/>
          </ac:spMkLst>
        </pc:spChg>
        <pc:spChg chg="del mod ord">
          <ac:chgData name="Dan Moore" userId="432a1231-f1bc-48da-b3ef-5b1092c905eb" providerId="ADAL" clId="{5DFDF105-2702-48F9-962A-B003707D7E04}" dt="2022-06-27T19:45:36.129" v="779" actId="700"/>
          <ac:spMkLst>
            <pc:docMk/>
            <pc:sldMk cId="2857144471" sldId="2147469620"/>
            <ac:spMk id="6" creationId="{D6B864DF-D0DD-E20A-DE86-8CB61C100B76}"/>
          </ac:spMkLst>
        </pc:spChg>
        <pc:spChg chg="add del mod">
          <ac:chgData name="Dan Moore" userId="432a1231-f1bc-48da-b3ef-5b1092c905eb" providerId="ADAL" clId="{5DFDF105-2702-48F9-962A-B003707D7E04}" dt="2022-06-27T19:45:39.963" v="781" actId="478"/>
          <ac:spMkLst>
            <pc:docMk/>
            <pc:sldMk cId="2857144471" sldId="2147469620"/>
            <ac:spMk id="7" creationId="{843AF30F-EAE9-DB8D-C045-20DC083B0012}"/>
          </ac:spMkLst>
        </pc:spChg>
      </pc:sldChg>
      <pc:sldChg chg="setBg">
        <pc:chgData name="Dan Moore" userId="432a1231-f1bc-48da-b3ef-5b1092c905eb" providerId="ADAL" clId="{5DFDF105-2702-48F9-962A-B003707D7E04}" dt="2022-06-27T19:57:43.777" v="991"/>
        <pc:sldMkLst>
          <pc:docMk/>
          <pc:sldMk cId="2454618038" sldId="2147470023"/>
        </pc:sldMkLst>
      </pc:sldChg>
      <pc:sldChg chg="addSp delSp mod setBg">
        <pc:chgData name="Dan Moore" userId="432a1231-f1bc-48da-b3ef-5b1092c905eb" providerId="ADAL" clId="{5DFDF105-2702-48F9-962A-B003707D7E04}" dt="2022-06-27T19:58:12.634" v="993" actId="478"/>
        <pc:sldMkLst>
          <pc:docMk/>
          <pc:sldMk cId="1038962183" sldId="2147470184"/>
        </pc:sldMkLst>
        <pc:picChg chg="add del">
          <ac:chgData name="Dan Moore" userId="432a1231-f1bc-48da-b3ef-5b1092c905eb" providerId="ADAL" clId="{5DFDF105-2702-48F9-962A-B003707D7E04}" dt="2022-06-27T19:58:12.634" v="993" actId="478"/>
          <ac:picMkLst>
            <pc:docMk/>
            <pc:sldMk cId="1038962183" sldId="2147470184"/>
            <ac:picMk id="5" creationId="{9C83AD29-F958-4EB9-AD1C-17DD552C9F7A}"/>
          </ac:picMkLst>
        </pc:picChg>
      </pc:sldChg>
      <pc:sldChg chg="setBg">
        <pc:chgData name="Dan Moore" userId="432a1231-f1bc-48da-b3ef-5b1092c905eb" providerId="ADAL" clId="{5DFDF105-2702-48F9-962A-B003707D7E04}" dt="2022-06-27T19:57:43.777" v="991"/>
        <pc:sldMkLst>
          <pc:docMk/>
          <pc:sldMk cId="2526638429" sldId="2147470185"/>
        </pc:sldMkLst>
      </pc:sldChg>
      <pc:sldChg chg="setBg">
        <pc:chgData name="Dan Moore" userId="432a1231-f1bc-48da-b3ef-5b1092c905eb" providerId="ADAL" clId="{5DFDF105-2702-48F9-962A-B003707D7E04}" dt="2022-06-27T19:57:43.777" v="991"/>
        <pc:sldMkLst>
          <pc:docMk/>
          <pc:sldMk cId="429378152" sldId="2147470186"/>
        </pc:sldMkLst>
      </pc:sldChg>
      <pc:sldChg chg="modSp mod setBg">
        <pc:chgData name="Dan Moore" userId="432a1231-f1bc-48da-b3ef-5b1092c905eb" providerId="ADAL" clId="{5DFDF105-2702-48F9-962A-B003707D7E04}" dt="2022-06-27T19:57:43.777" v="991"/>
        <pc:sldMkLst>
          <pc:docMk/>
          <pc:sldMk cId="1229434402" sldId="2147470187"/>
        </pc:sldMkLst>
        <pc:spChg chg="mod">
          <ac:chgData name="Dan Moore" userId="432a1231-f1bc-48da-b3ef-5b1092c905eb" providerId="ADAL" clId="{5DFDF105-2702-48F9-962A-B003707D7E04}" dt="2022-06-27T19:19:32.804" v="330" actId="27636"/>
          <ac:spMkLst>
            <pc:docMk/>
            <pc:sldMk cId="1229434402" sldId="2147470187"/>
            <ac:spMk id="5" creationId="{B9B142C6-67F5-ADCB-EC38-0C83CAA5ABD1}"/>
          </ac:spMkLst>
        </pc:spChg>
      </pc:sldChg>
      <pc:sldChg chg="modSp mod setBg">
        <pc:chgData name="Dan Moore" userId="432a1231-f1bc-48da-b3ef-5b1092c905eb" providerId="ADAL" clId="{5DFDF105-2702-48F9-962A-B003707D7E04}" dt="2022-06-27T19:57:43.777" v="991"/>
        <pc:sldMkLst>
          <pc:docMk/>
          <pc:sldMk cId="1151731301" sldId="2147470188"/>
        </pc:sldMkLst>
        <pc:spChg chg="mod">
          <ac:chgData name="Dan Moore" userId="432a1231-f1bc-48da-b3ef-5b1092c905eb" providerId="ADAL" clId="{5DFDF105-2702-48F9-962A-B003707D7E04}" dt="2022-06-27T19:19:32.820" v="332" actId="27636"/>
          <ac:spMkLst>
            <pc:docMk/>
            <pc:sldMk cId="1151731301" sldId="2147470188"/>
            <ac:spMk id="2" creationId="{18BE0E10-DC8B-2E87-115C-16CAB558BB86}"/>
          </ac:spMkLst>
        </pc:spChg>
      </pc:sldChg>
      <pc:sldChg chg="setBg">
        <pc:chgData name="Dan Moore" userId="432a1231-f1bc-48da-b3ef-5b1092c905eb" providerId="ADAL" clId="{5DFDF105-2702-48F9-962A-B003707D7E04}" dt="2022-06-27T19:57:43.777" v="991"/>
        <pc:sldMkLst>
          <pc:docMk/>
          <pc:sldMk cId="2996763583" sldId="2147470189"/>
        </pc:sldMkLst>
      </pc:sldChg>
      <pc:sldChg chg="modSp mod setBg">
        <pc:chgData name="Dan Moore" userId="432a1231-f1bc-48da-b3ef-5b1092c905eb" providerId="ADAL" clId="{5DFDF105-2702-48F9-962A-B003707D7E04}" dt="2022-06-27T19:57:43.777" v="991"/>
        <pc:sldMkLst>
          <pc:docMk/>
          <pc:sldMk cId="1679778013" sldId="2147470190"/>
        </pc:sldMkLst>
        <pc:spChg chg="mod">
          <ac:chgData name="Dan Moore" userId="432a1231-f1bc-48da-b3ef-5b1092c905eb" providerId="ADAL" clId="{5DFDF105-2702-48F9-962A-B003707D7E04}" dt="2022-06-27T19:19:32.851" v="337" actId="27636"/>
          <ac:spMkLst>
            <pc:docMk/>
            <pc:sldMk cId="1679778013" sldId="2147470190"/>
            <ac:spMk id="2" creationId="{E75AA307-FFB4-61C0-9625-C40AD7AE3A44}"/>
          </ac:spMkLst>
        </pc:spChg>
      </pc:sldChg>
      <pc:sldChg chg="modSp mod setBg">
        <pc:chgData name="Dan Moore" userId="432a1231-f1bc-48da-b3ef-5b1092c905eb" providerId="ADAL" clId="{5DFDF105-2702-48F9-962A-B003707D7E04}" dt="2022-06-27T19:57:43.777" v="991"/>
        <pc:sldMkLst>
          <pc:docMk/>
          <pc:sldMk cId="3558894971" sldId="2147470191"/>
        </pc:sldMkLst>
        <pc:spChg chg="mod">
          <ac:chgData name="Dan Moore" userId="432a1231-f1bc-48da-b3ef-5b1092c905eb" providerId="ADAL" clId="{5DFDF105-2702-48F9-962A-B003707D7E04}" dt="2022-06-27T19:19:32.851" v="336" actId="27636"/>
          <ac:spMkLst>
            <pc:docMk/>
            <pc:sldMk cId="3558894971" sldId="2147470191"/>
            <ac:spMk id="2" creationId="{18BE0E10-DC8B-2E87-115C-16CAB558BB86}"/>
          </ac:spMkLst>
        </pc:spChg>
      </pc:sldChg>
      <pc:sldChg chg="modSp mod setBg">
        <pc:chgData name="Dan Moore" userId="432a1231-f1bc-48da-b3ef-5b1092c905eb" providerId="ADAL" clId="{5DFDF105-2702-48F9-962A-B003707D7E04}" dt="2022-06-27T19:57:43.777" v="991"/>
        <pc:sldMkLst>
          <pc:docMk/>
          <pc:sldMk cId="4053416595" sldId="2147470192"/>
        </pc:sldMkLst>
        <pc:spChg chg="mod">
          <ac:chgData name="Dan Moore" userId="432a1231-f1bc-48da-b3ef-5b1092c905eb" providerId="ADAL" clId="{5DFDF105-2702-48F9-962A-B003707D7E04}" dt="2022-06-27T19:19:32.804" v="329" actId="27636"/>
          <ac:spMkLst>
            <pc:docMk/>
            <pc:sldMk cId="4053416595" sldId="2147470192"/>
            <ac:spMk id="4" creationId="{7D170F9C-A2C8-11DC-ADE7-317AF98BAC57}"/>
          </ac:spMkLst>
        </pc:spChg>
      </pc:sldChg>
      <pc:sldChg chg="setBg">
        <pc:chgData name="Dan Moore" userId="432a1231-f1bc-48da-b3ef-5b1092c905eb" providerId="ADAL" clId="{5DFDF105-2702-48F9-962A-B003707D7E04}" dt="2022-06-27T19:57:43.777" v="991"/>
        <pc:sldMkLst>
          <pc:docMk/>
          <pc:sldMk cId="552015189" sldId="2147470193"/>
        </pc:sldMkLst>
      </pc:sldChg>
      <pc:sldChg chg="modSp mod setBg">
        <pc:chgData name="Dan Moore" userId="432a1231-f1bc-48da-b3ef-5b1092c905eb" providerId="ADAL" clId="{5DFDF105-2702-48F9-962A-B003707D7E04}" dt="2022-06-27T19:57:43.777" v="991"/>
        <pc:sldMkLst>
          <pc:docMk/>
          <pc:sldMk cId="3560447759" sldId="2147470194"/>
        </pc:sldMkLst>
        <pc:spChg chg="mod">
          <ac:chgData name="Dan Moore" userId="432a1231-f1bc-48da-b3ef-5b1092c905eb" providerId="ADAL" clId="{5DFDF105-2702-48F9-962A-B003707D7E04}" dt="2022-06-27T19:19:32.820" v="333" actId="27636"/>
          <ac:spMkLst>
            <pc:docMk/>
            <pc:sldMk cId="3560447759" sldId="2147470194"/>
            <ac:spMk id="3" creationId="{BDFE8C56-AB2A-7CB3-3257-F7CAF3AE4EE1}"/>
          </ac:spMkLst>
        </pc:spChg>
        <pc:spChg chg="mod">
          <ac:chgData name="Dan Moore" userId="432a1231-f1bc-48da-b3ef-5b1092c905eb" providerId="ADAL" clId="{5DFDF105-2702-48F9-962A-B003707D7E04}" dt="2022-06-27T19:32:04.681" v="496" actId="27636"/>
          <ac:spMkLst>
            <pc:docMk/>
            <pc:sldMk cId="3560447759" sldId="2147470194"/>
            <ac:spMk id="4" creationId="{C6785D96-EE53-D965-8B1D-805001832EA6}"/>
          </ac:spMkLst>
        </pc:spChg>
      </pc:sldChg>
      <pc:sldChg chg="modSp mod setBg">
        <pc:chgData name="Dan Moore" userId="432a1231-f1bc-48da-b3ef-5b1092c905eb" providerId="ADAL" clId="{5DFDF105-2702-48F9-962A-B003707D7E04}" dt="2022-06-27T19:57:43.777" v="991"/>
        <pc:sldMkLst>
          <pc:docMk/>
          <pc:sldMk cId="318262416" sldId="2147470195"/>
        </pc:sldMkLst>
        <pc:spChg chg="mod">
          <ac:chgData name="Dan Moore" userId="432a1231-f1bc-48da-b3ef-5b1092c905eb" providerId="ADAL" clId="{5DFDF105-2702-48F9-962A-B003707D7E04}" dt="2022-06-27T19:19:32.820" v="334" actId="27636"/>
          <ac:spMkLst>
            <pc:docMk/>
            <pc:sldMk cId="318262416" sldId="2147470195"/>
            <ac:spMk id="2" creationId="{09AC2A37-E26A-DF43-C84B-ABD4C9F8AB63}"/>
          </ac:spMkLst>
        </pc:spChg>
      </pc:sldChg>
      <pc:sldChg chg="modSp mod setBg">
        <pc:chgData name="Dan Moore" userId="432a1231-f1bc-48da-b3ef-5b1092c905eb" providerId="ADAL" clId="{5DFDF105-2702-48F9-962A-B003707D7E04}" dt="2022-06-27T19:57:43.777" v="991"/>
        <pc:sldMkLst>
          <pc:docMk/>
          <pc:sldMk cId="108184244" sldId="2147470196"/>
        </pc:sldMkLst>
        <pc:spChg chg="mod">
          <ac:chgData name="Dan Moore" userId="432a1231-f1bc-48da-b3ef-5b1092c905eb" providerId="ADAL" clId="{5DFDF105-2702-48F9-962A-B003707D7E04}" dt="2022-06-27T19:19:32.820" v="335" actId="27636"/>
          <ac:spMkLst>
            <pc:docMk/>
            <pc:sldMk cId="108184244" sldId="2147470196"/>
            <ac:spMk id="2" creationId="{5555C0C9-F02B-6F0C-626E-167F030CB2DA}"/>
          </ac:spMkLst>
        </pc:spChg>
      </pc:sldChg>
      <pc:sldMasterChg chg="addSp delSp modSp mod setBg addSldLayout delSldLayout modSldLayout">
        <pc:chgData name="Dan Moore" userId="432a1231-f1bc-48da-b3ef-5b1092c905eb" providerId="ADAL" clId="{5DFDF105-2702-48F9-962A-B003707D7E04}" dt="2022-06-27T20:34:21.758" v="1307" actId="14100"/>
        <pc:sldMasterMkLst>
          <pc:docMk/>
          <pc:sldMasterMk cId="4233822947" sldId="2147483660"/>
        </pc:sldMasterMkLst>
        <pc:spChg chg="mod">
          <ac:chgData name="Dan Moore" userId="432a1231-f1bc-48da-b3ef-5b1092c905eb" providerId="ADAL" clId="{5DFDF105-2702-48F9-962A-B003707D7E04}" dt="2022-06-27T19:30:41.777" v="478" actId="179"/>
          <ac:spMkLst>
            <pc:docMk/>
            <pc:sldMasterMk cId="4233822947" sldId="2147483660"/>
            <ac:spMk id="2" creationId="{A3A2F988-7148-4375-83D8-12EE5EBC7BE0}"/>
          </ac:spMkLst>
        </pc:spChg>
        <pc:spChg chg="add del">
          <ac:chgData name="Dan Moore" userId="432a1231-f1bc-48da-b3ef-5b1092c905eb" providerId="ADAL" clId="{5DFDF105-2702-48F9-962A-B003707D7E04}" dt="2022-06-27T19:19:22.686" v="300" actId="478"/>
          <ac:spMkLst>
            <pc:docMk/>
            <pc:sldMasterMk cId="4233822947" sldId="2147483660"/>
            <ac:spMk id="3" creationId="{F6896238-C5B3-4F3C-97FA-890E1A51A203}"/>
          </ac:spMkLst>
        </pc:spChg>
        <pc:spChg chg="del">
          <ac:chgData name="Dan Moore" userId="432a1231-f1bc-48da-b3ef-5b1092c905eb" providerId="ADAL" clId="{5DFDF105-2702-48F9-962A-B003707D7E04}" dt="2022-06-27T19:15:32.991" v="90" actId="478"/>
          <ac:spMkLst>
            <pc:docMk/>
            <pc:sldMasterMk cId="4233822947" sldId="2147483660"/>
            <ac:spMk id="4" creationId="{1D6E4474-0442-4E4B-9E5B-CA7B3951C1DA}"/>
          </ac:spMkLst>
        </pc:spChg>
        <pc:spChg chg="del">
          <ac:chgData name="Dan Moore" userId="432a1231-f1bc-48da-b3ef-5b1092c905eb" providerId="ADAL" clId="{5DFDF105-2702-48F9-962A-B003707D7E04}" dt="2022-06-27T19:15:31.851" v="89" actId="478"/>
          <ac:spMkLst>
            <pc:docMk/>
            <pc:sldMasterMk cId="4233822947" sldId="2147483660"/>
            <ac:spMk id="5" creationId="{E0626A98-F887-40E1-B9BA-9D93DE90E022}"/>
          </ac:spMkLst>
        </pc:spChg>
        <pc:spChg chg="del">
          <ac:chgData name="Dan Moore" userId="432a1231-f1bc-48da-b3ef-5b1092c905eb" providerId="ADAL" clId="{5DFDF105-2702-48F9-962A-B003707D7E04}" dt="2022-06-27T19:15:24.827" v="84" actId="478"/>
          <ac:spMkLst>
            <pc:docMk/>
            <pc:sldMasterMk cId="4233822947" sldId="2147483660"/>
            <ac:spMk id="6" creationId="{482C8119-73F6-4713-9AD3-3628DCDFB8F2}"/>
          </ac:spMkLst>
        </pc:spChg>
        <pc:spChg chg="del">
          <ac:chgData name="Dan Moore" userId="432a1231-f1bc-48da-b3ef-5b1092c905eb" providerId="ADAL" clId="{5DFDF105-2702-48F9-962A-B003707D7E04}" dt="2022-06-27T19:15:25.660" v="85" actId="478"/>
          <ac:spMkLst>
            <pc:docMk/>
            <pc:sldMasterMk cId="4233822947" sldId="2147483660"/>
            <ac:spMk id="8" creationId="{A6EF5A53-0A64-4CA5-B9C7-1CB97CB5CF1C}"/>
          </ac:spMkLst>
        </pc:spChg>
        <pc:spChg chg="add mod ord">
          <ac:chgData name="Dan Moore" userId="432a1231-f1bc-48da-b3ef-5b1092c905eb" providerId="ADAL" clId="{5DFDF105-2702-48F9-962A-B003707D7E04}" dt="2022-06-27T19:20:20.895" v="398" actId="207"/>
          <ac:spMkLst>
            <pc:docMk/>
            <pc:sldMasterMk cId="4233822947" sldId="2147483660"/>
            <ac:spMk id="10" creationId="{6E86DCB1-5291-0F3E-E83E-10DCE3FA24C5}"/>
          </ac:spMkLst>
        </pc:spChg>
        <pc:spChg chg="del">
          <ac:chgData name="Dan Moore" userId="432a1231-f1bc-48da-b3ef-5b1092c905eb" providerId="ADAL" clId="{5DFDF105-2702-48F9-962A-B003707D7E04}" dt="2022-06-27T19:15:23.878" v="83" actId="478"/>
          <ac:spMkLst>
            <pc:docMk/>
            <pc:sldMasterMk cId="4233822947" sldId="2147483660"/>
            <ac:spMk id="11" creationId="{34ABFBEA-4EB0-4D02-A2C0-1733CD3D6F12}"/>
          </ac:spMkLst>
        </pc:spChg>
        <pc:spChg chg="del">
          <ac:chgData name="Dan Moore" userId="432a1231-f1bc-48da-b3ef-5b1092c905eb" providerId="ADAL" clId="{5DFDF105-2702-48F9-962A-B003707D7E04}" dt="2022-06-27T19:15:29.630" v="88" actId="478"/>
          <ac:spMkLst>
            <pc:docMk/>
            <pc:sldMasterMk cId="4233822947" sldId="2147483660"/>
            <ac:spMk id="12" creationId="{19E083F6-57F4-487B-A766-EA0462B1EED8}"/>
          </ac:spMkLst>
        </pc:spChg>
        <pc:spChg chg="add mod">
          <ac:chgData name="Dan Moore" userId="432a1231-f1bc-48da-b3ef-5b1092c905eb" providerId="ADAL" clId="{5DFDF105-2702-48F9-962A-B003707D7E04}" dt="2022-06-27T19:30:13.996" v="468" actId="1035"/>
          <ac:spMkLst>
            <pc:docMk/>
            <pc:sldMasterMk cId="4233822947" sldId="2147483660"/>
            <ac:spMk id="16" creationId="{A5E80F7E-ED48-9D56-9A78-8EB70625ECAD}"/>
          </ac:spMkLst>
        </pc:spChg>
        <pc:picChg chg="add mod ord modCrop">
          <ac:chgData name="Dan Moore" userId="432a1231-f1bc-48da-b3ef-5b1092c905eb" providerId="ADAL" clId="{5DFDF105-2702-48F9-962A-B003707D7E04}" dt="2022-06-27T19:19:15.866" v="299" actId="167"/>
          <ac:picMkLst>
            <pc:docMk/>
            <pc:sldMasterMk cId="4233822947" sldId="2147483660"/>
            <ac:picMk id="9" creationId="{CCAA1566-FEF6-2FB3-5DB9-CE3B8DF6C6E2}"/>
          </ac:picMkLst>
        </pc:picChg>
        <pc:cxnChg chg="add del mod">
          <ac:chgData name="Dan Moore" userId="432a1231-f1bc-48da-b3ef-5b1092c905eb" providerId="ADAL" clId="{5DFDF105-2702-48F9-962A-B003707D7E04}" dt="2022-06-27T19:29:01.390" v="442" actId="478"/>
          <ac:cxnSpMkLst>
            <pc:docMk/>
            <pc:sldMasterMk cId="4233822947" sldId="2147483660"/>
            <ac:cxnSpMk id="14" creationId="{EEA840FE-165D-1AD6-AB52-277EB97706A8}"/>
          </ac:cxnSpMkLst>
        </pc:cxnChg>
        <pc:cxnChg chg="add mod">
          <ac:chgData name="Dan Moore" userId="432a1231-f1bc-48da-b3ef-5b1092c905eb" providerId="ADAL" clId="{5DFDF105-2702-48F9-962A-B003707D7E04}" dt="2022-06-27T19:29:42.499" v="447" actId="692"/>
          <ac:cxnSpMkLst>
            <pc:docMk/>
            <pc:sldMasterMk cId="4233822947" sldId="2147483660"/>
            <ac:cxnSpMk id="15" creationId="{96814FF3-1406-B4F7-E4D7-5433025F85FA}"/>
          </ac:cxnSpMkLst>
        </pc:cxnChg>
        <pc:sldLayoutChg chg="addSp delSp modSp mod">
          <pc:chgData name="Dan Moore" userId="432a1231-f1bc-48da-b3ef-5b1092c905eb" providerId="ADAL" clId="{5DFDF105-2702-48F9-962A-B003707D7E04}" dt="2022-06-27T19:35:30.163" v="551" actId="6014"/>
          <pc:sldLayoutMkLst>
            <pc:docMk/>
            <pc:sldMasterMk cId="4233822947" sldId="2147483660"/>
            <pc:sldLayoutMk cId="3122981728" sldId="2147483661"/>
          </pc:sldLayoutMkLst>
          <pc:spChg chg="del">
            <ac:chgData name="Dan Moore" userId="432a1231-f1bc-48da-b3ef-5b1092c905eb" providerId="ADAL" clId="{5DFDF105-2702-48F9-962A-B003707D7E04}" dt="2022-06-27T19:11:55.576" v="0" actId="478"/>
            <ac:spMkLst>
              <pc:docMk/>
              <pc:sldMasterMk cId="4233822947" sldId="2147483660"/>
              <pc:sldLayoutMk cId="3122981728" sldId="2147483661"/>
              <ac:spMk id="2" creationId="{078DD129-A8C2-419E-B641-6CC90F50732D}"/>
            </ac:spMkLst>
          </pc:spChg>
          <pc:spChg chg="mod">
            <ac:chgData name="Dan Moore" userId="432a1231-f1bc-48da-b3ef-5b1092c905eb" providerId="ADAL" clId="{5DFDF105-2702-48F9-962A-B003707D7E04}" dt="2022-06-27T19:13:05.833" v="13" actId="1076"/>
            <ac:spMkLst>
              <pc:docMk/>
              <pc:sldMasterMk cId="4233822947" sldId="2147483660"/>
              <pc:sldLayoutMk cId="3122981728" sldId="2147483661"/>
              <ac:spMk id="3" creationId="{D1B33C04-8A23-4499-A6EF-1D190F0FB38E}"/>
            </ac:spMkLst>
          </pc:spChg>
          <pc:spChg chg="del">
            <ac:chgData name="Dan Moore" userId="432a1231-f1bc-48da-b3ef-5b1092c905eb" providerId="ADAL" clId="{5DFDF105-2702-48F9-962A-B003707D7E04}" dt="2022-06-27T19:12:33.419" v="6" actId="478"/>
            <ac:spMkLst>
              <pc:docMk/>
              <pc:sldMasterMk cId="4233822947" sldId="2147483660"/>
              <pc:sldLayoutMk cId="3122981728" sldId="2147483661"/>
              <ac:spMk id="4" creationId="{BEFA99FB-5674-4BC5-949F-8D45EC167511}"/>
            </ac:spMkLst>
          </pc:spChg>
          <pc:spChg chg="del">
            <ac:chgData name="Dan Moore" userId="432a1231-f1bc-48da-b3ef-5b1092c905eb" providerId="ADAL" clId="{5DFDF105-2702-48F9-962A-B003707D7E04}" dt="2022-06-27T19:12:31.685" v="5" actId="478"/>
            <ac:spMkLst>
              <pc:docMk/>
              <pc:sldMasterMk cId="4233822947" sldId="2147483660"/>
              <pc:sldLayoutMk cId="3122981728" sldId="2147483661"/>
              <ac:spMk id="5" creationId="{0763CF93-DD67-4FE2-8083-864693FE8E7B}"/>
            </ac:spMkLst>
          </pc:spChg>
          <pc:spChg chg="del">
            <ac:chgData name="Dan Moore" userId="432a1231-f1bc-48da-b3ef-5b1092c905eb" providerId="ADAL" clId="{5DFDF105-2702-48F9-962A-B003707D7E04}" dt="2022-06-27T19:14:31.937" v="26" actId="478"/>
            <ac:spMkLst>
              <pc:docMk/>
              <pc:sldMasterMk cId="4233822947" sldId="2147483660"/>
              <pc:sldLayoutMk cId="3122981728" sldId="2147483661"/>
              <ac:spMk id="6" creationId="{2F05E934-32B6-44B1-9622-67F30BDA3F3A}"/>
            </ac:spMkLst>
          </pc:spChg>
          <pc:spChg chg="add mod">
            <ac:chgData name="Dan Moore" userId="432a1231-f1bc-48da-b3ef-5b1092c905eb" providerId="ADAL" clId="{5DFDF105-2702-48F9-962A-B003707D7E04}" dt="2022-06-27T19:32:04.612" v="494" actId="179"/>
            <ac:spMkLst>
              <pc:docMk/>
              <pc:sldMasterMk cId="4233822947" sldId="2147483660"/>
              <pc:sldLayoutMk cId="3122981728" sldId="2147483661"/>
              <ac:spMk id="7" creationId="{8B47C41E-EFFF-E0E3-722C-B70B261E7A5B}"/>
            </ac:spMkLst>
          </pc:spChg>
          <pc:spChg chg="add mod ord">
            <ac:chgData name="Dan Moore" userId="432a1231-f1bc-48da-b3ef-5b1092c905eb" providerId="ADAL" clId="{5DFDF105-2702-48F9-962A-B003707D7E04}" dt="2022-06-27T19:15:10.303" v="81" actId="167"/>
            <ac:spMkLst>
              <pc:docMk/>
              <pc:sldMasterMk cId="4233822947" sldId="2147483660"/>
              <pc:sldLayoutMk cId="3122981728" sldId="2147483661"/>
              <ac:spMk id="10" creationId="{52F5A945-6267-D8B6-1596-FC062502C012}"/>
            </ac:spMkLst>
          </pc:spChg>
          <pc:picChg chg="add mod ord modCrop">
            <ac:chgData name="Dan Moore" userId="432a1231-f1bc-48da-b3ef-5b1092c905eb" providerId="ADAL" clId="{5DFDF105-2702-48F9-962A-B003707D7E04}" dt="2022-06-27T19:15:12.137" v="82" actId="167"/>
            <ac:picMkLst>
              <pc:docMk/>
              <pc:sldMasterMk cId="4233822947" sldId="2147483660"/>
              <pc:sldLayoutMk cId="3122981728" sldId="2147483661"/>
              <ac:picMk id="9" creationId="{DC0D9A55-7B95-4CBB-F4C9-A10F2B9702C1}"/>
            </ac:picMkLst>
          </pc:picChg>
        </pc:sldLayoutChg>
        <pc:sldLayoutChg chg="delSp modSp mod setBg">
          <pc:chgData name="Dan Moore" userId="432a1231-f1bc-48da-b3ef-5b1092c905eb" providerId="ADAL" clId="{5DFDF105-2702-48F9-962A-B003707D7E04}" dt="2022-06-27T19:53:06.468" v="894"/>
          <pc:sldLayoutMkLst>
            <pc:docMk/>
            <pc:sldMasterMk cId="4233822947" sldId="2147483660"/>
            <pc:sldLayoutMk cId="3110002700" sldId="2147483662"/>
          </pc:sldLayoutMkLst>
          <pc:spChg chg="del mod">
            <ac:chgData name="Dan Moore" userId="432a1231-f1bc-48da-b3ef-5b1092c905eb" providerId="ADAL" clId="{5DFDF105-2702-48F9-962A-B003707D7E04}" dt="2022-06-27T19:31:53.109" v="493" actId="478"/>
            <ac:spMkLst>
              <pc:docMk/>
              <pc:sldMasterMk cId="4233822947" sldId="2147483660"/>
              <pc:sldLayoutMk cId="3110002700" sldId="2147483662"/>
              <ac:spMk id="3" creationId="{066FB6E8-D956-45B5-9B4A-9D31DF466BED}"/>
            </ac:spMkLst>
          </pc:spChg>
          <pc:spChg chg="del">
            <ac:chgData name="Dan Moore" userId="432a1231-f1bc-48da-b3ef-5b1092c905eb" providerId="ADAL" clId="{5DFDF105-2702-48F9-962A-B003707D7E04}" dt="2022-06-27T19:31:46.459" v="490" actId="478"/>
            <ac:spMkLst>
              <pc:docMk/>
              <pc:sldMasterMk cId="4233822947" sldId="2147483660"/>
              <pc:sldLayoutMk cId="3110002700" sldId="2147483662"/>
              <ac:spMk id="4" creationId="{BECDB9DB-9E62-4292-915C-1DD4134740DB}"/>
            </ac:spMkLst>
          </pc:spChg>
          <pc:spChg chg="del">
            <ac:chgData name="Dan Moore" userId="432a1231-f1bc-48da-b3ef-5b1092c905eb" providerId="ADAL" clId="{5DFDF105-2702-48F9-962A-B003707D7E04}" dt="2022-06-27T19:31:49.196" v="491" actId="478"/>
            <ac:spMkLst>
              <pc:docMk/>
              <pc:sldMasterMk cId="4233822947" sldId="2147483660"/>
              <pc:sldLayoutMk cId="3110002700" sldId="2147483662"/>
              <ac:spMk id="5" creationId="{2BD462F1-BC30-4172-8353-363123A1DB4E}"/>
            </ac:spMkLst>
          </pc:spChg>
          <pc:spChg chg="del">
            <ac:chgData name="Dan Moore" userId="432a1231-f1bc-48da-b3ef-5b1092c905eb" providerId="ADAL" clId="{5DFDF105-2702-48F9-962A-B003707D7E04}" dt="2022-06-27T19:31:50.731" v="492" actId="478"/>
            <ac:spMkLst>
              <pc:docMk/>
              <pc:sldMasterMk cId="4233822947" sldId="2147483660"/>
              <pc:sldLayoutMk cId="3110002700" sldId="2147483662"/>
              <ac:spMk id="6" creationId="{BC92EE8A-96DF-4D7D-B434-778324756D04}"/>
            </ac:spMkLst>
          </pc:spChg>
        </pc:sldLayoutChg>
        <pc:sldLayoutChg chg="addSp delSp modSp mod setBg">
          <pc:chgData name="Dan Moore" userId="432a1231-f1bc-48da-b3ef-5b1092c905eb" providerId="ADAL" clId="{5DFDF105-2702-48F9-962A-B003707D7E04}" dt="2022-06-27T20:25:01.893" v="1110" actId="14100"/>
          <pc:sldLayoutMkLst>
            <pc:docMk/>
            <pc:sldMasterMk cId="4233822947" sldId="2147483660"/>
            <pc:sldLayoutMk cId="2555249261" sldId="2147483663"/>
          </pc:sldLayoutMkLst>
          <pc:spChg chg="del">
            <ac:chgData name="Dan Moore" userId="432a1231-f1bc-48da-b3ef-5b1092c905eb" providerId="ADAL" clId="{5DFDF105-2702-48F9-962A-B003707D7E04}" dt="2022-06-27T19:34:18.172" v="535" actId="478"/>
            <ac:spMkLst>
              <pc:docMk/>
              <pc:sldMasterMk cId="4233822947" sldId="2147483660"/>
              <pc:sldLayoutMk cId="2555249261" sldId="2147483663"/>
              <ac:spMk id="2" creationId="{9328453A-F2B4-4EDB-B8FA-150267BC1A9A}"/>
            </ac:spMkLst>
          </pc:spChg>
          <pc:spChg chg="del">
            <ac:chgData name="Dan Moore" userId="432a1231-f1bc-48da-b3ef-5b1092c905eb" providerId="ADAL" clId="{5DFDF105-2702-48F9-962A-B003707D7E04}" dt="2022-06-27T19:34:19.275" v="536" actId="478"/>
            <ac:spMkLst>
              <pc:docMk/>
              <pc:sldMasterMk cId="4233822947" sldId="2147483660"/>
              <pc:sldLayoutMk cId="2555249261" sldId="2147483663"/>
              <ac:spMk id="3" creationId="{24C46C51-ADF1-48FC-A4D9-38C369E78304}"/>
            </ac:spMkLst>
          </pc:spChg>
          <pc:spChg chg="del">
            <ac:chgData name="Dan Moore" userId="432a1231-f1bc-48da-b3ef-5b1092c905eb" providerId="ADAL" clId="{5DFDF105-2702-48F9-962A-B003707D7E04}" dt="2022-06-27T19:34:16.183" v="534" actId="478"/>
            <ac:spMkLst>
              <pc:docMk/>
              <pc:sldMasterMk cId="4233822947" sldId="2147483660"/>
              <pc:sldLayoutMk cId="2555249261" sldId="2147483663"/>
              <ac:spMk id="4" creationId="{BEC43B56-4DC7-490B-AEFD-55ED1ECFF82E}"/>
            </ac:spMkLst>
          </pc:spChg>
          <pc:spChg chg="del">
            <ac:chgData name="Dan Moore" userId="432a1231-f1bc-48da-b3ef-5b1092c905eb" providerId="ADAL" clId="{5DFDF105-2702-48F9-962A-B003707D7E04}" dt="2022-06-27T19:34:14.431" v="533" actId="478"/>
            <ac:spMkLst>
              <pc:docMk/>
              <pc:sldMasterMk cId="4233822947" sldId="2147483660"/>
              <pc:sldLayoutMk cId="2555249261" sldId="2147483663"/>
              <ac:spMk id="5" creationId="{454738F8-C4B2-41D8-B627-A6DDB24B2D57}"/>
            </ac:spMkLst>
          </pc:spChg>
          <pc:spChg chg="del">
            <ac:chgData name="Dan Moore" userId="432a1231-f1bc-48da-b3ef-5b1092c905eb" providerId="ADAL" clId="{5DFDF105-2702-48F9-962A-B003707D7E04}" dt="2022-06-27T19:47:50.624" v="784" actId="478"/>
            <ac:spMkLst>
              <pc:docMk/>
              <pc:sldMasterMk cId="4233822947" sldId="2147483660"/>
              <pc:sldLayoutMk cId="2555249261" sldId="2147483663"/>
              <ac:spMk id="6" creationId="{C4F43D49-23F8-4C4B-9C30-EDC030EE6F7E}"/>
            </ac:spMkLst>
          </pc:spChg>
          <pc:spChg chg="add mod">
            <ac:chgData name="Dan Moore" userId="432a1231-f1bc-48da-b3ef-5b1092c905eb" providerId="ADAL" clId="{5DFDF105-2702-48F9-962A-B003707D7E04}" dt="2022-06-27T19:56:05.671" v="943" actId="207"/>
            <ac:spMkLst>
              <pc:docMk/>
              <pc:sldMasterMk cId="4233822947" sldId="2147483660"/>
              <pc:sldLayoutMk cId="2555249261" sldId="2147483663"/>
              <ac:spMk id="7" creationId="{16E85894-5565-6086-A8F7-92B40CBDB6B8}"/>
            </ac:spMkLst>
          </pc:spChg>
          <pc:spChg chg="add del">
            <ac:chgData name="Dan Moore" userId="432a1231-f1bc-48da-b3ef-5b1092c905eb" providerId="ADAL" clId="{5DFDF105-2702-48F9-962A-B003707D7E04}" dt="2022-06-27T20:23:54.687" v="1098" actId="11529"/>
            <ac:spMkLst>
              <pc:docMk/>
              <pc:sldMasterMk cId="4233822947" sldId="2147483660"/>
              <pc:sldLayoutMk cId="2555249261" sldId="2147483663"/>
              <ac:spMk id="8" creationId="{80E014B9-4433-C773-9D00-DC933C7A8BAF}"/>
            </ac:spMkLst>
          </pc:spChg>
          <pc:spChg chg="add mod">
            <ac:chgData name="Dan Moore" userId="432a1231-f1bc-48da-b3ef-5b1092c905eb" providerId="ADAL" clId="{5DFDF105-2702-48F9-962A-B003707D7E04}" dt="2022-06-27T20:24:39.060" v="1108" actId="404"/>
            <ac:spMkLst>
              <pc:docMk/>
              <pc:sldMasterMk cId="4233822947" sldId="2147483660"/>
              <pc:sldLayoutMk cId="2555249261" sldId="2147483663"/>
              <ac:spMk id="9" creationId="{ECC5B513-C96F-C847-3460-B30CC6561D4C}"/>
            </ac:spMkLst>
          </pc:spChg>
          <pc:spChg chg="add del">
            <ac:chgData name="Dan Moore" userId="432a1231-f1bc-48da-b3ef-5b1092c905eb" providerId="ADAL" clId="{5DFDF105-2702-48F9-962A-B003707D7E04}" dt="2022-06-27T20:24:59.651" v="1109" actId="11529"/>
            <ac:spMkLst>
              <pc:docMk/>
              <pc:sldMasterMk cId="4233822947" sldId="2147483660"/>
              <pc:sldLayoutMk cId="2555249261" sldId="2147483663"/>
              <ac:spMk id="10" creationId="{6BF81F19-54C6-9FE4-B76F-950A302C934A}"/>
            </ac:spMkLst>
          </pc:spChg>
          <pc:spChg chg="add mod">
            <ac:chgData name="Dan Moore" userId="432a1231-f1bc-48da-b3ef-5b1092c905eb" providerId="ADAL" clId="{5DFDF105-2702-48F9-962A-B003707D7E04}" dt="2022-06-27T20:25:01.893" v="1110" actId="14100"/>
            <ac:spMkLst>
              <pc:docMk/>
              <pc:sldMasterMk cId="4233822947" sldId="2147483660"/>
              <pc:sldLayoutMk cId="2555249261" sldId="2147483663"/>
              <ac:spMk id="11" creationId="{4652622A-A20F-562D-1BAD-CE6697CA50F3}"/>
            </ac:spMkLst>
          </pc:spChg>
        </pc:sldLayoutChg>
        <pc:sldLayoutChg chg="delSp modSp mod setBg">
          <pc:chgData name="Dan Moore" userId="432a1231-f1bc-48da-b3ef-5b1092c905eb" providerId="ADAL" clId="{5DFDF105-2702-48F9-962A-B003707D7E04}" dt="2022-06-27T19:53:06.468" v="894"/>
          <pc:sldLayoutMkLst>
            <pc:docMk/>
            <pc:sldMasterMk cId="4233822947" sldId="2147483660"/>
            <pc:sldLayoutMk cId="2779647317" sldId="2147483664"/>
          </pc:sldLayoutMkLst>
          <pc:spChg chg="mod">
            <ac:chgData name="Dan Moore" userId="432a1231-f1bc-48da-b3ef-5b1092c905eb" providerId="ADAL" clId="{5DFDF105-2702-48F9-962A-B003707D7E04}" dt="2022-06-27T19:48:02.068" v="785" actId="2711"/>
            <ac:spMkLst>
              <pc:docMk/>
              <pc:sldMasterMk cId="4233822947" sldId="2147483660"/>
              <pc:sldLayoutMk cId="2779647317" sldId="2147483664"/>
              <ac:spMk id="3" creationId="{062747A5-C962-477F-89AA-A32385D57996}"/>
            </ac:spMkLst>
          </pc:spChg>
          <pc:spChg chg="mod">
            <ac:chgData name="Dan Moore" userId="432a1231-f1bc-48da-b3ef-5b1092c905eb" providerId="ADAL" clId="{5DFDF105-2702-48F9-962A-B003707D7E04}" dt="2022-06-27T19:48:02.068" v="785" actId="2711"/>
            <ac:spMkLst>
              <pc:docMk/>
              <pc:sldMasterMk cId="4233822947" sldId="2147483660"/>
              <pc:sldLayoutMk cId="2779647317" sldId="2147483664"/>
              <ac:spMk id="4" creationId="{0CD08312-30FC-44D8-B2A9-B5CAAD9F066F}"/>
            </ac:spMkLst>
          </pc:spChg>
          <pc:spChg chg="del">
            <ac:chgData name="Dan Moore" userId="432a1231-f1bc-48da-b3ef-5b1092c905eb" providerId="ADAL" clId="{5DFDF105-2702-48F9-962A-B003707D7E04}" dt="2022-06-27T19:34:49.597" v="543" actId="478"/>
            <ac:spMkLst>
              <pc:docMk/>
              <pc:sldMasterMk cId="4233822947" sldId="2147483660"/>
              <pc:sldLayoutMk cId="2779647317" sldId="2147483664"/>
              <ac:spMk id="5" creationId="{DBED84EB-AF90-4F19-A376-0FE5E50F9EA5}"/>
            </ac:spMkLst>
          </pc:spChg>
          <pc:spChg chg="del">
            <ac:chgData name="Dan Moore" userId="432a1231-f1bc-48da-b3ef-5b1092c905eb" providerId="ADAL" clId="{5DFDF105-2702-48F9-962A-B003707D7E04}" dt="2022-06-27T19:34:46.982" v="541" actId="478"/>
            <ac:spMkLst>
              <pc:docMk/>
              <pc:sldMasterMk cId="4233822947" sldId="2147483660"/>
              <pc:sldLayoutMk cId="2779647317" sldId="2147483664"/>
              <ac:spMk id="6" creationId="{7B838ED0-2789-41E4-A36E-83F92CA2E84B}"/>
            </ac:spMkLst>
          </pc:spChg>
          <pc:spChg chg="del">
            <ac:chgData name="Dan Moore" userId="432a1231-f1bc-48da-b3ef-5b1092c905eb" providerId="ADAL" clId="{5DFDF105-2702-48F9-962A-B003707D7E04}" dt="2022-06-27T19:34:48.016" v="542" actId="478"/>
            <ac:spMkLst>
              <pc:docMk/>
              <pc:sldMasterMk cId="4233822947" sldId="2147483660"/>
              <pc:sldLayoutMk cId="2779647317" sldId="2147483664"/>
              <ac:spMk id="7" creationId="{37221A83-6D60-45F0-9173-5F6D2438BC36}"/>
            </ac:spMkLst>
          </pc:spChg>
        </pc:sldLayoutChg>
        <pc:sldLayoutChg chg="del">
          <pc:chgData name="Dan Moore" userId="432a1231-f1bc-48da-b3ef-5b1092c905eb" providerId="ADAL" clId="{5DFDF105-2702-48F9-962A-B003707D7E04}" dt="2022-06-27T19:34:53.809" v="544" actId="2696"/>
          <pc:sldLayoutMkLst>
            <pc:docMk/>
            <pc:sldMasterMk cId="4233822947" sldId="2147483660"/>
            <pc:sldLayoutMk cId="1235404074" sldId="2147483665"/>
          </pc:sldLayoutMkLst>
        </pc:sldLayoutChg>
        <pc:sldLayoutChg chg="del">
          <pc:chgData name="Dan Moore" userId="432a1231-f1bc-48da-b3ef-5b1092c905eb" providerId="ADAL" clId="{5DFDF105-2702-48F9-962A-B003707D7E04}" dt="2022-06-27T19:34:56.114" v="545" actId="2696"/>
          <pc:sldLayoutMkLst>
            <pc:docMk/>
            <pc:sldMasterMk cId="4233822947" sldId="2147483660"/>
            <pc:sldLayoutMk cId="3803465688" sldId="2147483666"/>
          </pc:sldLayoutMkLst>
        </pc:sldLayoutChg>
        <pc:sldLayoutChg chg="addSp delSp modSp mod setBg">
          <pc:chgData name="Dan Moore" userId="432a1231-f1bc-48da-b3ef-5b1092c905eb" providerId="ADAL" clId="{5DFDF105-2702-48F9-962A-B003707D7E04}" dt="2022-06-27T19:56:12.988" v="945" actId="207"/>
          <pc:sldLayoutMkLst>
            <pc:docMk/>
            <pc:sldMasterMk cId="4233822947" sldId="2147483660"/>
            <pc:sldLayoutMk cId="3046795491" sldId="2147483667"/>
          </pc:sldLayoutMkLst>
          <pc:spChg chg="del">
            <ac:chgData name="Dan Moore" userId="432a1231-f1bc-48da-b3ef-5b1092c905eb" providerId="ADAL" clId="{5DFDF105-2702-48F9-962A-B003707D7E04}" dt="2022-06-27T19:53:52.095" v="905" actId="478"/>
            <ac:spMkLst>
              <pc:docMk/>
              <pc:sldMasterMk cId="4233822947" sldId="2147483660"/>
              <pc:sldLayoutMk cId="3046795491" sldId="2147483667"/>
              <ac:spMk id="2" creationId="{F00AE8D9-9B42-438E-ADA6-CCFE45788460}"/>
            </ac:spMkLst>
          </pc:spChg>
          <pc:spChg chg="del">
            <ac:chgData name="Dan Moore" userId="432a1231-f1bc-48da-b3ef-5b1092c905eb" providerId="ADAL" clId="{5DFDF105-2702-48F9-962A-B003707D7E04}" dt="2022-06-27T19:53:53.328" v="906" actId="478"/>
            <ac:spMkLst>
              <pc:docMk/>
              <pc:sldMasterMk cId="4233822947" sldId="2147483660"/>
              <pc:sldLayoutMk cId="3046795491" sldId="2147483667"/>
              <ac:spMk id="3" creationId="{C4F792B9-A8AF-4E13-8A25-741E89691EFA}"/>
            </ac:spMkLst>
          </pc:spChg>
          <pc:spChg chg="del">
            <ac:chgData name="Dan Moore" userId="432a1231-f1bc-48da-b3ef-5b1092c905eb" providerId="ADAL" clId="{5DFDF105-2702-48F9-962A-B003707D7E04}" dt="2022-06-27T19:53:54.400" v="907" actId="478"/>
            <ac:spMkLst>
              <pc:docMk/>
              <pc:sldMasterMk cId="4233822947" sldId="2147483660"/>
              <pc:sldLayoutMk cId="3046795491" sldId="2147483667"/>
              <ac:spMk id="4" creationId="{533A2CF6-DBC5-4491-B213-B3CD09D3130C}"/>
            </ac:spMkLst>
          </pc:spChg>
          <pc:spChg chg="add mod">
            <ac:chgData name="Dan Moore" userId="432a1231-f1bc-48da-b3ef-5b1092c905eb" providerId="ADAL" clId="{5DFDF105-2702-48F9-962A-B003707D7E04}" dt="2022-06-27T19:56:12.988" v="945" actId="207"/>
            <ac:spMkLst>
              <pc:docMk/>
              <pc:sldMasterMk cId="4233822947" sldId="2147483660"/>
              <pc:sldLayoutMk cId="3046795491" sldId="2147483667"/>
              <ac:spMk id="5" creationId="{EF329FE0-78FC-79FA-DDD7-2C11F29EC1AF}"/>
            </ac:spMkLst>
          </pc:spChg>
        </pc:sldLayoutChg>
        <pc:sldLayoutChg chg="del">
          <pc:chgData name="Dan Moore" userId="432a1231-f1bc-48da-b3ef-5b1092c905eb" providerId="ADAL" clId="{5DFDF105-2702-48F9-962A-B003707D7E04}" dt="2022-06-27T19:34:59.798" v="546" actId="2696"/>
          <pc:sldLayoutMkLst>
            <pc:docMk/>
            <pc:sldMasterMk cId="4233822947" sldId="2147483660"/>
            <pc:sldLayoutMk cId="4243752725" sldId="2147483668"/>
          </pc:sldLayoutMkLst>
        </pc:sldLayoutChg>
        <pc:sldLayoutChg chg="del">
          <pc:chgData name="Dan Moore" userId="432a1231-f1bc-48da-b3ef-5b1092c905eb" providerId="ADAL" clId="{5DFDF105-2702-48F9-962A-B003707D7E04}" dt="2022-06-27T19:35:01.191" v="547" actId="2696"/>
          <pc:sldLayoutMkLst>
            <pc:docMk/>
            <pc:sldMasterMk cId="4233822947" sldId="2147483660"/>
            <pc:sldLayoutMk cId="2733580771" sldId="2147483669"/>
          </pc:sldLayoutMkLst>
        </pc:sldLayoutChg>
        <pc:sldLayoutChg chg="del">
          <pc:chgData name="Dan Moore" userId="432a1231-f1bc-48da-b3ef-5b1092c905eb" providerId="ADAL" clId="{5DFDF105-2702-48F9-962A-B003707D7E04}" dt="2022-06-27T19:35:02.266" v="548" actId="2696"/>
          <pc:sldLayoutMkLst>
            <pc:docMk/>
            <pc:sldMasterMk cId="4233822947" sldId="2147483660"/>
            <pc:sldLayoutMk cId="1624283454" sldId="2147483670"/>
          </pc:sldLayoutMkLst>
        </pc:sldLayoutChg>
        <pc:sldLayoutChg chg="del">
          <pc:chgData name="Dan Moore" userId="432a1231-f1bc-48da-b3ef-5b1092c905eb" providerId="ADAL" clId="{5DFDF105-2702-48F9-962A-B003707D7E04}" dt="2022-06-27T19:35:03.479" v="549" actId="2696"/>
          <pc:sldLayoutMkLst>
            <pc:docMk/>
            <pc:sldMasterMk cId="4233822947" sldId="2147483660"/>
            <pc:sldLayoutMk cId="3175042441" sldId="2147483671"/>
          </pc:sldLayoutMkLst>
        </pc:sldLayoutChg>
        <pc:sldLayoutChg chg="delSp mod setBg">
          <pc:chgData name="Dan Moore" userId="432a1231-f1bc-48da-b3ef-5b1092c905eb" providerId="ADAL" clId="{5DFDF105-2702-48F9-962A-B003707D7E04}" dt="2022-06-27T19:53:46.796" v="904" actId="478"/>
          <pc:sldLayoutMkLst>
            <pc:docMk/>
            <pc:sldMasterMk cId="4233822947" sldId="2147483660"/>
            <pc:sldLayoutMk cId="4099363700" sldId="2147483966"/>
          </pc:sldLayoutMkLst>
          <pc:spChg chg="del">
            <ac:chgData name="Dan Moore" userId="432a1231-f1bc-48da-b3ef-5b1092c905eb" providerId="ADAL" clId="{5DFDF105-2702-48F9-962A-B003707D7E04}" dt="2022-06-27T19:53:46.796" v="904" actId="478"/>
            <ac:spMkLst>
              <pc:docMk/>
              <pc:sldMasterMk cId="4233822947" sldId="2147483660"/>
              <pc:sldLayoutMk cId="4099363700" sldId="2147483966"/>
              <ac:spMk id="3" creationId="{74688679-AB88-4BC4-8D1E-8859723BC1EC}"/>
            </ac:spMkLst>
          </pc:spChg>
          <pc:spChg chg="del">
            <ac:chgData name="Dan Moore" userId="432a1231-f1bc-48da-b3ef-5b1092c905eb" providerId="ADAL" clId="{5DFDF105-2702-48F9-962A-B003707D7E04}" dt="2022-06-27T19:53:46.796" v="904" actId="478"/>
            <ac:spMkLst>
              <pc:docMk/>
              <pc:sldMasterMk cId="4233822947" sldId="2147483660"/>
              <pc:sldLayoutMk cId="4099363700" sldId="2147483966"/>
              <ac:spMk id="4" creationId="{7CBA513E-85DE-4A18-B579-F421D508E030}"/>
            </ac:spMkLst>
          </pc:spChg>
          <pc:spChg chg="del">
            <ac:chgData name="Dan Moore" userId="432a1231-f1bc-48da-b3ef-5b1092c905eb" providerId="ADAL" clId="{5DFDF105-2702-48F9-962A-B003707D7E04}" dt="2022-06-27T19:53:46.796" v="904" actId="478"/>
            <ac:spMkLst>
              <pc:docMk/>
              <pc:sldMasterMk cId="4233822947" sldId="2147483660"/>
              <pc:sldLayoutMk cId="4099363700" sldId="2147483966"/>
              <ac:spMk id="5" creationId="{EC8416CC-268F-4C35-A1B6-84C358EC06F6}"/>
            </ac:spMkLst>
          </pc:spChg>
          <pc:spChg chg="del">
            <ac:chgData name="Dan Moore" userId="432a1231-f1bc-48da-b3ef-5b1092c905eb" providerId="ADAL" clId="{5DFDF105-2702-48F9-962A-B003707D7E04}" dt="2022-06-27T19:53:46.796" v="904" actId="478"/>
            <ac:spMkLst>
              <pc:docMk/>
              <pc:sldMasterMk cId="4233822947" sldId="2147483660"/>
              <pc:sldLayoutMk cId="4099363700" sldId="2147483966"/>
              <ac:spMk id="6" creationId="{AE89808B-E913-439F-98B4-9DB6D4FBEB1B}"/>
            </ac:spMkLst>
          </pc:spChg>
        </pc:sldLayoutChg>
        <pc:sldLayoutChg chg="delSp modSp mod setBg">
          <pc:chgData name="Dan Moore" userId="432a1231-f1bc-48da-b3ef-5b1092c905eb" providerId="ADAL" clId="{5DFDF105-2702-48F9-962A-B003707D7E04}" dt="2022-06-27T19:54:56.166" v="928" actId="207"/>
          <pc:sldLayoutMkLst>
            <pc:docMk/>
            <pc:sldMasterMk cId="4233822947" sldId="2147483660"/>
            <pc:sldLayoutMk cId="1091667351" sldId="2147483967"/>
          </pc:sldLayoutMkLst>
          <pc:spChg chg="del">
            <ac:chgData name="Dan Moore" userId="432a1231-f1bc-48da-b3ef-5b1092c905eb" providerId="ADAL" clId="{5DFDF105-2702-48F9-962A-B003707D7E04}" dt="2022-06-27T19:54:01.883" v="908" actId="478"/>
            <ac:spMkLst>
              <pc:docMk/>
              <pc:sldMasterMk cId="4233822947" sldId="2147483660"/>
              <pc:sldLayoutMk cId="1091667351" sldId="2147483967"/>
              <ac:spMk id="4" creationId="{E68F5420-9D31-7B47-A97E-FAA309E5F411}"/>
            </ac:spMkLst>
          </pc:spChg>
          <pc:spChg chg="mod">
            <ac:chgData name="Dan Moore" userId="432a1231-f1bc-48da-b3ef-5b1092c905eb" providerId="ADAL" clId="{5DFDF105-2702-48F9-962A-B003707D7E04}" dt="2022-06-27T19:54:56.166" v="928" actId="207"/>
            <ac:spMkLst>
              <pc:docMk/>
              <pc:sldMasterMk cId="4233822947" sldId="2147483660"/>
              <pc:sldLayoutMk cId="1091667351" sldId="2147483967"/>
              <ac:spMk id="6" creationId="{00000000-0000-0000-0000-000000000000}"/>
            </ac:spMkLst>
          </pc:spChg>
        </pc:sldLayoutChg>
        <pc:sldLayoutChg chg="delSp modSp mod setBg">
          <pc:chgData name="Dan Moore" userId="432a1231-f1bc-48da-b3ef-5b1092c905eb" providerId="ADAL" clId="{5DFDF105-2702-48F9-962A-B003707D7E04}" dt="2022-06-27T19:55:04.039" v="929" actId="478"/>
          <pc:sldLayoutMkLst>
            <pc:docMk/>
            <pc:sldMasterMk cId="4233822947" sldId="2147483660"/>
            <pc:sldLayoutMk cId="1306011639" sldId="2147483968"/>
          </pc:sldLayoutMkLst>
          <pc:spChg chg="mod">
            <ac:chgData name="Dan Moore" userId="432a1231-f1bc-48da-b3ef-5b1092c905eb" providerId="ADAL" clId="{5DFDF105-2702-48F9-962A-B003707D7E04}" dt="2022-06-27T19:53:16.540" v="895" actId="207"/>
            <ac:spMkLst>
              <pc:docMk/>
              <pc:sldMasterMk cId="4233822947" sldId="2147483660"/>
              <pc:sldLayoutMk cId="1306011639" sldId="2147483968"/>
              <ac:spMk id="2" creationId="{00000000-0000-0000-0000-000000000000}"/>
            </ac:spMkLst>
          </pc:spChg>
          <pc:spChg chg="del">
            <ac:chgData name="Dan Moore" userId="432a1231-f1bc-48da-b3ef-5b1092c905eb" providerId="ADAL" clId="{5DFDF105-2702-48F9-962A-B003707D7E04}" dt="2022-06-27T19:55:04.039" v="929" actId="478"/>
            <ac:spMkLst>
              <pc:docMk/>
              <pc:sldMasterMk cId="4233822947" sldId="2147483660"/>
              <pc:sldLayoutMk cId="1306011639" sldId="2147483968"/>
              <ac:spMk id="3" creationId="{4C516C95-A293-5A47-B131-69A379B3CA29}"/>
            </ac:spMkLst>
          </pc:spChg>
        </pc:sldLayoutChg>
        <pc:sldLayoutChg chg="delSp modSp mod setBg">
          <pc:chgData name="Dan Moore" userId="432a1231-f1bc-48da-b3ef-5b1092c905eb" providerId="ADAL" clId="{5DFDF105-2702-48F9-962A-B003707D7E04}" dt="2022-06-27T19:53:39.829" v="903" actId="1076"/>
          <pc:sldLayoutMkLst>
            <pc:docMk/>
            <pc:sldMasterMk cId="4233822947" sldId="2147483660"/>
            <pc:sldLayoutMk cId="4257734090" sldId="2147483969"/>
          </pc:sldLayoutMkLst>
          <pc:spChg chg="mod">
            <ac:chgData name="Dan Moore" userId="432a1231-f1bc-48da-b3ef-5b1092c905eb" providerId="ADAL" clId="{5DFDF105-2702-48F9-962A-B003707D7E04}" dt="2022-06-27T19:53:39.829" v="903" actId="1076"/>
            <ac:spMkLst>
              <pc:docMk/>
              <pc:sldMasterMk cId="4233822947" sldId="2147483660"/>
              <pc:sldLayoutMk cId="4257734090" sldId="2147483969"/>
              <ac:spMk id="4" creationId="{00000000-0000-0000-0000-000000000000}"/>
            </ac:spMkLst>
          </pc:spChg>
          <pc:spChg chg="del">
            <ac:chgData name="Dan Moore" userId="432a1231-f1bc-48da-b3ef-5b1092c905eb" providerId="ADAL" clId="{5DFDF105-2702-48F9-962A-B003707D7E04}" dt="2022-06-27T19:53:23.525" v="896" actId="478"/>
            <ac:spMkLst>
              <pc:docMk/>
              <pc:sldMasterMk cId="4233822947" sldId="2147483660"/>
              <pc:sldLayoutMk cId="4257734090" sldId="2147483969"/>
              <ac:spMk id="6" creationId="{E60CBD1C-0AFE-4EB9-94D7-943981FE05EE}"/>
            </ac:spMkLst>
          </pc:spChg>
        </pc:sldLayoutChg>
        <pc:sldLayoutChg chg="addSp delSp modSp mod setBg">
          <pc:chgData name="Dan Moore" userId="432a1231-f1bc-48da-b3ef-5b1092c905eb" providerId="ADAL" clId="{5DFDF105-2702-48F9-962A-B003707D7E04}" dt="2022-06-27T19:55:19.166" v="932" actId="207"/>
          <pc:sldLayoutMkLst>
            <pc:docMk/>
            <pc:sldMasterMk cId="4233822947" sldId="2147483660"/>
            <pc:sldLayoutMk cId="1097406432" sldId="2147483970"/>
          </pc:sldLayoutMkLst>
          <pc:spChg chg="del">
            <ac:chgData name="Dan Moore" userId="432a1231-f1bc-48da-b3ef-5b1092c905eb" providerId="ADAL" clId="{5DFDF105-2702-48F9-962A-B003707D7E04}" dt="2022-06-27T19:55:09.509" v="930" actId="478"/>
            <ac:spMkLst>
              <pc:docMk/>
              <pc:sldMasterMk cId="4233822947" sldId="2147483660"/>
              <pc:sldLayoutMk cId="1097406432" sldId="2147483970"/>
              <ac:spMk id="3" creationId="{BDBC305C-A9C3-4278-AFC0-C99DFD80A68A}"/>
            </ac:spMkLst>
          </pc:spChg>
          <pc:spChg chg="add mod">
            <ac:chgData name="Dan Moore" userId="432a1231-f1bc-48da-b3ef-5b1092c905eb" providerId="ADAL" clId="{5DFDF105-2702-48F9-962A-B003707D7E04}" dt="2022-06-27T19:55:19.166" v="932" actId="207"/>
            <ac:spMkLst>
              <pc:docMk/>
              <pc:sldMasterMk cId="4233822947" sldId="2147483660"/>
              <pc:sldLayoutMk cId="1097406432" sldId="2147483970"/>
              <ac:spMk id="4" creationId="{F3794EFB-C74A-3048-A890-DC380EEE7BC0}"/>
            </ac:spMkLst>
          </pc:spChg>
        </pc:sldLayoutChg>
        <pc:sldLayoutChg chg="addSp delSp modSp mod setBg">
          <pc:chgData name="Dan Moore" userId="432a1231-f1bc-48da-b3ef-5b1092c905eb" providerId="ADAL" clId="{5DFDF105-2702-48F9-962A-B003707D7E04}" dt="2022-06-27T19:55:33.203" v="935"/>
          <pc:sldLayoutMkLst>
            <pc:docMk/>
            <pc:sldMasterMk cId="4233822947" sldId="2147483660"/>
            <pc:sldLayoutMk cId="1422187648" sldId="2147483971"/>
          </pc:sldLayoutMkLst>
          <pc:spChg chg="del">
            <ac:chgData name="Dan Moore" userId="432a1231-f1bc-48da-b3ef-5b1092c905eb" providerId="ADAL" clId="{5DFDF105-2702-48F9-962A-B003707D7E04}" dt="2022-06-27T19:55:23.547" v="933" actId="478"/>
            <ac:spMkLst>
              <pc:docMk/>
              <pc:sldMasterMk cId="4233822947" sldId="2147483660"/>
              <pc:sldLayoutMk cId="1422187648" sldId="2147483971"/>
              <ac:spMk id="2" creationId="{DD6BBA0E-F7D2-427C-963D-FBEAB03CD881}"/>
            </ac:spMkLst>
          </pc:spChg>
          <pc:spChg chg="del">
            <ac:chgData name="Dan Moore" userId="432a1231-f1bc-48da-b3ef-5b1092c905eb" providerId="ADAL" clId="{5DFDF105-2702-48F9-962A-B003707D7E04}" dt="2022-06-27T19:55:25.768" v="934" actId="478"/>
            <ac:spMkLst>
              <pc:docMk/>
              <pc:sldMasterMk cId="4233822947" sldId="2147483660"/>
              <pc:sldLayoutMk cId="1422187648" sldId="2147483971"/>
              <ac:spMk id="3" creationId="{14A03040-0C38-47D8-856F-82713EB12CC5}"/>
            </ac:spMkLst>
          </pc:spChg>
          <pc:spChg chg="del mod">
            <ac:chgData name="Dan Moore" userId="432a1231-f1bc-48da-b3ef-5b1092c905eb" providerId="ADAL" clId="{5DFDF105-2702-48F9-962A-B003707D7E04}" dt="2022-06-27T19:49:48.547" v="855" actId="478"/>
            <ac:spMkLst>
              <pc:docMk/>
              <pc:sldMasterMk cId="4233822947" sldId="2147483660"/>
              <pc:sldLayoutMk cId="1422187648" sldId="2147483971"/>
              <ac:spMk id="4" creationId="{4ECE28AD-0ADA-4CBC-BAC6-22FA013BE8BE}"/>
            </ac:spMkLst>
          </pc:spChg>
          <pc:spChg chg="del">
            <ac:chgData name="Dan Moore" userId="432a1231-f1bc-48da-b3ef-5b1092c905eb" providerId="ADAL" clId="{5DFDF105-2702-48F9-962A-B003707D7E04}" dt="2022-06-27T19:49:48.547" v="855" actId="478"/>
            <ac:spMkLst>
              <pc:docMk/>
              <pc:sldMasterMk cId="4233822947" sldId="2147483660"/>
              <pc:sldLayoutMk cId="1422187648" sldId="2147483971"/>
              <ac:spMk id="5" creationId="{FD5F2CFD-409A-43C1-9102-D605C0A032BC}"/>
            </ac:spMkLst>
          </pc:spChg>
          <pc:spChg chg="del mod">
            <ac:chgData name="Dan Moore" userId="432a1231-f1bc-48da-b3ef-5b1092c905eb" providerId="ADAL" clId="{5DFDF105-2702-48F9-962A-B003707D7E04}" dt="2022-06-27T19:49:48.547" v="855" actId="478"/>
            <ac:spMkLst>
              <pc:docMk/>
              <pc:sldMasterMk cId="4233822947" sldId="2147483660"/>
              <pc:sldLayoutMk cId="1422187648" sldId="2147483971"/>
              <ac:spMk id="6" creationId="{4B54AD11-1237-4D97-9922-69CE0690C06B}"/>
            </ac:spMkLst>
          </pc:spChg>
          <pc:spChg chg="add mod">
            <ac:chgData name="Dan Moore" userId="432a1231-f1bc-48da-b3ef-5b1092c905eb" providerId="ADAL" clId="{5DFDF105-2702-48F9-962A-B003707D7E04}" dt="2022-06-27T19:55:33.203" v="935"/>
            <ac:spMkLst>
              <pc:docMk/>
              <pc:sldMasterMk cId="4233822947" sldId="2147483660"/>
              <pc:sldLayoutMk cId="1422187648" sldId="2147483971"/>
              <ac:spMk id="7" creationId="{14BF8EDA-037A-3EC1-DABD-7F8EBE0D4459}"/>
            </ac:spMkLst>
          </pc:spChg>
        </pc:sldLayoutChg>
        <pc:sldLayoutChg chg="addSp delSp modSp mod setBg">
          <pc:chgData name="Dan Moore" userId="432a1231-f1bc-48da-b3ef-5b1092c905eb" providerId="ADAL" clId="{5DFDF105-2702-48F9-962A-B003707D7E04}" dt="2022-06-27T19:55:57.447" v="941" actId="207"/>
          <pc:sldLayoutMkLst>
            <pc:docMk/>
            <pc:sldMasterMk cId="4233822947" sldId="2147483660"/>
            <pc:sldLayoutMk cId="3486731494" sldId="2147483972"/>
          </pc:sldLayoutMkLst>
          <pc:spChg chg="add mod">
            <ac:chgData name="Dan Moore" userId="432a1231-f1bc-48da-b3ef-5b1092c905eb" providerId="ADAL" clId="{5DFDF105-2702-48F9-962A-B003707D7E04}" dt="2022-06-27T19:55:57.447" v="941" actId="207"/>
            <ac:spMkLst>
              <pc:docMk/>
              <pc:sldMasterMk cId="4233822947" sldId="2147483660"/>
              <pc:sldLayoutMk cId="3486731494" sldId="2147483972"/>
              <ac:spMk id="5" creationId="{997211DF-3FD5-6043-ED3C-BAAD7D4D11A4}"/>
            </ac:spMkLst>
          </pc:spChg>
          <pc:spChg chg="del">
            <ac:chgData name="Dan Moore" userId="432a1231-f1bc-48da-b3ef-5b1092c905eb" providerId="ADAL" clId="{5DFDF105-2702-48F9-962A-B003707D7E04}" dt="2022-06-27T19:55:47.074" v="938" actId="478"/>
            <ac:spMkLst>
              <pc:docMk/>
              <pc:sldMasterMk cId="4233822947" sldId="2147483660"/>
              <pc:sldLayoutMk cId="3486731494" sldId="2147483972"/>
              <ac:spMk id="25" creationId="{00000000-0000-0000-0000-000000000000}"/>
            </ac:spMkLst>
          </pc:spChg>
          <pc:spChg chg="mod">
            <ac:chgData name="Dan Moore" userId="432a1231-f1bc-48da-b3ef-5b1092c905eb" providerId="ADAL" clId="{5DFDF105-2702-48F9-962A-B003707D7E04}" dt="2022-06-27T19:55:43.225" v="937" actId="207"/>
            <ac:spMkLst>
              <pc:docMk/>
              <pc:sldMasterMk cId="4233822947" sldId="2147483660"/>
              <pc:sldLayoutMk cId="3486731494" sldId="2147483972"/>
              <ac:spMk id="26" creationId="{00000000-0000-0000-0000-000000000000}"/>
            </ac:spMkLst>
          </pc:spChg>
          <pc:spChg chg="del">
            <ac:chgData name="Dan Moore" userId="432a1231-f1bc-48da-b3ef-5b1092c905eb" providerId="ADAL" clId="{5DFDF105-2702-48F9-962A-B003707D7E04}" dt="2022-06-27T19:55:48.518" v="939" actId="478"/>
            <ac:spMkLst>
              <pc:docMk/>
              <pc:sldMasterMk cId="4233822947" sldId="2147483660"/>
              <pc:sldLayoutMk cId="3486731494" sldId="2147483972"/>
              <ac:spMk id="27" creationId="{00000000-0000-0000-0000-000000000000}"/>
            </ac:spMkLst>
          </pc:spChg>
        </pc:sldLayoutChg>
        <pc:sldLayoutChg chg="delSp modSp add mod modTransition">
          <pc:chgData name="Dan Moore" userId="432a1231-f1bc-48da-b3ef-5b1092c905eb" providerId="ADAL" clId="{5DFDF105-2702-48F9-962A-B003707D7E04}" dt="2022-06-27T20:34:21.758" v="1307" actId="14100"/>
          <pc:sldLayoutMkLst>
            <pc:docMk/>
            <pc:sldMasterMk cId="4233822947" sldId="2147483660"/>
            <pc:sldLayoutMk cId="3730167617" sldId="2147483973"/>
          </pc:sldLayoutMkLst>
          <pc:spChg chg="mod">
            <ac:chgData name="Dan Moore" userId="432a1231-f1bc-48da-b3ef-5b1092c905eb" providerId="ADAL" clId="{5DFDF105-2702-48F9-962A-B003707D7E04}" dt="2022-06-27T20:34:21.758" v="1307" actId="14100"/>
            <ac:spMkLst>
              <pc:docMk/>
              <pc:sldMasterMk cId="4233822947" sldId="2147483660"/>
              <pc:sldLayoutMk cId="3730167617" sldId="2147483973"/>
              <ac:spMk id="9" creationId="{ECC5B513-C96F-C847-3460-B30CC6561D4C}"/>
            </ac:spMkLst>
          </pc:spChg>
          <pc:spChg chg="del">
            <ac:chgData name="Dan Moore" userId="432a1231-f1bc-48da-b3ef-5b1092c905eb" providerId="ADAL" clId="{5DFDF105-2702-48F9-962A-B003707D7E04}" dt="2022-06-27T20:34:15.008" v="1306" actId="478"/>
            <ac:spMkLst>
              <pc:docMk/>
              <pc:sldMasterMk cId="4233822947" sldId="2147483660"/>
              <pc:sldLayoutMk cId="3730167617" sldId="2147483973"/>
              <ac:spMk id="11" creationId="{4652622A-A20F-562D-1BAD-CE6697CA50F3}"/>
            </ac:spMkLst>
          </pc:spChg>
        </pc:sldLayoutChg>
      </pc:sldMasterChg>
      <pc:sldMasterChg chg="delSldLayout modSldLayout">
        <pc:chgData name="Dan Moore" userId="432a1231-f1bc-48da-b3ef-5b1092c905eb" providerId="ADAL" clId="{5DFDF105-2702-48F9-962A-B003707D7E04}" dt="2022-06-27T19:48:49.952" v="794" actId="2696"/>
        <pc:sldMasterMkLst>
          <pc:docMk/>
          <pc:sldMasterMk cId="2098670854" sldId="2147483672"/>
        </pc:sldMasterMkLst>
        <pc:sldLayoutChg chg="del">
          <pc:chgData name="Dan Moore" userId="432a1231-f1bc-48da-b3ef-5b1092c905eb" providerId="ADAL" clId="{5DFDF105-2702-48F9-962A-B003707D7E04}" dt="2022-06-27T19:48:49.952" v="794" actId="2696"/>
          <pc:sldLayoutMkLst>
            <pc:docMk/>
            <pc:sldMasterMk cId="2098670854" sldId="2147483672"/>
            <pc:sldLayoutMk cId="416970814" sldId="2147483673"/>
          </pc:sldLayoutMkLst>
        </pc:sldLayoutChg>
        <pc:sldLayoutChg chg="modSp mod">
          <pc:chgData name="Dan Moore" userId="432a1231-f1bc-48da-b3ef-5b1092c905eb" providerId="ADAL" clId="{5DFDF105-2702-48F9-962A-B003707D7E04}" dt="2022-06-27T19:48:44.588" v="793" actId="20577"/>
          <pc:sldLayoutMkLst>
            <pc:docMk/>
            <pc:sldMasterMk cId="2098670854" sldId="2147483672"/>
            <pc:sldLayoutMk cId="3791977415" sldId="2147483674"/>
          </pc:sldLayoutMkLst>
          <pc:spChg chg="mod">
            <ac:chgData name="Dan Moore" userId="432a1231-f1bc-48da-b3ef-5b1092c905eb" providerId="ADAL" clId="{5DFDF105-2702-48F9-962A-B003707D7E04}" dt="2022-06-27T19:48:44.588" v="793" actId="20577"/>
            <ac:spMkLst>
              <pc:docMk/>
              <pc:sldMasterMk cId="2098670854" sldId="2147483672"/>
              <pc:sldLayoutMk cId="3791977415" sldId="2147483674"/>
              <ac:spMk id="3" creationId="{74688679-AB88-4BC4-8D1E-8859723BC1EC}"/>
            </ac:spMkLst>
          </pc:spChg>
        </pc:sldLayoutChg>
      </pc:sldMasterChg>
      <pc:sldMasterChg chg="delSldLayout">
        <pc:chgData name="Dan Moore" userId="432a1231-f1bc-48da-b3ef-5b1092c905eb" providerId="ADAL" clId="{5DFDF105-2702-48F9-962A-B003707D7E04}" dt="2022-06-27T19:49:03.234" v="822" actId="2696"/>
        <pc:sldMasterMkLst>
          <pc:docMk/>
          <pc:sldMasterMk cId="456565554" sldId="2147483684"/>
        </pc:sldMasterMkLst>
        <pc:sldLayoutChg chg="del">
          <pc:chgData name="Dan Moore" userId="432a1231-f1bc-48da-b3ef-5b1092c905eb" providerId="ADAL" clId="{5DFDF105-2702-48F9-962A-B003707D7E04}" dt="2022-06-27T19:48:57.376" v="795" actId="2696"/>
          <pc:sldLayoutMkLst>
            <pc:docMk/>
            <pc:sldMasterMk cId="456565554" sldId="2147483684"/>
            <pc:sldLayoutMk cId="2466394416" sldId="2147483686"/>
          </pc:sldLayoutMkLst>
        </pc:sldLayoutChg>
        <pc:sldLayoutChg chg="del">
          <pc:chgData name="Dan Moore" userId="432a1231-f1bc-48da-b3ef-5b1092c905eb" providerId="ADAL" clId="{5DFDF105-2702-48F9-962A-B003707D7E04}" dt="2022-06-27T19:48:57.930" v="796" actId="2696"/>
          <pc:sldLayoutMkLst>
            <pc:docMk/>
            <pc:sldMasterMk cId="456565554" sldId="2147483684"/>
            <pc:sldLayoutMk cId="2774653839" sldId="2147483687"/>
          </pc:sldLayoutMkLst>
        </pc:sldLayoutChg>
        <pc:sldLayoutChg chg="del">
          <pc:chgData name="Dan Moore" userId="432a1231-f1bc-48da-b3ef-5b1092c905eb" providerId="ADAL" clId="{5DFDF105-2702-48F9-962A-B003707D7E04}" dt="2022-06-27T19:48:58.331" v="797" actId="2696"/>
          <pc:sldLayoutMkLst>
            <pc:docMk/>
            <pc:sldMasterMk cId="456565554" sldId="2147483684"/>
            <pc:sldLayoutMk cId="198354895" sldId="2147483688"/>
          </pc:sldLayoutMkLst>
        </pc:sldLayoutChg>
        <pc:sldLayoutChg chg="del">
          <pc:chgData name="Dan Moore" userId="432a1231-f1bc-48da-b3ef-5b1092c905eb" providerId="ADAL" clId="{5DFDF105-2702-48F9-962A-B003707D7E04}" dt="2022-06-27T19:48:58.748" v="798" actId="2696"/>
          <pc:sldLayoutMkLst>
            <pc:docMk/>
            <pc:sldMasterMk cId="456565554" sldId="2147483684"/>
            <pc:sldLayoutMk cId="3125292828" sldId="2147483689"/>
          </pc:sldLayoutMkLst>
        </pc:sldLayoutChg>
        <pc:sldLayoutChg chg="del">
          <pc:chgData name="Dan Moore" userId="432a1231-f1bc-48da-b3ef-5b1092c905eb" providerId="ADAL" clId="{5DFDF105-2702-48F9-962A-B003707D7E04}" dt="2022-06-27T19:48:59.081" v="799" actId="2696"/>
          <pc:sldLayoutMkLst>
            <pc:docMk/>
            <pc:sldMasterMk cId="456565554" sldId="2147483684"/>
            <pc:sldLayoutMk cId="4285548106" sldId="2147483690"/>
          </pc:sldLayoutMkLst>
        </pc:sldLayoutChg>
        <pc:sldLayoutChg chg="del">
          <pc:chgData name="Dan Moore" userId="432a1231-f1bc-48da-b3ef-5b1092c905eb" providerId="ADAL" clId="{5DFDF105-2702-48F9-962A-B003707D7E04}" dt="2022-06-27T19:48:59.451" v="800" actId="2696"/>
          <pc:sldLayoutMkLst>
            <pc:docMk/>
            <pc:sldMasterMk cId="456565554" sldId="2147483684"/>
            <pc:sldLayoutMk cId="2797957553" sldId="2147483691"/>
          </pc:sldLayoutMkLst>
        </pc:sldLayoutChg>
        <pc:sldLayoutChg chg="del">
          <pc:chgData name="Dan Moore" userId="432a1231-f1bc-48da-b3ef-5b1092c905eb" providerId="ADAL" clId="{5DFDF105-2702-48F9-962A-B003707D7E04}" dt="2022-06-27T19:48:59.752" v="801" actId="2696"/>
          <pc:sldLayoutMkLst>
            <pc:docMk/>
            <pc:sldMasterMk cId="456565554" sldId="2147483684"/>
            <pc:sldLayoutMk cId="3488951270" sldId="2147483692"/>
          </pc:sldLayoutMkLst>
        </pc:sldLayoutChg>
        <pc:sldLayoutChg chg="del">
          <pc:chgData name="Dan Moore" userId="432a1231-f1bc-48da-b3ef-5b1092c905eb" providerId="ADAL" clId="{5DFDF105-2702-48F9-962A-B003707D7E04}" dt="2022-06-27T19:49:00.021" v="802" actId="2696"/>
          <pc:sldLayoutMkLst>
            <pc:docMk/>
            <pc:sldMasterMk cId="456565554" sldId="2147483684"/>
            <pc:sldLayoutMk cId="1210484695" sldId="2147483693"/>
          </pc:sldLayoutMkLst>
        </pc:sldLayoutChg>
        <pc:sldLayoutChg chg="del">
          <pc:chgData name="Dan Moore" userId="432a1231-f1bc-48da-b3ef-5b1092c905eb" providerId="ADAL" clId="{5DFDF105-2702-48F9-962A-B003707D7E04}" dt="2022-06-27T19:49:00.222" v="803" actId="2696"/>
          <pc:sldLayoutMkLst>
            <pc:docMk/>
            <pc:sldMasterMk cId="456565554" sldId="2147483684"/>
            <pc:sldLayoutMk cId="2384439853" sldId="2147483694"/>
          </pc:sldLayoutMkLst>
        </pc:sldLayoutChg>
        <pc:sldLayoutChg chg="del">
          <pc:chgData name="Dan Moore" userId="432a1231-f1bc-48da-b3ef-5b1092c905eb" providerId="ADAL" clId="{5DFDF105-2702-48F9-962A-B003707D7E04}" dt="2022-06-27T19:49:00.369" v="804" actId="2696"/>
          <pc:sldLayoutMkLst>
            <pc:docMk/>
            <pc:sldMasterMk cId="456565554" sldId="2147483684"/>
            <pc:sldLayoutMk cId="2128891967" sldId="2147483695"/>
          </pc:sldLayoutMkLst>
        </pc:sldLayoutChg>
        <pc:sldLayoutChg chg="del">
          <pc:chgData name="Dan Moore" userId="432a1231-f1bc-48da-b3ef-5b1092c905eb" providerId="ADAL" clId="{5DFDF105-2702-48F9-962A-B003707D7E04}" dt="2022-06-27T19:49:00.523" v="805" actId="2696"/>
          <pc:sldLayoutMkLst>
            <pc:docMk/>
            <pc:sldMasterMk cId="456565554" sldId="2147483684"/>
            <pc:sldLayoutMk cId="2101350436" sldId="2147483696"/>
          </pc:sldLayoutMkLst>
        </pc:sldLayoutChg>
        <pc:sldLayoutChg chg="del">
          <pc:chgData name="Dan Moore" userId="432a1231-f1bc-48da-b3ef-5b1092c905eb" providerId="ADAL" clId="{5DFDF105-2702-48F9-962A-B003707D7E04}" dt="2022-06-27T19:49:00.701" v="806" actId="2696"/>
          <pc:sldLayoutMkLst>
            <pc:docMk/>
            <pc:sldMasterMk cId="456565554" sldId="2147483684"/>
            <pc:sldLayoutMk cId="3777424939" sldId="2147483697"/>
          </pc:sldLayoutMkLst>
        </pc:sldLayoutChg>
        <pc:sldLayoutChg chg="del">
          <pc:chgData name="Dan Moore" userId="432a1231-f1bc-48da-b3ef-5b1092c905eb" providerId="ADAL" clId="{5DFDF105-2702-48F9-962A-B003707D7E04}" dt="2022-06-27T19:49:00.839" v="807" actId="2696"/>
          <pc:sldLayoutMkLst>
            <pc:docMk/>
            <pc:sldMasterMk cId="456565554" sldId="2147483684"/>
            <pc:sldLayoutMk cId="2128885897" sldId="2147483698"/>
          </pc:sldLayoutMkLst>
        </pc:sldLayoutChg>
        <pc:sldLayoutChg chg="del">
          <pc:chgData name="Dan Moore" userId="432a1231-f1bc-48da-b3ef-5b1092c905eb" providerId="ADAL" clId="{5DFDF105-2702-48F9-962A-B003707D7E04}" dt="2022-06-27T19:49:01.008" v="808" actId="2696"/>
          <pc:sldLayoutMkLst>
            <pc:docMk/>
            <pc:sldMasterMk cId="456565554" sldId="2147483684"/>
            <pc:sldLayoutMk cId="1936287983" sldId="2147483699"/>
          </pc:sldLayoutMkLst>
        </pc:sldLayoutChg>
        <pc:sldLayoutChg chg="del">
          <pc:chgData name="Dan Moore" userId="432a1231-f1bc-48da-b3ef-5b1092c905eb" providerId="ADAL" clId="{5DFDF105-2702-48F9-962A-B003707D7E04}" dt="2022-06-27T19:49:01.171" v="809" actId="2696"/>
          <pc:sldLayoutMkLst>
            <pc:docMk/>
            <pc:sldMasterMk cId="456565554" sldId="2147483684"/>
            <pc:sldLayoutMk cId="949742846" sldId="2147483700"/>
          </pc:sldLayoutMkLst>
        </pc:sldLayoutChg>
        <pc:sldLayoutChg chg="del">
          <pc:chgData name="Dan Moore" userId="432a1231-f1bc-48da-b3ef-5b1092c905eb" providerId="ADAL" clId="{5DFDF105-2702-48F9-962A-B003707D7E04}" dt="2022-06-27T19:49:01.325" v="810" actId="2696"/>
          <pc:sldLayoutMkLst>
            <pc:docMk/>
            <pc:sldMasterMk cId="456565554" sldId="2147483684"/>
            <pc:sldLayoutMk cId="2612228341" sldId="2147483701"/>
          </pc:sldLayoutMkLst>
        </pc:sldLayoutChg>
        <pc:sldLayoutChg chg="del">
          <pc:chgData name="Dan Moore" userId="432a1231-f1bc-48da-b3ef-5b1092c905eb" providerId="ADAL" clId="{5DFDF105-2702-48F9-962A-B003707D7E04}" dt="2022-06-27T19:49:01.472" v="811" actId="2696"/>
          <pc:sldLayoutMkLst>
            <pc:docMk/>
            <pc:sldMasterMk cId="456565554" sldId="2147483684"/>
            <pc:sldLayoutMk cId="2265638449" sldId="2147483702"/>
          </pc:sldLayoutMkLst>
        </pc:sldLayoutChg>
        <pc:sldLayoutChg chg="del">
          <pc:chgData name="Dan Moore" userId="432a1231-f1bc-48da-b3ef-5b1092c905eb" providerId="ADAL" clId="{5DFDF105-2702-48F9-962A-B003707D7E04}" dt="2022-06-27T19:49:01.643" v="812" actId="2696"/>
          <pc:sldLayoutMkLst>
            <pc:docMk/>
            <pc:sldMasterMk cId="456565554" sldId="2147483684"/>
            <pc:sldLayoutMk cId="3036192277" sldId="2147483703"/>
          </pc:sldLayoutMkLst>
        </pc:sldLayoutChg>
        <pc:sldLayoutChg chg="del">
          <pc:chgData name="Dan Moore" userId="432a1231-f1bc-48da-b3ef-5b1092c905eb" providerId="ADAL" clId="{5DFDF105-2702-48F9-962A-B003707D7E04}" dt="2022-06-27T19:49:01.805" v="813" actId="2696"/>
          <pc:sldLayoutMkLst>
            <pc:docMk/>
            <pc:sldMasterMk cId="456565554" sldId="2147483684"/>
            <pc:sldLayoutMk cId="2290064879" sldId="2147483704"/>
          </pc:sldLayoutMkLst>
        </pc:sldLayoutChg>
        <pc:sldLayoutChg chg="del">
          <pc:chgData name="Dan Moore" userId="432a1231-f1bc-48da-b3ef-5b1092c905eb" providerId="ADAL" clId="{5DFDF105-2702-48F9-962A-B003707D7E04}" dt="2022-06-27T19:49:01.959" v="814" actId="2696"/>
          <pc:sldLayoutMkLst>
            <pc:docMk/>
            <pc:sldMasterMk cId="456565554" sldId="2147483684"/>
            <pc:sldLayoutMk cId="2142713839" sldId="2147483705"/>
          </pc:sldLayoutMkLst>
        </pc:sldLayoutChg>
        <pc:sldLayoutChg chg="del">
          <pc:chgData name="Dan Moore" userId="432a1231-f1bc-48da-b3ef-5b1092c905eb" providerId="ADAL" clId="{5DFDF105-2702-48F9-962A-B003707D7E04}" dt="2022-06-27T19:49:02.131" v="815" actId="2696"/>
          <pc:sldLayoutMkLst>
            <pc:docMk/>
            <pc:sldMasterMk cId="456565554" sldId="2147483684"/>
            <pc:sldLayoutMk cId="2534688893" sldId="2147483706"/>
          </pc:sldLayoutMkLst>
        </pc:sldLayoutChg>
        <pc:sldLayoutChg chg="del">
          <pc:chgData name="Dan Moore" userId="432a1231-f1bc-48da-b3ef-5b1092c905eb" providerId="ADAL" clId="{5DFDF105-2702-48F9-962A-B003707D7E04}" dt="2022-06-27T19:49:02.273" v="816" actId="2696"/>
          <pc:sldLayoutMkLst>
            <pc:docMk/>
            <pc:sldMasterMk cId="456565554" sldId="2147483684"/>
            <pc:sldLayoutMk cId="780247469" sldId="2147483707"/>
          </pc:sldLayoutMkLst>
        </pc:sldLayoutChg>
        <pc:sldLayoutChg chg="del">
          <pc:chgData name="Dan Moore" userId="432a1231-f1bc-48da-b3ef-5b1092c905eb" providerId="ADAL" clId="{5DFDF105-2702-48F9-962A-B003707D7E04}" dt="2022-06-27T19:49:02.445" v="817" actId="2696"/>
          <pc:sldLayoutMkLst>
            <pc:docMk/>
            <pc:sldMasterMk cId="456565554" sldId="2147483684"/>
            <pc:sldLayoutMk cId="781081177" sldId="2147483708"/>
          </pc:sldLayoutMkLst>
        </pc:sldLayoutChg>
        <pc:sldLayoutChg chg="del">
          <pc:chgData name="Dan Moore" userId="432a1231-f1bc-48da-b3ef-5b1092c905eb" providerId="ADAL" clId="{5DFDF105-2702-48F9-962A-B003707D7E04}" dt="2022-06-27T19:49:02.601" v="818" actId="2696"/>
          <pc:sldLayoutMkLst>
            <pc:docMk/>
            <pc:sldMasterMk cId="456565554" sldId="2147483684"/>
            <pc:sldLayoutMk cId="1339555054" sldId="2147483709"/>
          </pc:sldLayoutMkLst>
        </pc:sldLayoutChg>
        <pc:sldLayoutChg chg="del">
          <pc:chgData name="Dan Moore" userId="432a1231-f1bc-48da-b3ef-5b1092c905eb" providerId="ADAL" clId="{5DFDF105-2702-48F9-962A-B003707D7E04}" dt="2022-06-27T19:49:02.848" v="819" actId="2696"/>
          <pc:sldLayoutMkLst>
            <pc:docMk/>
            <pc:sldMasterMk cId="456565554" sldId="2147483684"/>
            <pc:sldLayoutMk cId="2614888504" sldId="2147483710"/>
          </pc:sldLayoutMkLst>
        </pc:sldLayoutChg>
        <pc:sldLayoutChg chg="del">
          <pc:chgData name="Dan Moore" userId="432a1231-f1bc-48da-b3ef-5b1092c905eb" providerId="ADAL" clId="{5DFDF105-2702-48F9-962A-B003707D7E04}" dt="2022-06-27T19:49:02.917" v="820" actId="2696"/>
          <pc:sldLayoutMkLst>
            <pc:docMk/>
            <pc:sldMasterMk cId="456565554" sldId="2147483684"/>
            <pc:sldLayoutMk cId="3714239997" sldId="2147483711"/>
          </pc:sldLayoutMkLst>
        </pc:sldLayoutChg>
        <pc:sldLayoutChg chg="del">
          <pc:chgData name="Dan Moore" userId="432a1231-f1bc-48da-b3ef-5b1092c905eb" providerId="ADAL" clId="{5DFDF105-2702-48F9-962A-B003707D7E04}" dt="2022-06-27T19:49:03.087" v="821" actId="2696"/>
          <pc:sldLayoutMkLst>
            <pc:docMk/>
            <pc:sldMasterMk cId="456565554" sldId="2147483684"/>
            <pc:sldLayoutMk cId="2978023007" sldId="2147483712"/>
          </pc:sldLayoutMkLst>
        </pc:sldLayoutChg>
        <pc:sldLayoutChg chg="del">
          <pc:chgData name="Dan Moore" userId="432a1231-f1bc-48da-b3ef-5b1092c905eb" providerId="ADAL" clId="{5DFDF105-2702-48F9-962A-B003707D7E04}" dt="2022-06-27T19:49:03.234" v="822" actId="2696"/>
          <pc:sldLayoutMkLst>
            <pc:docMk/>
            <pc:sldMasterMk cId="456565554" sldId="2147483684"/>
            <pc:sldLayoutMk cId="1719624945" sldId="2147483713"/>
          </pc:sldLayoutMkLst>
        </pc:sldLayoutChg>
      </pc:sldMasterChg>
      <pc:sldMasterChg chg="del delSldLayout">
        <pc:chgData name="Dan Moore" userId="432a1231-f1bc-48da-b3ef-5b1092c905eb" providerId="ADAL" clId="{5DFDF105-2702-48F9-962A-B003707D7E04}" dt="2022-06-27T19:49:19.142" v="847" actId="2696"/>
        <pc:sldMasterMkLst>
          <pc:docMk/>
          <pc:sldMasterMk cId="480755092" sldId="2147483715"/>
        </pc:sldMasterMkLst>
        <pc:sldLayoutChg chg="del">
          <pc:chgData name="Dan Moore" userId="432a1231-f1bc-48da-b3ef-5b1092c905eb" providerId="ADAL" clId="{5DFDF105-2702-48F9-962A-B003707D7E04}" dt="2022-06-27T19:49:19.041" v="823" actId="2696"/>
          <pc:sldLayoutMkLst>
            <pc:docMk/>
            <pc:sldMasterMk cId="480755092" sldId="2147483715"/>
            <pc:sldLayoutMk cId="4102651898" sldId="2147483716"/>
          </pc:sldLayoutMkLst>
        </pc:sldLayoutChg>
        <pc:sldLayoutChg chg="del">
          <pc:chgData name="Dan Moore" userId="432a1231-f1bc-48da-b3ef-5b1092c905eb" providerId="ADAL" clId="{5DFDF105-2702-48F9-962A-B003707D7E04}" dt="2022-06-27T19:49:19.041" v="824" actId="2696"/>
          <pc:sldLayoutMkLst>
            <pc:docMk/>
            <pc:sldMasterMk cId="480755092" sldId="2147483715"/>
            <pc:sldLayoutMk cId="4068902161" sldId="2147483717"/>
          </pc:sldLayoutMkLst>
        </pc:sldLayoutChg>
        <pc:sldLayoutChg chg="del">
          <pc:chgData name="Dan Moore" userId="432a1231-f1bc-48da-b3ef-5b1092c905eb" providerId="ADAL" clId="{5DFDF105-2702-48F9-962A-B003707D7E04}" dt="2022-06-27T19:49:19.041" v="825" actId="2696"/>
          <pc:sldLayoutMkLst>
            <pc:docMk/>
            <pc:sldMasterMk cId="480755092" sldId="2147483715"/>
            <pc:sldLayoutMk cId="1067511923" sldId="2147483718"/>
          </pc:sldLayoutMkLst>
        </pc:sldLayoutChg>
        <pc:sldLayoutChg chg="del">
          <pc:chgData name="Dan Moore" userId="432a1231-f1bc-48da-b3ef-5b1092c905eb" providerId="ADAL" clId="{5DFDF105-2702-48F9-962A-B003707D7E04}" dt="2022-06-27T19:49:19.057" v="826" actId="2696"/>
          <pc:sldLayoutMkLst>
            <pc:docMk/>
            <pc:sldMasterMk cId="480755092" sldId="2147483715"/>
            <pc:sldLayoutMk cId="2821685767" sldId="2147483719"/>
          </pc:sldLayoutMkLst>
        </pc:sldLayoutChg>
        <pc:sldLayoutChg chg="del">
          <pc:chgData name="Dan Moore" userId="432a1231-f1bc-48da-b3ef-5b1092c905eb" providerId="ADAL" clId="{5DFDF105-2702-48F9-962A-B003707D7E04}" dt="2022-06-27T19:49:19.057" v="827" actId="2696"/>
          <pc:sldLayoutMkLst>
            <pc:docMk/>
            <pc:sldMasterMk cId="480755092" sldId="2147483715"/>
            <pc:sldLayoutMk cId="309500393" sldId="2147483720"/>
          </pc:sldLayoutMkLst>
        </pc:sldLayoutChg>
        <pc:sldLayoutChg chg="del">
          <pc:chgData name="Dan Moore" userId="432a1231-f1bc-48da-b3ef-5b1092c905eb" providerId="ADAL" clId="{5DFDF105-2702-48F9-962A-B003707D7E04}" dt="2022-06-27T19:49:19.057" v="828" actId="2696"/>
          <pc:sldLayoutMkLst>
            <pc:docMk/>
            <pc:sldMasterMk cId="480755092" sldId="2147483715"/>
            <pc:sldLayoutMk cId="1537749588" sldId="2147483721"/>
          </pc:sldLayoutMkLst>
        </pc:sldLayoutChg>
        <pc:sldLayoutChg chg="del">
          <pc:chgData name="Dan Moore" userId="432a1231-f1bc-48da-b3ef-5b1092c905eb" providerId="ADAL" clId="{5DFDF105-2702-48F9-962A-B003707D7E04}" dt="2022-06-27T19:49:19.057" v="829" actId="2696"/>
          <pc:sldLayoutMkLst>
            <pc:docMk/>
            <pc:sldMasterMk cId="480755092" sldId="2147483715"/>
            <pc:sldLayoutMk cId="3834207760" sldId="2147483722"/>
          </pc:sldLayoutMkLst>
        </pc:sldLayoutChg>
        <pc:sldLayoutChg chg="del">
          <pc:chgData name="Dan Moore" userId="432a1231-f1bc-48da-b3ef-5b1092c905eb" providerId="ADAL" clId="{5DFDF105-2702-48F9-962A-B003707D7E04}" dt="2022-06-27T19:49:19.073" v="830" actId="2696"/>
          <pc:sldLayoutMkLst>
            <pc:docMk/>
            <pc:sldMasterMk cId="480755092" sldId="2147483715"/>
            <pc:sldLayoutMk cId="2067146026" sldId="2147483723"/>
          </pc:sldLayoutMkLst>
        </pc:sldLayoutChg>
        <pc:sldLayoutChg chg="del">
          <pc:chgData name="Dan Moore" userId="432a1231-f1bc-48da-b3ef-5b1092c905eb" providerId="ADAL" clId="{5DFDF105-2702-48F9-962A-B003707D7E04}" dt="2022-06-27T19:49:19.073" v="831" actId="2696"/>
          <pc:sldLayoutMkLst>
            <pc:docMk/>
            <pc:sldMasterMk cId="480755092" sldId="2147483715"/>
            <pc:sldLayoutMk cId="3149566218" sldId="2147483724"/>
          </pc:sldLayoutMkLst>
        </pc:sldLayoutChg>
        <pc:sldLayoutChg chg="del">
          <pc:chgData name="Dan Moore" userId="432a1231-f1bc-48da-b3ef-5b1092c905eb" providerId="ADAL" clId="{5DFDF105-2702-48F9-962A-B003707D7E04}" dt="2022-06-27T19:49:19.073" v="832" actId="2696"/>
          <pc:sldLayoutMkLst>
            <pc:docMk/>
            <pc:sldMasterMk cId="480755092" sldId="2147483715"/>
            <pc:sldLayoutMk cId="1752387546" sldId="2147483725"/>
          </pc:sldLayoutMkLst>
        </pc:sldLayoutChg>
        <pc:sldLayoutChg chg="del">
          <pc:chgData name="Dan Moore" userId="432a1231-f1bc-48da-b3ef-5b1092c905eb" providerId="ADAL" clId="{5DFDF105-2702-48F9-962A-B003707D7E04}" dt="2022-06-27T19:49:19.088" v="833" actId="2696"/>
          <pc:sldLayoutMkLst>
            <pc:docMk/>
            <pc:sldMasterMk cId="480755092" sldId="2147483715"/>
            <pc:sldLayoutMk cId="3569705673" sldId="2147483726"/>
          </pc:sldLayoutMkLst>
        </pc:sldLayoutChg>
        <pc:sldLayoutChg chg="del">
          <pc:chgData name="Dan Moore" userId="432a1231-f1bc-48da-b3ef-5b1092c905eb" providerId="ADAL" clId="{5DFDF105-2702-48F9-962A-B003707D7E04}" dt="2022-06-27T19:49:19.088" v="834" actId="2696"/>
          <pc:sldLayoutMkLst>
            <pc:docMk/>
            <pc:sldMasterMk cId="480755092" sldId="2147483715"/>
            <pc:sldLayoutMk cId="1072782606" sldId="2147483727"/>
          </pc:sldLayoutMkLst>
        </pc:sldLayoutChg>
        <pc:sldLayoutChg chg="del">
          <pc:chgData name="Dan Moore" userId="432a1231-f1bc-48da-b3ef-5b1092c905eb" providerId="ADAL" clId="{5DFDF105-2702-48F9-962A-B003707D7E04}" dt="2022-06-27T19:49:19.088" v="835" actId="2696"/>
          <pc:sldLayoutMkLst>
            <pc:docMk/>
            <pc:sldMasterMk cId="480755092" sldId="2147483715"/>
            <pc:sldLayoutMk cId="680651108" sldId="2147483728"/>
          </pc:sldLayoutMkLst>
        </pc:sldLayoutChg>
        <pc:sldLayoutChg chg="del">
          <pc:chgData name="Dan Moore" userId="432a1231-f1bc-48da-b3ef-5b1092c905eb" providerId="ADAL" clId="{5DFDF105-2702-48F9-962A-B003707D7E04}" dt="2022-06-27T19:49:19.088" v="836" actId="2696"/>
          <pc:sldLayoutMkLst>
            <pc:docMk/>
            <pc:sldMasterMk cId="480755092" sldId="2147483715"/>
            <pc:sldLayoutMk cId="3588379590" sldId="2147483729"/>
          </pc:sldLayoutMkLst>
        </pc:sldLayoutChg>
        <pc:sldLayoutChg chg="del">
          <pc:chgData name="Dan Moore" userId="432a1231-f1bc-48da-b3ef-5b1092c905eb" providerId="ADAL" clId="{5DFDF105-2702-48F9-962A-B003707D7E04}" dt="2022-06-27T19:49:19.104" v="837" actId="2696"/>
          <pc:sldLayoutMkLst>
            <pc:docMk/>
            <pc:sldMasterMk cId="480755092" sldId="2147483715"/>
            <pc:sldLayoutMk cId="3564584364" sldId="2147483730"/>
          </pc:sldLayoutMkLst>
        </pc:sldLayoutChg>
        <pc:sldLayoutChg chg="del">
          <pc:chgData name="Dan Moore" userId="432a1231-f1bc-48da-b3ef-5b1092c905eb" providerId="ADAL" clId="{5DFDF105-2702-48F9-962A-B003707D7E04}" dt="2022-06-27T19:49:19.110" v="838" actId="2696"/>
          <pc:sldLayoutMkLst>
            <pc:docMk/>
            <pc:sldMasterMk cId="480755092" sldId="2147483715"/>
            <pc:sldLayoutMk cId="2624381901" sldId="2147483731"/>
          </pc:sldLayoutMkLst>
        </pc:sldLayoutChg>
        <pc:sldLayoutChg chg="del">
          <pc:chgData name="Dan Moore" userId="432a1231-f1bc-48da-b3ef-5b1092c905eb" providerId="ADAL" clId="{5DFDF105-2702-48F9-962A-B003707D7E04}" dt="2022-06-27T19:49:19.110" v="839" actId="2696"/>
          <pc:sldLayoutMkLst>
            <pc:docMk/>
            <pc:sldMasterMk cId="480755092" sldId="2147483715"/>
            <pc:sldLayoutMk cId="247344399" sldId="2147483732"/>
          </pc:sldLayoutMkLst>
        </pc:sldLayoutChg>
        <pc:sldLayoutChg chg="del">
          <pc:chgData name="Dan Moore" userId="432a1231-f1bc-48da-b3ef-5b1092c905eb" providerId="ADAL" clId="{5DFDF105-2702-48F9-962A-B003707D7E04}" dt="2022-06-27T19:49:19.110" v="840" actId="2696"/>
          <pc:sldLayoutMkLst>
            <pc:docMk/>
            <pc:sldMasterMk cId="480755092" sldId="2147483715"/>
            <pc:sldLayoutMk cId="3694335840" sldId="2147483733"/>
          </pc:sldLayoutMkLst>
        </pc:sldLayoutChg>
        <pc:sldLayoutChg chg="del">
          <pc:chgData name="Dan Moore" userId="432a1231-f1bc-48da-b3ef-5b1092c905eb" providerId="ADAL" clId="{5DFDF105-2702-48F9-962A-B003707D7E04}" dt="2022-06-27T19:49:19.126" v="841" actId="2696"/>
          <pc:sldLayoutMkLst>
            <pc:docMk/>
            <pc:sldMasterMk cId="480755092" sldId="2147483715"/>
            <pc:sldLayoutMk cId="2153939993" sldId="2147483734"/>
          </pc:sldLayoutMkLst>
        </pc:sldLayoutChg>
        <pc:sldLayoutChg chg="del">
          <pc:chgData name="Dan Moore" userId="432a1231-f1bc-48da-b3ef-5b1092c905eb" providerId="ADAL" clId="{5DFDF105-2702-48F9-962A-B003707D7E04}" dt="2022-06-27T19:49:19.126" v="842" actId="2696"/>
          <pc:sldLayoutMkLst>
            <pc:docMk/>
            <pc:sldMasterMk cId="480755092" sldId="2147483715"/>
            <pc:sldLayoutMk cId="2285933666" sldId="2147483735"/>
          </pc:sldLayoutMkLst>
        </pc:sldLayoutChg>
        <pc:sldLayoutChg chg="del">
          <pc:chgData name="Dan Moore" userId="432a1231-f1bc-48da-b3ef-5b1092c905eb" providerId="ADAL" clId="{5DFDF105-2702-48F9-962A-B003707D7E04}" dt="2022-06-27T19:49:19.126" v="843" actId="2696"/>
          <pc:sldLayoutMkLst>
            <pc:docMk/>
            <pc:sldMasterMk cId="480755092" sldId="2147483715"/>
            <pc:sldLayoutMk cId="2968543237" sldId="2147483736"/>
          </pc:sldLayoutMkLst>
        </pc:sldLayoutChg>
        <pc:sldLayoutChg chg="del">
          <pc:chgData name="Dan Moore" userId="432a1231-f1bc-48da-b3ef-5b1092c905eb" providerId="ADAL" clId="{5DFDF105-2702-48F9-962A-B003707D7E04}" dt="2022-06-27T19:49:19.126" v="844" actId="2696"/>
          <pc:sldLayoutMkLst>
            <pc:docMk/>
            <pc:sldMasterMk cId="480755092" sldId="2147483715"/>
            <pc:sldLayoutMk cId="2895468694" sldId="2147483738"/>
          </pc:sldLayoutMkLst>
        </pc:sldLayoutChg>
        <pc:sldLayoutChg chg="del">
          <pc:chgData name="Dan Moore" userId="432a1231-f1bc-48da-b3ef-5b1092c905eb" providerId="ADAL" clId="{5DFDF105-2702-48F9-962A-B003707D7E04}" dt="2022-06-27T19:49:19.142" v="845" actId="2696"/>
          <pc:sldLayoutMkLst>
            <pc:docMk/>
            <pc:sldMasterMk cId="480755092" sldId="2147483715"/>
            <pc:sldLayoutMk cId="2709536041" sldId="2147483739"/>
          </pc:sldLayoutMkLst>
        </pc:sldLayoutChg>
        <pc:sldLayoutChg chg="del">
          <pc:chgData name="Dan Moore" userId="432a1231-f1bc-48da-b3ef-5b1092c905eb" providerId="ADAL" clId="{5DFDF105-2702-48F9-962A-B003707D7E04}" dt="2022-06-27T19:49:19.142" v="846" actId="2696"/>
          <pc:sldLayoutMkLst>
            <pc:docMk/>
            <pc:sldMasterMk cId="480755092" sldId="2147483715"/>
            <pc:sldLayoutMk cId="1323572889" sldId="2147483740"/>
          </pc:sldLayoutMkLst>
        </pc:sldLayoutChg>
      </pc:sldMasterChg>
    </pc:docChg>
  </pc:docChgLst>
  <pc:docChgLst>
    <pc:chgData name="Reuben Issac Jacob" userId="a26d73c9-1689-41bd-af50-ef825e838770" providerId="ADAL" clId="{F452BC9E-5BE8-4A0B-9F00-66A7219A31DE}"/>
    <pc:docChg chg="undo redo custSel addSld delSld modSld sldOrd delMainMaster">
      <pc:chgData name="Reuben Issac Jacob" userId="a26d73c9-1689-41bd-af50-ef825e838770" providerId="ADAL" clId="{F452BC9E-5BE8-4A0B-9F00-66A7219A31DE}" dt="2022-06-30T14:41:55.182" v="4090" actId="207"/>
      <pc:docMkLst>
        <pc:docMk/>
      </pc:docMkLst>
      <pc:sldChg chg="delSp modSp mod modShow">
        <pc:chgData name="Reuben Issac Jacob" userId="a26d73c9-1689-41bd-af50-ef825e838770" providerId="ADAL" clId="{F452BC9E-5BE8-4A0B-9F00-66A7219A31DE}" dt="2022-06-29T15:19:50.973" v="3233" actId="729"/>
        <pc:sldMkLst>
          <pc:docMk/>
          <pc:sldMk cId="0" sldId="260"/>
        </pc:sldMkLst>
        <pc:spChg chg="mod">
          <ac:chgData name="Reuben Issac Jacob" userId="a26d73c9-1689-41bd-af50-ef825e838770" providerId="ADAL" clId="{F452BC9E-5BE8-4A0B-9F00-66A7219A31DE}" dt="2022-06-29T13:54:50.383" v="2076" actId="207"/>
          <ac:spMkLst>
            <pc:docMk/>
            <pc:sldMk cId="0" sldId="260"/>
            <ac:spMk id="65" creationId="{6B48AB7A-C2BD-4788-9923-A81CEE440EBD}"/>
          </ac:spMkLst>
        </pc:spChg>
        <pc:spChg chg="mod">
          <ac:chgData name="Reuben Issac Jacob" userId="a26d73c9-1689-41bd-af50-ef825e838770" providerId="ADAL" clId="{F452BC9E-5BE8-4A0B-9F00-66A7219A31DE}" dt="2022-06-29T13:54:54.318" v="2077" actId="207"/>
          <ac:spMkLst>
            <pc:docMk/>
            <pc:sldMk cId="0" sldId="260"/>
            <ac:spMk id="67" creationId="{DBF8673C-7E84-4A53-875F-B210647A0644}"/>
          </ac:spMkLst>
        </pc:spChg>
        <pc:picChg chg="del">
          <ac:chgData name="Reuben Issac Jacob" userId="a26d73c9-1689-41bd-af50-ef825e838770" providerId="ADAL" clId="{F452BC9E-5BE8-4A0B-9F00-66A7219A31DE}" dt="2022-06-29T13:58:44.691" v="2113" actId="478"/>
          <ac:picMkLst>
            <pc:docMk/>
            <pc:sldMk cId="0" sldId="260"/>
            <ac:picMk id="2" creationId="{963646B9-DAD2-4B33-A944-68A7330DD4C0}"/>
          </ac:picMkLst>
        </pc:picChg>
      </pc:sldChg>
      <pc:sldChg chg="modTransition">
        <pc:chgData name="Reuben Issac Jacob" userId="a26d73c9-1689-41bd-af50-ef825e838770" providerId="ADAL" clId="{F452BC9E-5BE8-4A0B-9F00-66A7219A31DE}" dt="2022-06-29T20:42:48.808" v="3871"/>
        <pc:sldMkLst>
          <pc:docMk/>
          <pc:sldMk cId="3396625383" sldId="291"/>
        </pc:sldMkLst>
      </pc:sldChg>
      <pc:sldChg chg="addSp delSp modSp del mod modClrScheme chgLayout">
        <pc:chgData name="Reuben Issac Jacob" userId="a26d73c9-1689-41bd-af50-ef825e838770" providerId="ADAL" clId="{F452BC9E-5BE8-4A0B-9F00-66A7219A31DE}" dt="2022-06-29T06:55:14.131" v="1362" actId="47"/>
        <pc:sldMkLst>
          <pc:docMk/>
          <pc:sldMk cId="3329845461" sldId="292"/>
        </pc:sldMkLst>
        <pc:spChg chg="mod ord">
          <ac:chgData name="Reuben Issac Jacob" userId="a26d73c9-1689-41bd-af50-ef825e838770" providerId="ADAL" clId="{F452BC9E-5BE8-4A0B-9F00-66A7219A31DE}" dt="2022-06-29T05:44:26.579" v="832" actId="700"/>
          <ac:spMkLst>
            <pc:docMk/>
            <pc:sldMk cId="3329845461" sldId="292"/>
            <ac:spMk id="2" creationId="{BC54CA8E-E7C0-EFEF-8DFF-309F2E629E4D}"/>
          </ac:spMkLst>
        </pc:spChg>
        <pc:spChg chg="add mod ord">
          <ac:chgData name="Reuben Issac Jacob" userId="a26d73c9-1689-41bd-af50-ef825e838770" providerId="ADAL" clId="{F452BC9E-5BE8-4A0B-9F00-66A7219A31DE}" dt="2022-06-29T05:44:42.194" v="853" actId="20577"/>
          <ac:spMkLst>
            <pc:docMk/>
            <pc:sldMk cId="3329845461" sldId="292"/>
            <ac:spMk id="3" creationId="{CB9E76A9-ABA8-C08E-11F2-E83239138511}"/>
          </ac:spMkLst>
        </pc:spChg>
        <pc:spChg chg="add del mod">
          <ac:chgData name="Reuben Issac Jacob" userId="a26d73c9-1689-41bd-af50-ef825e838770" providerId="ADAL" clId="{F452BC9E-5BE8-4A0B-9F00-66A7219A31DE}" dt="2022-06-29T05:45:34.923" v="861"/>
          <ac:spMkLst>
            <pc:docMk/>
            <pc:sldMk cId="3329845461" sldId="292"/>
            <ac:spMk id="5" creationId="{938F3489-328E-DD4B-C444-9FCEDFDC35E6}"/>
          </ac:spMkLst>
        </pc:spChg>
        <pc:spChg chg="add del mod">
          <ac:chgData name="Reuben Issac Jacob" userId="a26d73c9-1689-41bd-af50-ef825e838770" providerId="ADAL" clId="{F452BC9E-5BE8-4A0B-9F00-66A7219A31DE}" dt="2022-06-29T06:50:07.823" v="1289" actId="21"/>
          <ac:spMkLst>
            <pc:docMk/>
            <pc:sldMk cId="3329845461" sldId="292"/>
            <ac:spMk id="6" creationId="{35AD8224-FBE3-0FC4-6776-B4909C217C41}"/>
          </ac:spMkLst>
        </pc:spChg>
        <pc:spChg chg="add del mod">
          <ac:chgData name="Reuben Issac Jacob" userId="a26d73c9-1689-41bd-af50-ef825e838770" providerId="ADAL" clId="{F452BC9E-5BE8-4A0B-9F00-66A7219A31DE}" dt="2022-06-29T06:53:36.700" v="1349" actId="21"/>
          <ac:spMkLst>
            <pc:docMk/>
            <pc:sldMk cId="3329845461" sldId="292"/>
            <ac:spMk id="7" creationId="{AA2305DA-A390-1B8F-54C1-408AEBCF06F9}"/>
          </ac:spMkLst>
        </pc:spChg>
        <pc:picChg chg="mod">
          <ac:chgData name="Reuben Issac Jacob" userId="a26d73c9-1689-41bd-af50-ef825e838770" providerId="ADAL" clId="{F452BC9E-5BE8-4A0B-9F00-66A7219A31DE}" dt="2022-06-29T05:45:34.506" v="860" actId="1076"/>
          <ac:picMkLst>
            <pc:docMk/>
            <pc:sldMk cId="3329845461" sldId="292"/>
            <ac:picMk id="1026" creationId="{95A5A0F2-138E-F953-CF38-25AD11CF3358}"/>
          </ac:picMkLst>
        </pc:picChg>
      </pc:sldChg>
      <pc:sldChg chg="addSp delSp modSp mod modTransition modClrScheme chgLayout">
        <pc:chgData name="Reuben Issac Jacob" userId="a26d73c9-1689-41bd-af50-ef825e838770" providerId="ADAL" clId="{F452BC9E-5BE8-4A0B-9F00-66A7219A31DE}" dt="2022-06-29T19:58:51.768" v="3418"/>
        <pc:sldMkLst>
          <pc:docMk/>
          <pc:sldMk cId="1447758559" sldId="294"/>
        </pc:sldMkLst>
        <pc:spChg chg="mod ord">
          <ac:chgData name="Reuben Issac Jacob" userId="a26d73c9-1689-41bd-af50-ef825e838770" providerId="ADAL" clId="{F452BC9E-5BE8-4A0B-9F00-66A7219A31DE}" dt="2022-06-29T05:18:42.043" v="616" actId="700"/>
          <ac:spMkLst>
            <pc:docMk/>
            <pc:sldMk cId="1447758559" sldId="294"/>
            <ac:spMk id="2" creationId="{6AE1BC08-D8F8-9442-DD7A-DC0B1480D9AA}"/>
          </ac:spMkLst>
        </pc:spChg>
        <pc:spChg chg="mod ord">
          <ac:chgData name="Reuben Issac Jacob" userId="a26d73c9-1689-41bd-af50-ef825e838770" providerId="ADAL" clId="{F452BC9E-5BE8-4A0B-9F00-66A7219A31DE}" dt="2022-06-29T05:18:42.043" v="616" actId="700"/>
          <ac:spMkLst>
            <pc:docMk/>
            <pc:sldMk cId="1447758559" sldId="294"/>
            <ac:spMk id="3" creationId="{61F0B9B6-2B1A-E3C1-76E8-E8F7D31297F6}"/>
          </ac:spMkLst>
        </pc:spChg>
        <pc:spChg chg="del mod ord">
          <ac:chgData name="Reuben Issac Jacob" userId="a26d73c9-1689-41bd-af50-ef825e838770" providerId="ADAL" clId="{F452BC9E-5BE8-4A0B-9F00-66A7219A31DE}" dt="2022-06-29T05:18:42.043" v="616" actId="700"/>
          <ac:spMkLst>
            <pc:docMk/>
            <pc:sldMk cId="1447758559" sldId="294"/>
            <ac:spMk id="4" creationId="{6DC8882A-58CE-A7AB-E98F-51B9CB78DA9A}"/>
          </ac:spMkLst>
        </pc:spChg>
        <pc:spChg chg="add del mod ord">
          <ac:chgData name="Reuben Issac Jacob" userId="a26d73c9-1689-41bd-af50-ef825e838770" providerId="ADAL" clId="{F452BC9E-5BE8-4A0B-9F00-66A7219A31DE}" dt="2022-06-29T05:18:48.599" v="617" actId="478"/>
          <ac:spMkLst>
            <pc:docMk/>
            <pc:sldMk cId="1447758559" sldId="294"/>
            <ac:spMk id="5" creationId="{1DDAD74B-145E-300C-05C9-8309E2631FF3}"/>
          </ac:spMkLst>
        </pc:spChg>
      </pc:sldChg>
      <pc:sldChg chg="addSp delSp modSp mod modTransition modClrScheme chgLayout">
        <pc:chgData name="Reuben Issac Jacob" userId="a26d73c9-1689-41bd-af50-ef825e838770" providerId="ADAL" clId="{F452BC9E-5BE8-4A0B-9F00-66A7219A31DE}" dt="2022-06-29T20:42:29.402" v="3870"/>
        <pc:sldMkLst>
          <pc:docMk/>
          <pc:sldMk cId="2570058085" sldId="299"/>
        </pc:sldMkLst>
        <pc:spChg chg="mod ord">
          <ac:chgData name="Reuben Issac Jacob" userId="a26d73c9-1689-41bd-af50-ef825e838770" providerId="ADAL" clId="{F452BC9E-5BE8-4A0B-9F00-66A7219A31DE}" dt="2022-06-29T14:45:30.140" v="2890" actId="700"/>
          <ac:spMkLst>
            <pc:docMk/>
            <pc:sldMk cId="2570058085" sldId="299"/>
            <ac:spMk id="2" creationId="{6AE1BC08-D8F8-9442-DD7A-DC0B1480D9AA}"/>
          </ac:spMkLst>
        </pc:spChg>
        <pc:spChg chg="mod ord">
          <ac:chgData name="Reuben Issac Jacob" userId="a26d73c9-1689-41bd-af50-ef825e838770" providerId="ADAL" clId="{F452BC9E-5BE8-4A0B-9F00-66A7219A31DE}" dt="2022-06-29T14:45:30.140" v="2890" actId="700"/>
          <ac:spMkLst>
            <pc:docMk/>
            <pc:sldMk cId="2570058085" sldId="299"/>
            <ac:spMk id="3" creationId="{61F0B9B6-2B1A-E3C1-76E8-E8F7D31297F6}"/>
          </ac:spMkLst>
        </pc:spChg>
        <pc:spChg chg="del mod ord">
          <ac:chgData name="Reuben Issac Jacob" userId="a26d73c9-1689-41bd-af50-ef825e838770" providerId="ADAL" clId="{F452BC9E-5BE8-4A0B-9F00-66A7219A31DE}" dt="2022-06-29T14:45:30.140" v="2890" actId="700"/>
          <ac:spMkLst>
            <pc:docMk/>
            <pc:sldMk cId="2570058085" sldId="299"/>
            <ac:spMk id="4" creationId="{6DC8882A-58CE-A7AB-E98F-51B9CB78DA9A}"/>
          </ac:spMkLst>
        </pc:spChg>
        <pc:spChg chg="add del mod ord">
          <ac:chgData name="Reuben Issac Jacob" userId="a26d73c9-1689-41bd-af50-ef825e838770" providerId="ADAL" clId="{F452BC9E-5BE8-4A0B-9F00-66A7219A31DE}" dt="2022-06-29T14:45:33.667" v="2891" actId="478"/>
          <ac:spMkLst>
            <pc:docMk/>
            <pc:sldMk cId="2570058085" sldId="299"/>
            <ac:spMk id="5" creationId="{236A764B-6715-76C5-3972-9F69EC0547C0}"/>
          </ac:spMkLst>
        </pc:spChg>
      </pc:sldChg>
      <pc:sldChg chg="modSp mod modAnim">
        <pc:chgData name="Reuben Issac Jacob" userId="a26d73c9-1689-41bd-af50-ef825e838770" providerId="ADAL" clId="{F452BC9E-5BE8-4A0B-9F00-66A7219A31DE}" dt="2022-06-29T20:44:01.919" v="3878"/>
        <pc:sldMkLst>
          <pc:docMk/>
          <pc:sldMk cId="3592828332" sldId="300"/>
        </pc:sldMkLst>
        <pc:spChg chg="mod">
          <ac:chgData name="Reuben Issac Jacob" userId="a26d73c9-1689-41bd-af50-ef825e838770" providerId="ADAL" clId="{F452BC9E-5BE8-4A0B-9F00-66A7219A31DE}" dt="2022-06-29T14:52:11.117" v="2892" actId="403"/>
          <ac:spMkLst>
            <pc:docMk/>
            <pc:sldMk cId="3592828332" sldId="300"/>
            <ac:spMk id="3" creationId="{C2714CCA-6290-CF17-2FB6-6FFECA34011B}"/>
          </ac:spMkLst>
        </pc:spChg>
        <pc:picChg chg="mod">
          <ac:chgData name="Reuben Issac Jacob" userId="a26d73c9-1689-41bd-af50-ef825e838770" providerId="ADAL" clId="{F452BC9E-5BE8-4A0B-9F00-66A7219A31DE}" dt="2022-06-29T04:33:45.975" v="53" actId="1076"/>
          <ac:picMkLst>
            <pc:docMk/>
            <pc:sldMk cId="3592828332" sldId="300"/>
            <ac:picMk id="6" creationId="{A6065E32-A446-F858-F46C-1AB014650FD8}"/>
          </ac:picMkLst>
        </pc:picChg>
      </pc:sldChg>
      <pc:sldChg chg="delSp modSp mod modClrScheme modAnim chgLayout">
        <pc:chgData name="Reuben Issac Jacob" userId="a26d73c9-1689-41bd-af50-ef825e838770" providerId="ADAL" clId="{F452BC9E-5BE8-4A0B-9F00-66A7219A31DE}" dt="2022-06-29T20:50:29.193" v="3901" actId="700"/>
        <pc:sldMkLst>
          <pc:docMk/>
          <pc:sldMk cId="3830481652" sldId="301"/>
        </pc:sldMkLst>
        <pc:spChg chg="mod ord">
          <ac:chgData name="Reuben Issac Jacob" userId="a26d73c9-1689-41bd-af50-ef825e838770" providerId="ADAL" clId="{F452BC9E-5BE8-4A0B-9F00-66A7219A31DE}" dt="2022-06-29T20:50:29.193" v="3901" actId="700"/>
          <ac:spMkLst>
            <pc:docMk/>
            <pc:sldMk cId="3830481652" sldId="301"/>
            <ac:spMk id="2" creationId="{0F8CF62C-B4F7-084C-BCD9-D47315CF6088}"/>
          </ac:spMkLst>
        </pc:spChg>
        <pc:spChg chg="mod ord">
          <ac:chgData name="Reuben Issac Jacob" userId="a26d73c9-1689-41bd-af50-ef825e838770" providerId="ADAL" clId="{F452BC9E-5BE8-4A0B-9F00-66A7219A31DE}" dt="2022-06-29T20:50:29.193" v="3901" actId="700"/>
          <ac:spMkLst>
            <pc:docMk/>
            <pc:sldMk cId="3830481652" sldId="301"/>
            <ac:spMk id="3" creationId="{495AACDC-77E8-E867-03E7-31C44D307B1A}"/>
          </ac:spMkLst>
        </pc:spChg>
        <pc:spChg chg="mod">
          <ac:chgData name="Reuben Issac Jacob" userId="a26d73c9-1689-41bd-af50-ef825e838770" providerId="ADAL" clId="{F452BC9E-5BE8-4A0B-9F00-66A7219A31DE}" dt="2022-06-29T04:37:58.098" v="121" actId="1076"/>
          <ac:spMkLst>
            <pc:docMk/>
            <pc:sldMk cId="3830481652" sldId="301"/>
            <ac:spMk id="5" creationId="{C7F98ED8-393D-59CE-ED34-09E4CD2D3A46}"/>
          </ac:spMkLst>
        </pc:spChg>
        <pc:spChg chg="del">
          <ac:chgData name="Reuben Issac Jacob" userId="a26d73c9-1689-41bd-af50-ef825e838770" providerId="ADAL" clId="{F452BC9E-5BE8-4A0B-9F00-66A7219A31DE}" dt="2022-06-29T20:50:24.664" v="3900" actId="478"/>
          <ac:spMkLst>
            <pc:docMk/>
            <pc:sldMk cId="3830481652" sldId="301"/>
            <ac:spMk id="6" creationId="{3110E144-52CD-3845-7610-182753E54242}"/>
          </ac:spMkLst>
        </pc:spChg>
      </pc:sldChg>
      <pc:sldChg chg="addSp delSp modSp mod modAnim">
        <pc:chgData name="Reuben Issac Jacob" userId="a26d73c9-1689-41bd-af50-ef825e838770" providerId="ADAL" clId="{F452BC9E-5BE8-4A0B-9F00-66A7219A31DE}" dt="2022-06-29T20:11:34.780" v="3548"/>
        <pc:sldMkLst>
          <pc:docMk/>
          <pc:sldMk cId="3747391529" sldId="381"/>
        </pc:sldMkLst>
        <pc:spChg chg="del">
          <ac:chgData name="Reuben Issac Jacob" userId="a26d73c9-1689-41bd-af50-ef825e838770" providerId="ADAL" clId="{F452BC9E-5BE8-4A0B-9F00-66A7219A31DE}" dt="2022-06-29T05:30:50.947" v="720" actId="478"/>
          <ac:spMkLst>
            <pc:docMk/>
            <pc:sldMk cId="3747391529" sldId="381"/>
            <ac:spMk id="2" creationId="{E2594403-DB69-49BE-BBA8-4D72115A5000}"/>
          </ac:spMkLst>
        </pc:spChg>
        <pc:spChg chg="add mod">
          <ac:chgData name="Reuben Issac Jacob" userId="a26d73c9-1689-41bd-af50-ef825e838770" providerId="ADAL" clId="{F452BC9E-5BE8-4A0B-9F00-66A7219A31DE}" dt="2022-06-29T05:30:52.489" v="721"/>
          <ac:spMkLst>
            <pc:docMk/>
            <pc:sldMk cId="3747391529" sldId="381"/>
            <ac:spMk id="4" creationId="{35D20819-9509-0B8E-3F68-B47CE3CA18A6}"/>
          </ac:spMkLst>
        </pc:spChg>
        <pc:spChg chg="del">
          <ac:chgData name="Reuben Issac Jacob" userId="a26d73c9-1689-41bd-af50-ef825e838770" providerId="ADAL" clId="{F452BC9E-5BE8-4A0B-9F00-66A7219A31DE}" dt="2022-06-29T05:32:40.526" v="722" actId="478"/>
          <ac:spMkLst>
            <pc:docMk/>
            <pc:sldMk cId="3747391529" sldId="381"/>
            <ac:spMk id="13" creationId="{649EB7FD-0A47-46F4-8DF2-D81635DA6585}"/>
          </ac:spMkLst>
        </pc:spChg>
        <pc:spChg chg="del">
          <ac:chgData name="Reuben Issac Jacob" userId="a26d73c9-1689-41bd-af50-ef825e838770" providerId="ADAL" clId="{F452BC9E-5BE8-4A0B-9F00-66A7219A31DE}" dt="2022-06-29T05:32:40.526" v="722" actId="478"/>
          <ac:spMkLst>
            <pc:docMk/>
            <pc:sldMk cId="3747391529" sldId="381"/>
            <ac:spMk id="16" creationId="{0A736527-185E-48CF-ADC1-DCC6E6AE37D4}"/>
          </ac:spMkLst>
        </pc:spChg>
        <pc:spChg chg="del">
          <ac:chgData name="Reuben Issac Jacob" userId="a26d73c9-1689-41bd-af50-ef825e838770" providerId="ADAL" clId="{F452BC9E-5BE8-4A0B-9F00-66A7219A31DE}" dt="2022-06-29T05:32:40.526" v="722" actId="478"/>
          <ac:spMkLst>
            <pc:docMk/>
            <pc:sldMk cId="3747391529" sldId="381"/>
            <ac:spMk id="22" creationId="{00000000-0000-0000-0000-000000000000}"/>
          </ac:spMkLst>
        </pc:spChg>
        <pc:spChg chg="del">
          <ac:chgData name="Reuben Issac Jacob" userId="a26d73c9-1689-41bd-af50-ef825e838770" providerId="ADAL" clId="{F452BC9E-5BE8-4A0B-9F00-66A7219A31DE}" dt="2022-06-29T05:32:40.526" v="722" actId="478"/>
          <ac:spMkLst>
            <pc:docMk/>
            <pc:sldMk cId="3747391529" sldId="381"/>
            <ac:spMk id="26" creationId="{00000000-0000-0000-0000-000000000000}"/>
          </ac:spMkLst>
        </pc:spChg>
        <pc:spChg chg="del">
          <ac:chgData name="Reuben Issac Jacob" userId="a26d73c9-1689-41bd-af50-ef825e838770" providerId="ADAL" clId="{F452BC9E-5BE8-4A0B-9F00-66A7219A31DE}" dt="2022-06-29T05:32:40.526" v="722" actId="478"/>
          <ac:spMkLst>
            <pc:docMk/>
            <pc:sldMk cId="3747391529" sldId="381"/>
            <ac:spMk id="34" creationId="{BBB1206A-E54B-4AD2-A9D1-620A3B61FEC4}"/>
          </ac:spMkLst>
        </pc:spChg>
        <pc:spChg chg="del">
          <ac:chgData name="Reuben Issac Jacob" userId="a26d73c9-1689-41bd-af50-ef825e838770" providerId="ADAL" clId="{F452BC9E-5BE8-4A0B-9F00-66A7219A31DE}" dt="2022-06-29T05:32:40.526" v="722" actId="478"/>
          <ac:spMkLst>
            <pc:docMk/>
            <pc:sldMk cId="3747391529" sldId="381"/>
            <ac:spMk id="35" creationId="{8DBA43E9-57A3-4E33-AFBA-C78B644634A2}"/>
          </ac:spMkLst>
        </pc:spChg>
        <pc:spChg chg="add mod topLvl">
          <ac:chgData name="Reuben Issac Jacob" userId="a26d73c9-1689-41bd-af50-ef825e838770" providerId="ADAL" clId="{F452BC9E-5BE8-4A0B-9F00-66A7219A31DE}" dt="2022-06-29T05:36:21.166" v="758" actId="165"/>
          <ac:spMkLst>
            <pc:docMk/>
            <pc:sldMk cId="3747391529" sldId="381"/>
            <ac:spMk id="38" creationId="{5CEC8AA1-5CB1-EB95-94FE-7DD8A710F9CF}"/>
          </ac:spMkLst>
        </pc:spChg>
        <pc:spChg chg="add mod topLvl">
          <ac:chgData name="Reuben Issac Jacob" userId="a26d73c9-1689-41bd-af50-ef825e838770" providerId="ADAL" clId="{F452BC9E-5BE8-4A0B-9F00-66A7219A31DE}" dt="2022-06-29T05:36:21.166" v="758" actId="165"/>
          <ac:spMkLst>
            <pc:docMk/>
            <pc:sldMk cId="3747391529" sldId="381"/>
            <ac:spMk id="39" creationId="{DB951C1F-92F3-DCBC-5B69-21F0AFA48289}"/>
          </ac:spMkLst>
        </pc:spChg>
        <pc:spChg chg="add mod topLvl">
          <ac:chgData name="Reuben Issac Jacob" userId="a26d73c9-1689-41bd-af50-ef825e838770" providerId="ADAL" clId="{F452BC9E-5BE8-4A0B-9F00-66A7219A31DE}" dt="2022-06-29T05:36:21.166" v="758" actId="165"/>
          <ac:spMkLst>
            <pc:docMk/>
            <pc:sldMk cId="3747391529" sldId="381"/>
            <ac:spMk id="40" creationId="{8EDC4AD0-B938-352F-8C1C-E5AA2A329CA8}"/>
          </ac:spMkLst>
        </pc:spChg>
        <pc:spChg chg="add mod">
          <ac:chgData name="Reuben Issac Jacob" userId="a26d73c9-1689-41bd-af50-ef825e838770" providerId="ADAL" clId="{F452BC9E-5BE8-4A0B-9F00-66A7219A31DE}" dt="2022-06-29T05:36:38.775" v="760" actId="12788"/>
          <ac:spMkLst>
            <pc:docMk/>
            <pc:sldMk cId="3747391529" sldId="381"/>
            <ac:spMk id="41" creationId="{47B9FBBA-2EBF-A512-E79C-625E2964865B}"/>
          </ac:spMkLst>
        </pc:spChg>
        <pc:spChg chg="mod">
          <ac:chgData name="Reuben Issac Jacob" userId="a26d73c9-1689-41bd-af50-ef825e838770" providerId="ADAL" clId="{F452BC9E-5BE8-4A0B-9F00-66A7219A31DE}" dt="2022-06-29T05:36:38.775" v="760" actId="12788"/>
          <ac:spMkLst>
            <pc:docMk/>
            <pc:sldMk cId="3747391529" sldId="381"/>
            <ac:spMk id="49" creationId="{968240DC-FEDD-B14D-2173-EAA46F39C6DF}"/>
          </ac:spMkLst>
        </pc:spChg>
        <pc:spChg chg="mod">
          <ac:chgData name="Reuben Issac Jacob" userId="a26d73c9-1689-41bd-af50-ef825e838770" providerId="ADAL" clId="{F452BC9E-5BE8-4A0B-9F00-66A7219A31DE}" dt="2022-06-29T05:36:38.775" v="760" actId="12788"/>
          <ac:spMkLst>
            <pc:docMk/>
            <pc:sldMk cId="3747391529" sldId="381"/>
            <ac:spMk id="51" creationId="{0DF63358-154A-F87B-F9A3-B2A34706F7C3}"/>
          </ac:spMkLst>
        </pc:spChg>
        <pc:spChg chg="add mod">
          <ac:chgData name="Reuben Issac Jacob" userId="a26d73c9-1689-41bd-af50-ef825e838770" providerId="ADAL" clId="{F452BC9E-5BE8-4A0B-9F00-66A7219A31DE}" dt="2022-06-29T05:36:38.775" v="760" actId="12788"/>
          <ac:spMkLst>
            <pc:docMk/>
            <pc:sldMk cId="3747391529" sldId="381"/>
            <ac:spMk id="53" creationId="{38F473B0-66DC-D037-C8B4-DDF1B7732852}"/>
          </ac:spMkLst>
        </pc:spChg>
        <pc:spChg chg="add mod topLvl">
          <ac:chgData name="Reuben Issac Jacob" userId="a26d73c9-1689-41bd-af50-ef825e838770" providerId="ADAL" clId="{F452BC9E-5BE8-4A0B-9F00-66A7219A31DE}" dt="2022-06-29T05:36:21.166" v="758" actId="165"/>
          <ac:spMkLst>
            <pc:docMk/>
            <pc:sldMk cId="3747391529" sldId="381"/>
            <ac:spMk id="55" creationId="{73F64B48-98F4-E694-8C74-ED1A6C430BFB}"/>
          </ac:spMkLst>
        </pc:spChg>
        <pc:spChg chg="mod">
          <ac:chgData name="Reuben Issac Jacob" userId="a26d73c9-1689-41bd-af50-ef825e838770" providerId="ADAL" clId="{F452BC9E-5BE8-4A0B-9F00-66A7219A31DE}" dt="2022-06-29T05:36:23.720" v="759" actId="165"/>
          <ac:spMkLst>
            <pc:docMk/>
            <pc:sldMk cId="3747391529" sldId="381"/>
            <ac:spMk id="69" creationId="{00458223-36C6-FDFB-93CF-7CF2407A6802}"/>
          </ac:spMkLst>
        </pc:spChg>
        <pc:spChg chg="mod">
          <ac:chgData name="Reuben Issac Jacob" userId="a26d73c9-1689-41bd-af50-ef825e838770" providerId="ADAL" clId="{F452BC9E-5BE8-4A0B-9F00-66A7219A31DE}" dt="2022-06-29T05:36:23.720" v="759" actId="165"/>
          <ac:spMkLst>
            <pc:docMk/>
            <pc:sldMk cId="3747391529" sldId="381"/>
            <ac:spMk id="71" creationId="{FFE70769-E4C0-080E-8BE0-63C9B6A0EC37}"/>
          </ac:spMkLst>
        </pc:spChg>
        <pc:spChg chg="mod">
          <ac:chgData name="Reuben Issac Jacob" userId="a26d73c9-1689-41bd-af50-ef825e838770" providerId="ADAL" clId="{F452BC9E-5BE8-4A0B-9F00-66A7219A31DE}" dt="2022-06-29T05:36:23.720" v="759" actId="165"/>
          <ac:spMkLst>
            <pc:docMk/>
            <pc:sldMk cId="3747391529" sldId="381"/>
            <ac:spMk id="74" creationId="{C7CBB204-665D-15F9-DC39-4DB2437AC2D9}"/>
          </ac:spMkLst>
        </pc:spChg>
        <pc:spChg chg="mod">
          <ac:chgData name="Reuben Issac Jacob" userId="a26d73c9-1689-41bd-af50-ef825e838770" providerId="ADAL" clId="{F452BC9E-5BE8-4A0B-9F00-66A7219A31DE}" dt="2022-06-29T05:36:23.720" v="759" actId="165"/>
          <ac:spMkLst>
            <pc:docMk/>
            <pc:sldMk cId="3747391529" sldId="381"/>
            <ac:spMk id="76" creationId="{44AFCB56-6550-BE30-38F8-EDCB80EC460B}"/>
          </ac:spMkLst>
        </pc:spChg>
        <pc:grpChg chg="add del mod">
          <ac:chgData name="Reuben Issac Jacob" userId="a26d73c9-1689-41bd-af50-ef825e838770" providerId="ADAL" clId="{F452BC9E-5BE8-4A0B-9F00-66A7219A31DE}" dt="2022-06-29T05:36:21.166" v="758" actId="165"/>
          <ac:grpSpMkLst>
            <pc:docMk/>
            <pc:sldMk cId="3747391529" sldId="381"/>
            <ac:grpSpMk id="8" creationId="{CC81B9F4-EACC-F092-87C4-3666F6C20D3F}"/>
          </ac:grpSpMkLst>
        </pc:grpChg>
        <pc:grpChg chg="add del mod topLvl">
          <ac:chgData name="Reuben Issac Jacob" userId="a26d73c9-1689-41bd-af50-ef825e838770" providerId="ADAL" clId="{F452BC9E-5BE8-4A0B-9F00-66A7219A31DE}" dt="2022-06-29T05:36:23.720" v="759" actId="165"/>
          <ac:grpSpMkLst>
            <pc:docMk/>
            <pc:sldMk cId="3747391529" sldId="381"/>
            <ac:grpSpMk id="9" creationId="{448AF3BF-D390-00E1-1E70-78392E5B5D4A}"/>
          </ac:grpSpMkLst>
        </pc:grpChg>
        <pc:grpChg chg="add del mod">
          <ac:chgData name="Reuben Issac Jacob" userId="a26d73c9-1689-41bd-af50-ef825e838770" providerId="ADAL" clId="{F452BC9E-5BE8-4A0B-9F00-66A7219A31DE}" dt="2022-06-29T05:36:21.166" v="758" actId="165"/>
          <ac:grpSpMkLst>
            <pc:docMk/>
            <pc:sldMk cId="3747391529" sldId="381"/>
            <ac:grpSpMk id="10" creationId="{8F054407-4901-B142-CA7C-ACF453673392}"/>
          </ac:grpSpMkLst>
        </pc:grpChg>
        <pc:grpChg chg="add mod">
          <ac:chgData name="Reuben Issac Jacob" userId="a26d73c9-1689-41bd-af50-ef825e838770" providerId="ADAL" clId="{F452BC9E-5BE8-4A0B-9F00-66A7219A31DE}" dt="2022-06-29T05:36:38.775" v="760" actId="12788"/>
          <ac:grpSpMkLst>
            <pc:docMk/>
            <pc:sldMk cId="3747391529" sldId="381"/>
            <ac:grpSpMk id="42" creationId="{F258A256-C831-9C8A-A9D4-CF8956336CA5}"/>
          </ac:grpSpMkLst>
        </pc:grpChg>
        <pc:grpChg chg="del">
          <ac:chgData name="Reuben Issac Jacob" userId="a26d73c9-1689-41bd-af50-ef825e838770" providerId="ADAL" clId="{F452BC9E-5BE8-4A0B-9F00-66A7219A31DE}" dt="2022-06-29T05:32:40.526" v="722" actId="478"/>
          <ac:grpSpMkLst>
            <pc:docMk/>
            <pc:sldMk cId="3747391529" sldId="381"/>
            <ac:grpSpMk id="43" creationId="{AC1D963B-D245-4397-B6A3-F1C07A8F7D5C}"/>
          </ac:grpSpMkLst>
        </pc:grpChg>
        <pc:grpChg chg="mod">
          <ac:chgData name="Reuben Issac Jacob" userId="a26d73c9-1689-41bd-af50-ef825e838770" providerId="ADAL" clId="{F452BC9E-5BE8-4A0B-9F00-66A7219A31DE}" dt="2022-06-29T05:36:38.775" v="760" actId="12788"/>
          <ac:grpSpMkLst>
            <pc:docMk/>
            <pc:sldMk cId="3747391529" sldId="381"/>
            <ac:grpSpMk id="48" creationId="{64B8893F-3CC3-A042-5F97-51261874AE68}"/>
          </ac:grpSpMkLst>
        </pc:grpChg>
        <pc:grpChg chg="add mod topLvl">
          <ac:chgData name="Reuben Issac Jacob" userId="a26d73c9-1689-41bd-af50-ef825e838770" providerId="ADAL" clId="{F452BC9E-5BE8-4A0B-9F00-66A7219A31DE}" dt="2022-06-29T05:36:23.720" v="759" actId="165"/>
          <ac:grpSpMkLst>
            <pc:docMk/>
            <pc:sldMk cId="3747391529" sldId="381"/>
            <ac:grpSpMk id="56" creationId="{20D9982D-4897-4E65-7F02-9C5B44A2039C}"/>
          </ac:grpSpMkLst>
        </pc:grpChg>
        <pc:grpChg chg="mod">
          <ac:chgData name="Reuben Issac Jacob" userId="a26d73c9-1689-41bd-af50-ef825e838770" providerId="ADAL" clId="{F452BC9E-5BE8-4A0B-9F00-66A7219A31DE}" dt="2022-06-29T05:36:23.720" v="759" actId="165"/>
          <ac:grpSpMkLst>
            <pc:docMk/>
            <pc:sldMk cId="3747391529" sldId="381"/>
            <ac:grpSpMk id="57" creationId="{029A6EB4-40E8-134C-5AD0-62A2692C625A}"/>
          </ac:grpSpMkLst>
        </pc:grpChg>
        <pc:grpChg chg="del">
          <ac:chgData name="Reuben Issac Jacob" userId="a26d73c9-1689-41bd-af50-ef825e838770" providerId="ADAL" clId="{F452BC9E-5BE8-4A0B-9F00-66A7219A31DE}" dt="2022-06-29T05:32:40.526" v="722" actId="478"/>
          <ac:grpSpMkLst>
            <pc:docMk/>
            <pc:sldMk cId="3747391529" sldId="381"/>
            <ac:grpSpMk id="59" creationId="{E348608B-6BEA-4870-9446-AE60A6DBB14C}"/>
          </ac:grpSpMkLst>
        </pc:grpChg>
        <pc:grpChg chg="del">
          <ac:chgData name="Reuben Issac Jacob" userId="a26d73c9-1689-41bd-af50-ef825e838770" providerId="ADAL" clId="{F452BC9E-5BE8-4A0B-9F00-66A7219A31DE}" dt="2022-06-29T05:32:40.526" v="722" actId="478"/>
          <ac:grpSpMkLst>
            <pc:docMk/>
            <pc:sldMk cId="3747391529" sldId="381"/>
            <ac:grpSpMk id="64" creationId="{F0B0F849-0BF9-4598-8830-142D4A16163B}"/>
          </ac:grpSpMkLst>
        </pc:grpChg>
        <pc:grpChg chg="add mod topLvl">
          <ac:chgData name="Reuben Issac Jacob" userId="a26d73c9-1689-41bd-af50-ef825e838770" providerId="ADAL" clId="{F452BC9E-5BE8-4A0B-9F00-66A7219A31DE}" dt="2022-06-29T05:36:23.720" v="759" actId="165"/>
          <ac:grpSpMkLst>
            <pc:docMk/>
            <pc:sldMk cId="3747391529" sldId="381"/>
            <ac:grpSpMk id="72" creationId="{28A13A86-AD8C-DD87-0958-83E8FB8FBB42}"/>
          </ac:grpSpMkLst>
        </pc:grpChg>
        <pc:grpChg chg="mod">
          <ac:chgData name="Reuben Issac Jacob" userId="a26d73c9-1689-41bd-af50-ef825e838770" providerId="ADAL" clId="{F452BC9E-5BE8-4A0B-9F00-66A7219A31DE}" dt="2022-06-29T05:36:23.720" v="759" actId="165"/>
          <ac:grpSpMkLst>
            <pc:docMk/>
            <pc:sldMk cId="3747391529" sldId="381"/>
            <ac:grpSpMk id="73" creationId="{8488BB67-8897-E2B5-F463-569DCF809A99}"/>
          </ac:grpSpMkLst>
        </pc:grpChg>
        <pc:picChg chg="add mod">
          <ac:chgData name="Reuben Issac Jacob" userId="a26d73c9-1689-41bd-af50-ef825e838770" providerId="ADAL" clId="{F452BC9E-5BE8-4A0B-9F00-66A7219A31DE}" dt="2022-06-29T05:36:38.775" v="760" actId="12788"/>
          <ac:picMkLst>
            <pc:docMk/>
            <pc:sldMk cId="3747391529" sldId="381"/>
            <ac:picMk id="32" creationId="{EB2C57D6-AECC-8909-CFD5-1B96B70807BA}"/>
          </ac:picMkLst>
        </pc:picChg>
        <pc:picChg chg="add mod topLvl">
          <ac:chgData name="Reuben Issac Jacob" userId="a26d73c9-1689-41bd-af50-ef825e838770" providerId="ADAL" clId="{F452BC9E-5BE8-4A0B-9F00-66A7219A31DE}" dt="2022-06-29T05:36:21.166" v="758" actId="165"/>
          <ac:picMkLst>
            <pc:docMk/>
            <pc:sldMk cId="3747391529" sldId="381"/>
            <ac:picMk id="33" creationId="{D1CF5749-7A28-DA5D-AB4C-D9020FB68583}"/>
          </ac:picMkLst>
        </pc:picChg>
        <pc:picChg chg="add mod topLvl">
          <ac:chgData name="Reuben Issac Jacob" userId="a26d73c9-1689-41bd-af50-ef825e838770" providerId="ADAL" clId="{F452BC9E-5BE8-4A0B-9F00-66A7219A31DE}" dt="2022-06-29T05:36:21.166" v="758" actId="165"/>
          <ac:picMkLst>
            <pc:docMk/>
            <pc:sldMk cId="3747391529" sldId="381"/>
            <ac:picMk id="36" creationId="{F0C7D154-44BC-98DB-F67C-24FCEF4677D1}"/>
          </ac:picMkLst>
        </pc:picChg>
        <pc:picChg chg="add mod topLvl">
          <ac:chgData name="Reuben Issac Jacob" userId="a26d73c9-1689-41bd-af50-ef825e838770" providerId="ADAL" clId="{F452BC9E-5BE8-4A0B-9F00-66A7219A31DE}" dt="2022-06-29T05:36:21.166" v="758" actId="165"/>
          <ac:picMkLst>
            <pc:docMk/>
            <pc:sldMk cId="3747391529" sldId="381"/>
            <ac:picMk id="37" creationId="{0DB0F7D4-6BC2-3887-45D8-AB32894C7866}"/>
          </ac:picMkLst>
        </pc:picChg>
        <pc:picChg chg="mod">
          <ac:chgData name="Reuben Issac Jacob" userId="a26d73c9-1689-41bd-af50-ef825e838770" providerId="ADAL" clId="{F452BC9E-5BE8-4A0B-9F00-66A7219A31DE}" dt="2022-06-29T05:36:38.775" v="760" actId="12788"/>
          <ac:picMkLst>
            <pc:docMk/>
            <pc:sldMk cId="3747391529" sldId="381"/>
            <ac:picMk id="50" creationId="{1DE12069-00DB-096B-3CD3-B2DF7B436530}"/>
          </ac:picMkLst>
        </pc:picChg>
        <pc:picChg chg="mod">
          <ac:chgData name="Reuben Issac Jacob" userId="a26d73c9-1689-41bd-af50-ef825e838770" providerId="ADAL" clId="{F452BC9E-5BE8-4A0B-9F00-66A7219A31DE}" dt="2022-06-29T05:36:23.720" v="759" actId="165"/>
          <ac:picMkLst>
            <pc:docMk/>
            <pc:sldMk cId="3747391529" sldId="381"/>
            <ac:picMk id="70" creationId="{9DDD9187-A858-E50F-51A5-76E48417303F}"/>
          </ac:picMkLst>
        </pc:picChg>
        <pc:picChg chg="mod">
          <ac:chgData name="Reuben Issac Jacob" userId="a26d73c9-1689-41bd-af50-ef825e838770" providerId="ADAL" clId="{F452BC9E-5BE8-4A0B-9F00-66A7219A31DE}" dt="2022-06-29T05:36:23.720" v="759" actId="165"/>
          <ac:picMkLst>
            <pc:docMk/>
            <pc:sldMk cId="3747391529" sldId="381"/>
            <ac:picMk id="75" creationId="{B6E54495-4156-772A-C005-4770D3CF9CE2}"/>
          </ac:picMkLst>
        </pc:picChg>
        <pc:picChg chg="del">
          <ac:chgData name="Reuben Issac Jacob" userId="a26d73c9-1689-41bd-af50-ef825e838770" providerId="ADAL" clId="{F452BC9E-5BE8-4A0B-9F00-66A7219A31DE}" dt="2022-06-29T05:32:40.526" v="722" actId="478"/>
          <ac:picMkLst>
            <pc:docMk/>
            <pc:sldMk cId="3747391529" sldId="381"/>
            <ac:picMk id="30722" creationId="{4FF9E273-6CD3-4A05-BA63-095746522A69}"/>
          </ac:picMkLst>
        </pc:picChg>
        <pc:picChg chg="del">
          <ac:chgData name="Reuben Issac Jacob" userId="a26d73c9-1689-41bd-af50-ef825e838770" providerId="ADAL" clId="{F452BC9E-5BE8-4A0B-9F00-66A7219A31DE}" dt="2022-06-29T05:32:40.526" v="722" actId="478"/>
          <ac:picMkLst>
            <pc:docMk/>
            <pc:sldMk cId="3747391529" sldId="381"/>
            <ac:picMk id="30724" creationId="{0A371B08-93E9-4C40-8DA8-5EB96253C3F9}"/>
          </ac:picMkLst>
        </pc:picChg>
        <pc:picChg chg="del">
          <ac:chgData name="Reuben Issac Jacob" userId="a26d73c9-1689-41bd-af50-ef825e838770" providerId="ADAL" clId="{F452BC9E-5BE8-4A0B-9F00-66A7219A31DE}" dt="2022-06-29T05:32:40.526" v="722" actId="478"/>
          <ac:picMkLst>
            <pc:docMk/>
            <pc:sldMk cId="3747391529" sldId="381"/>
            <ac:picMk id="30728" creationId="{7A8A7246-674A-4F6F-A2C2-63438291CCB4}"/>
          </ac:picMkLst>
        </pc:picChg>
        <pc:picChg chg="del">
          <ac:chgData name="Reuben Issac Jacob" userId="a26d73c9-1689-41bd-af50-ef825e838770" providerId="ADAL" clId="{F452BC9E-5BE8-4A0B-9F00-66A7219A31DE}" dt="2022-06-29T05:32:40.526" v="722" actId="478"/>
          <ac:picMkLst>
            <pc:docMk/>
            <pc:sldMk cId="3747391529" sldId="381"/>
            <ac:picMk id="30730" creationId="{EFD08359-AF50-475D-B20E-54C97A90D1E8}"/>
          </ac:picMkLst>
        </pc:picChg>
        <pc:cxnChg chg="del">
          <ac:chgData name="Reuben Issac Jacob" userId="a26d73c9-1689-41bd-af50-ef825e838770" providerId="ADAL" clId="{F452BC9E-5BE8-4A0B-9F00-66A7219A31DE}" dt="2022-06-29T05:32:40.526" v="722" actId="478"/>
          <ac:cxnSpMkLst>
            <pc:docMk/>
            <pc:sldMk cId="3747391529" sldId="381"/>
            <ac:cxnSpMk id="5" creationId="{1CB48CCC-DC8A-4108-94E2-DC0718FCEB13}"/>
          </ac:cxnSpMkLst>
        </pc:cxnChg>
        <pc:cxnChg chg="add mod">
          <ac:chgData name="Reuben Issac Jacob" userId="a26d73c9-1689-41bd-af50-ef825e838770" providerId="ADAL" clId="{F452BC9E-5BE8-4A0B-9F00-66A7219A31DE}" dt="2022-06-29T05:37:24.688" v="767" actId="692"/>
          <ac:cxnSpMkLst>
            <pc:docMk/>
            <pc:sldMk cId="3747391529" sldId="381"/>
            <ac:cxnSpMk id="52" creationId="{A97421CF-F74F-3D08-B6B9-CD1EB6EF95DB}"/>
          </ac:cxnSpMkLst>
        </pc:cxnChg>
        <pc:cxnChg chg="add mod">
          <ac:chgData name="Reuben Issac Jacob" userId="a26d73c9-1689-41bd-af50-ef825e838770" providerId="ADAL" clId="{F452BC9E-5BE8-4A0B-9F00-66A7219A31DE}" dt="2022-06-29T05:37:24.688" v="767" actId="692"/>
          <ac:cxnSpMkLst>
            <pc:docMk/>
            <pc:sldMk cId="3747391529" sldId="381"/>
            <ac:cxnSpMk id="54" creationId="{F960C37D-7DCA-E170-BBF1-55FFA8727D79}"/>
          </ac:cxnSpMkLst>
        </pc:cxnChg>
        <pc:cxnChg chg="del">
          <ac:chgData name="Reuben Issac Jacob" userId="a26d73c9-1689-41bd-af50-ef825e838770" providerId="ADAL" clId="{F452BC9E-5BE8-4A0B-9F00-66A7219A31DE}" dt="2022-06-29T05:32:40.526" v="722" actId="478"/>
          <ac:cxnSpMkLst>
            <pc:docMk/>
            <pc:sldMk cId="3747391529" sldId="381"/>
            <ac:cxnSpMk id="58" creationId="{4D1D9986-47CF-4AEE-955F-45BA44F7E752}"/>
          </ac:cxnSpMkLst>
        </pc:cxnChg>
      </pc:sldChg>
      <pc:sldChg chg="addSp delSp modSp del mod modClrScheme chgLayout">
        <pc:chgData name="Reuben Issac Jacob" userId="a26d73c9-1689-41bd-af50-ef825e838770" providerId="ADAL" clId="{F452BC9E-5BE8-4A0B-9F00-66A7219A31DE}" dt="2022-06-29T13:37:11.386" v="1891" actId="47"/>
        <pc:sldMkLst>
          <pc:docMk/>
          <pc:sldMk cId="20936621" sldId="1915"/>
        </pc:sldMkLst>
        <pc:spChg chg="add mod ord">
          <ac:chgData name="Reuben Issac Jacob" userId="a26d73c9-1689-41bd-af50-ef825e838770" providerId="ADAL" clId="{F452BC9E-5BE8-4A0B-9F00-66A7219A31DE}" dt="2022-06-29T13:32:05.798" v="1829"/>
          <ac:spMkLst>
            <pc:docMk/>
            <pc:sldMk cId="20936621" sldId="1915"/>
            <ac:spMk id="2" creationId="{99437F40-DD50-F25B-6839-CC90543D5E48}"/>
          </ac:spMkLst>
        </pc:spChg>
        <pc:spChg chg="del mod">
          <ac:chgData name="Reuben Issac Jacob" userId="a26d73c9-1689-41bd-af50-ef825e838770" providerId="ADAL" clId="{F452BC9E-5BE8-4A0B-9F00-66A7219A31DE}" dt="2022-06-29T13:31:51.856" v="1826" actId="478"/>
          <ac:spMkLst>
            <pc:docMk/>
            <pc:sldMk cId="20936621" sldId="1915"/>
            <ac:spMk id="4" creationId="{DA6A65AD-43AA-423E-8D08-19A36B5745EF}"/>
          </ac:spMkLst>
        </pc:spChg>
        <pc:spChg chg="mod ord">
          <ac:chgData name="Reuben Issac Jacob" userId="a26d73c9-1689-41bd-af50-ef825e838770" providerId="ADAL" clId="{F452BC9E-5BE8-4A0B-9F00-66A7219A31DE}" dt="2022-06-29T13:32:01.915" v="1828" actId="700"/>
          <ac:spMkLst>
            <pc:docMk/>
            <pc:sldMk cId="20936621" sldId="1915"/>
            <ac:spMk id="5" creationId="{795D34CA-2892-4FF4-9588-C6A35829635B}"/>
          </ac:spMkLst>
        </pc:spChg>
        <pc:spChg chg="mod">
          <ac:chgData name="Reuben Issac Jacob" userId="a26d73c9-1689-41bd-af50-ef825e838770" providerId="ADAL" clId="{F452BC9E-5BE8-4A0B-9F00-66A7219A31DE}" dt="2022-06-29T13:32:31.937" v="1832" actId="207"/>
          <ac:spMkLst>
            <pc:docMk/>
            <pc:sldMk cId="20936621" sldId="1915"/>
            <ac:spMk id="9" creationId="{E52889C9-244F-455F-8AAC-619E1BF95973}"/>
          </ac:spMkLst>
        </pc:spChg>
        <pc:picChg chg="mod">
          <ac:chgData name="Reuben Issac Jacob" userId="a26d73c9-1689-41bd-af50-ef825e838770" providerId="ADAL" clId="{F452BC9E-5BE8-4A0B-9F00-66A7219A31DE}" dt="2022-06-29T13:35:43.699" v="1861" actId="1076"/>
          <ac:picMkLst>
            <pc:docMk/>
            <pc:sldMk cId="20936621" sldId="1915"/>
            <ac:picMk id="13" creationId="{9593C307-4097-4B58-90BC-C95A1DED1EC7}"/>
          </ac:picMkLst>
        </pc:picChg>
        <pc:picChg chg="del">
          <ac:chgData name="Reuben Issac Jacob" userId="a26d73c9-1689-41bd-af50-ef825e838770" providerId="ADAL" clId="{F452BC9E-5BE8-4A0B-9F00-66A7219A31DE}" dt="2022-06-29T13:31:54.215" v="1827" actId="478"/>
          <ac:picMkLst>
            <pc:docMk/>
            <pc:sldMk cId="20936621" sldId="1915"/>
            <ac:picMk id="22" creationId="{80F0B922-E4DF-4FA6-BF97-28BBF4EFB923}"/>
          </ac:picMkLst>
        </pc:picChg>
      </pc:sldChg>
      <pc:sldChg chg="addSp delSp modSp mod modAnim">
        <pc:chgData name="Reuben Issac Jacob" userId="a26d73c9-1689-41bd-af50-ef825e838770" providerId="ADAL" clId="{F452BC9E-5BE8-4A0B-9F00-66A7219A31DE}" dt="2022-06-29T20:07:31.292" v="3492"/>
        <pc:sldMkLst>
          <pc:docMk/>
          <pc:sldMk cId="1577116663" sldId="9949"/>
        </pc:sldMkLst>
        <pc:spChg chg="add mod">
          <ac:chgData name="Reuben Issac Jacob" userId="a26d73c9-1689-41bd-af50-ef825e838770" providerId="ADAL" clId="{F452BC9E-5BE8-4A0B-9F00-66A7219A31DE}" dt="2022-06-29T05:28:09.515" v="697" actId="207"/>
          <ac:spMkLst>
            <pc:docMk/>
            <pc:sldMk cId="1577116663" sldId="9949"/>
            <ac:spMk id="3" creationId="{F1D8413A-005E-518F-A6EA-0AE11039027B}"/>
          </ac:spMkLst>
        </pc:spChg>
        <pc:spChg chg="mod">
          <ac:chgData name="Reuben Issac Jacob" userId="a26d73c9-1689-41bd-af50-ef825e838770" providerId="ADAL" clId="{F452BC9E-5BE8-4A0B-9F00-66A7219A31DE}" dt="2022-06-29T05:29:46.305" v="710" actId="465"/>
          <ac:spMkLst>
            <pc:docMk/>
            <pc:sldMk cId="1577116663" sldId="9949"/>
            <ac:spMk id="4" creationId="{05A10481-8FD3-4432-A4AD-78688D3A311D}"/>
          </ac:spMkLst>
        </pc:spChg>
        <pc:spChg chg="mod">
          <ac:chgData name="Reuben Issac Jacob" userId="a26d73c9-1689-41bd-af50-ef825e838770" providerId="ADAL" clId="{F452BC9E-5BE8-4A0B-9F00-66A7219A31DE}" dt="2022-06-29T05:29:46.305" v="710" actId="465"/>
          <ac:spMkLst>
            <pc:docMk/>
            <pc:sldMk cId="1577116663" sldId="9949"/>
            <ac:spMk id="5" creationId="{97A55507-3261-40FC-BA3B-B2449DDA62F4}"/>
          </ac:spMkLst>
        </pc:spChg>
        <pc:spChg chg="del">
          <ac:chgData name="Reuben Issac Jacob" userId="a26d73c9-1689-41bd-af50-ef825e838770" providerId="ADAL" clId="{F452BC9E-5BE8-4A0B-9F00-66A7219A31DE}" dt="2022-06-29T05:28:04.541" v="695" actId="478"/>
          <ac:spMkLst>
            <pc:docMk/>
            <pc:sldMk cId="1577116663" sldId="9949"/>
            <ac:spMk id="6" creationId="{A9669584-54CA-4E6D-83CF-6E7C9A6FEEA6}"/>
          </ac:spMkLst>
        </pc:spChg>
        <pc:spChg chg="mod">
          <ac:chgData name="Reuben Issac Jacob" userId="a26d73c9-1689-41bd-af50-ef825e838770" providerId="ADAL" clId="{F452BC9E-5BE8-4A0B-9F00-66A7219A31DE}" dt="2022-06-29T05:29:39.395" v="709" actId="1076"/>
          <ac:spMkLst>
            <pc:docMk/>
            <pc:sldMk cId="1577116663" sldId="9949"/>
            <ac:spMk id="8" creationId="{166A48C7-23C1-4EB7-9B83-01DC9B572A12}"/>
          </ac:spMkLst>
        </pc:spChg>
        <pc:spChg chg="mod">
          <ac:chgData name="Reuben Issac Jacob" userId="a26d73c9-1689-41bd-af50-ef825e838770" providerId="ADAL" clId="{F452BC9E-5BE8-4A0B-9F00-66A7219A31DE}" dt="2022-06-29T05:29:46.305" v="710" actId="465"/>
          <ac:spMkLst>
            <pc:docMk/>
            <pc:sldMk cId="1577116663" sldId="9949"/>
            <ac:spMk id="12" creationId="{E82C40CE-FD39-4275-B6EC-25F417B26249}"/>
          </ac:spMkLst>
        </pc:spChg>
        <pc:spChg chg="mod">
          <ac:chgData name="Reuben Issac Jacob" userId="a26d73c9-1689-41bd-af50-ef825e838770" providerId="ADAL" clId="{F452BC9E-5BE8-4A0B-9F00-66A7219A31DE}" dt="2022-06-29T05:29:39.395" v="709" actId="1076"/>
          <ac:spMkLst>
            <pc:docMk/>
            <pc:sldMk cId="1577116663" sldId="9949"/>
            <ac:spMk id="21" creationId="{ED5F94CC-E6CA-4A8A-B99D-1E2C3358FC9F}"/>
          </ac:spMkLst>
        </pc:spChg>
        <pc:picChg chg="mod modCrop">
          <ac:chgData name="Reuben Issac Jacob" userId="a26d73c9-1689-41bd-af50-ef825e838770" providerId="ADAL" clId="{F452BC9E-5BE8-4A0B-9F00-66A7219A31DE}" dt="2022-06-29T05:30:39.211" v="719" actId="1076"/>
          <ac:picMkLst>
            <pc:docMk/>
            <pc:sldMk cId="1577116663" sldId="9949"/>
            <ac:picMk id="13" creationId="{A5E307A0-3DFC-4482-A48F-9505A22DFB95}"/>
          </ac:picMkLst>
        </pc:picChg>
      </pc:sldChg>
      <pc:sldChg chg="addSp delSp modSp mod modTransition delAnim modAnim">
        <pc:chgData name="Reuben Issac Jacob" userId="a26d73c9-1689-41bd-af50-ef825e838770" providerId="ADAL" clId="{F452BC9E-5BE8-4A0B-9F00-66A7219A31DE}" dt="2022-06-29T20:06:22.529" v="3482"/>
        <pc:sldMkLst>
          <pc:docMk/>
          <pc:sldMk cId="2201566731" sldId="11635"/>
        </pc:sldMkLst>
        <pc:spChg chg="add mod">
          <ac:chgData name="Reuben Issac Jacob" userId="a26d73c9-1689-41bd-af50-ef825e838770" providerId="ADAL" clId="{F452BC9E-5BE8-4A0B-9F00-66A7219A31DE}" dt="2022-06-29T05:18:59.895" v="619"/>
          <ac:spMkLst>
            <pc:docMk/>
            <pc:sldMk cId="2201566731" sldId="11635"/>
            <ac:spMk id="3" creationId="{27F81762-B65D-1E1F-7BB0-E69FE7E3703C}"/>
          </ac:spMkLst>
        </pc:spChg>
        <pc:spChg chg="mod topLvl">
          <ac:chgData name="Reuben Issac Jacob" userId="a26d73c9-1689-41bd-af50-ef825e838770" providerId="ADAL" clId="{F452BC9E-5BE8-4A0B-9F00-66A7219A31DE}" dt="2022-06-29T05:27:53.131" v="694" actId="165"/>
          <ac:spMkLst>
            <pc:docMk/>
            <pc:sldMk cId="2201566731" sldId="11635"/>
            <ac:spMk id="5" creationId="{0923BA6E-EAF2-43E9-809E-A59B9CC5D37B}"/>
          </ac:spMkLst>
        </pc:spChg>
        <pc:spChg chg="mod topLvl">
          <ac:chgData name="Reuben Issac Jacob" userId="a26d73c9-1689-41bd-af50-ef825e838770" providerId="ADAL" clId="{F452BC9E-5BE8-4A0B-9F00-66A7219A31DE}" dt="2022-06-29T05:27:53.131" v="694" actId="165"/>
          <ac:spMkLst>
            <pc:docMk/>
            <pc:sldMk cId="2201566731" sldId="11635"/>
            <ac:spMk id="11" creationId="{B7A38689-7833-4EA5-BC2E-1C4B1B465592}"/>
          </ac:spMkLst>
        </pc:spChg>
        <pc:spChg chg="mod">
          <ac:chgData name="Reuben Issac Jacob" userId="a26d73c9-1689-41bd-af50-ef825e838770" providerId="ADAL" clId="{F452BC9E-5BE8-4A0B-9F00-66A7219A31DE}" dt="2022-06-29T05:27:45.824" v="693" actId="165"/>
          <ac:spMkLst>
            <pc:docMk/>
            <pc:sldMk cId="2201566731" sldId="11635"/>
            <ac:spMk id="33" creationId="{B357F2D9-0689-4626-9B80-438072D84F8F}"/>
          </ac:spMkLst>
        </pc:spChg>
        <pc:spChg chg="mod">
          <ac:chgData name="Reuben Issac Jacob" userId="a26d73c9-1689-41bd-af50-ef825e838770" providerId="ADAL" clId="{F452BC9E-5BE8-4A0B-9F00-66A7219A31DE}" dt="2022-06-29T05:27:45.824" v="693" actId="165"/>
          <ac:spMkLst>
            <pc:docMk/>
            <pc:sldMk cId="2201566731" sldId="11635"/>
            <ac:spMk id="34" creationId="{8BE4F176-F2EA-42FD-8865-324793C16BD3}"/>
          </ac:spMkLst>
        </pc:spChg>
        <pc:spChg chg="mod">
          <ac:chgData name="Reuben Issac Jacob" userId="a26d73c9-1689-41bd-af50-ef825e838770" providerId="ADAL" clId="{F452BC9E-5BE8-4A0B-9F00-66A7219A31DE}" dt="2022-06-29T05:27:45.824" v="693" actId="165"/>
          <ac:spMkLst>
            <pc:docMk/>
            <pc:sldMk cId="2201566731" sldId="11635"/>
            <ac:spMk id="35" creationId="{24CB38DB-48E2-42C2-AE9E-9AB886C73D4E}"/>
          </ac:spMkLst>
        </pc:spChg>
        <pc:spChg chg="mod">
          <ac:chgData name="Reuben Issac Jacob" userId="a26d73c9-1689-41bd-af50-ef825e838770" providerId="ADAL" clId="{F452BC9E-5BE8-4A0B-9F00-66A7219A31DE}" dt="2022-06-29T05:27:45.824" v="693" actId="165"/>
          <ac:spMkLst>
            <pc:docMk/>
            <pc:sldMk cId="2201566731" sldId="11635"/>
            <ac:spMk id="36" creationId="{BD6C3323-CDB9-4DAD-B94F-5330C9D1D84A}"/>
          </ac:spMkLst>
        </pc:spChg>
        <pc:spChg chg="mod">
          <ac:chgData name="Reuben Issac Jacob" userId="a26d73c9-1689-41bd-af50-ef825e838770" providerId="ADAL" clId="{F452BC9E-5BE8-4A0B-9F00-66A7219A31DE}" dt="2022-06-29T05:27:45.824" v="693" actId="165"/>
          <ac:spMkLst>
            <pc:docMk/>
            <pc:sldMk cId="2201566731" sldId="11635"/>
            <ac:spMk id="37" creationId="{5AAEC45D-B87F-4582-95E6-BC974D9F83A3}"/>
          </ac:spMkLst>
        </pc:spChg>
        <pc:spChg chg="mod">
          <ac:chgData name="Reuben Issac Jacob" userId="a26d73c9-1689-41bd-af50-ef825e838770" providerId="ADAL" clId="{F452BC9E-5BE8-4A0B-9F00-66A7219A31DE}" dt="2022-06-29T05:27:45.824" v="693" actId="165"/>
          <ac:spMkLst>
            <pc:docMk/>
            <pc:sldMk cId="2201566731" sldId="11635"/>
            <ac:spMk id="38" creationId="{763D7D02-C27A-4D13-9C62-B58558EFDFD6}"/>
          </ac:spMkLst>
        </pc:spChg>
        <pc:spChg chg="mod">
          <ac:chgData name="Reuben Issac Jacob" userId="a26d73c9-1689-41bd-af50-ef825e838770" providerId="ADAL" clId="{F452BC9E-5BE8-4A0B-9F00-66A7219A31DE}" dt="2022-06-29T05:27:45.824" v="693" actId="165"/>
          <ac:spMkLst>
            <pc:docMk/>
            <pc:sldMk cId="2201566731" sldId="11635"/>
            <ac:spMk id="39" creationId="{6D916755-157F-499B-BA29-0A6BB55C70C4}"/>
          </ac:spMkLst>
        </pc:spChg>
        <pc:spChg chg="mod">
          <ac:chgData name="Reuben Issac Jacob" userId="a26d73c9-1689-41bd-af50-ef825e838770" providerId="ADAL" clId="{F452BC9E-5BE8-4A0B-9F00-66A7219A31DE}" dt="2022-06-29T05:27:45.824" v="693" actId="165"/>
          <ac:spMkLst>
            <pc:docMk/>
            <pc:sldMk cId="2201566731" sldId="11635"/>
            <ac:spMk id="40" creationId="{17C0F283-5DCB-4EE6-8C55-769EBA5D804B}"/>
          </ac:spMkLst>
        </pc:spChg>
        <pc:spChg chg="mod">
          <ac:chgData name="Reuben Issac Jacob" userId="a26d73c9-1689-41bd-af50-ef825e838770" providerId="ADAL" clId="{F452BC9E-5BE8-4A0B-9F00-66A7219A31DE}" dt="2022-06-29T05:27:45.824" v="693" actId="165"/>
          <ac:spMkLst>
            <pc:docMk/>
            <pc:sldMk cId="2201566731" sldId="11635"/>
            <ac:spMk id="41" creationId="{F457EF37-D121-4FC7-8B2C-38F743C78049}"/>
          </ac:spMkLst>
        </pc:spChg>
        <pc:spChg chg="mod">
          <ac:chgData name="Reuben Issac Jacob" userId="a26d73c9-1689-41bd-af50-ef825e838770" providerId="ADAL" clId="{F452BC9E-5BE8-4A0B-9F00-66A7219A31DE}" dt="2022-06-29T05:27:45.824" v="693" actId="165"/>
          <ac:spMkLst>
            <pc:docMk/>
            <pc:sldMk cId="2201566731" sldId="11635"/>
            <ac:spMk id="42" creationId="{838A8C92-D305-4883-9F9B-E9E27497C07B}"/>
          </ac:spMkLst>
        </pc:spChg>
        <pc:spChg chg="mod">
          <ac:chgData name="Reuben Issac Jacob" userId="a26d73c9-1689-41bd-af50-ef825e838770" providerId="ADAL" clId="{F452BC9E-5BE8-4A0B-9F00-66A7219A31DE}" dt="2022-06-29T05:27:45.824" v="693" actId="165"/>
          <ac:spMkLst>
            <pc:docMk/>
            <pc:sldMk cId="2201566731" sldId="11635"/>
            <ac:spMk id="43" creationId="{EAF8FABB-EEAE-411C-A6F0-EC9D8F8AB3B9}"/>
          </ac:spMkLst>
        </pc:spChg>
        <pc:spChg chg="mod">
          <ac:chgData name="Reuben Issac Jacob" userId="a26d73c9-1689-41bd-af50-ef825e838770" providerId="ADAL" clId="{F452BC9E-5BE8-4A0B-9F00-66A7219A31DE}" dt="2022-06-29T05:27:45.824" v="693" actId="165"/>
          <ac:spMkLst>
            <pc:docMk/>
            <pc:sldMk cId="2201566731" sldId="11635"/>
            <ac:spMk id="44" creationId="{F9994F4E-71B8-49DE-8967-F867ED17C703}"/>
          </ac:spMkLst>
        </pc:spChg>
        <pc:spChg chg="mod">
          <ac:chgData name="Reuben Issac Jacob" userId="a26d73c9-1689-41bd-af50-ef825e838770" providerId="ADAL" clId="{F452BC9E-5BE8-4A0B-9F00-66A7219A31DE}" dt="2022-06-29T05:27:45.824" v="693" actId="165"/>
          <ac:spMkLst>
            <pc:docMk/>
            <pc:sldMk cId="2201566731" sldId="11635"/>
            <ac:spMk id="45" creationId="{ED10B28A-A153-4927-9360-487E89A8EB7C}"/>
          </ac:spMkLst>
        </pc:spChg>
        <pc:spChg chg="mod">
          <ac:chgData name="Reuben Issac Jacob" userId="a26d73c9-1689-41bd-af50-ef825e838770" providerId="ADAL" clId="{F452BC9E-5BE8-4A0B-9F00-66A7219A31DE}" dt="2022-06-29T05:27:45.824" v="693" actId="165"/>
          <ac:spMkLst>
            <pc:docMk/>
            <pc:sldMk cId="2201566731" sldId="11635"/>
            <ac:spMk id="46" creationId="{671E396D-7F2F-4A6D-86E9-2D6113DA433C}"/>
          </ac:spMkLst>
        </pc:spChg>
        <pc:spChg chg="mod">
          <ac:chgData name="Reuben Issac Jacob" userId="a26d73c9-1689-41bd-af50-ef825e838770" providerId="ADAL" clId="{F452BC9E-5BE8-4A0B-9F00-66A7219A31DE}" dt="2022-06-29T05:27:45.824" v="693" actId="165"/>
          <ac:spMkLst>
            <pc:docMk/>
            <pc:sldMk cId="2201566731" sldId="11635"/>
            <ac:spMk id="47" creationId="{1177EED0-6815-4F8B-814E-BCE63DAFA20D}"/>
          </ac:spMkLst>
        </pc:spChg>
        <pc:spChg chg="mod">
          <ac:chgData name="Reuben Issac Jacob" userId="a26d73c9-1689-41bd-af50-ef825e838770" providerId="ADAL" clId="{F452BC9E-5BE8-4A0B-9F00-66A7219A31DE}" dt="2022-06-29T05:27:45.824" v="693" actId="165"/>
          <ac:spMkLst>
            <pc:docMk/>
            <pc:sldMk cId="2201566731" sldId="11635"/>
            <ac:spMk id="48" creationId="{4A1E3665-2CDD-45A9-B6BF-8ABFD6B91689}"/>
          </ac:spMkLst>
        </pc:spChg>
        <pc:spChg chg="mod">
          <ac:chgData name="Reuben Issac Jacob" userId="a26d73c9-1689-41bd-af50-ef825e838770" providerId="ADAL" clId="{F452BC9E-5BE8-4A0B-9F00-66A7219A31DE}" dt="2022-06-29T05:27:45.824" v="693" actId="165"/>
          <ac:spMkLst>
            <pc:docMk/>
            <pc:sldMk cId="2201566731" sldId="11635"/>
            <ac:spMk id="49" creationId="{12F61744-F23F-42F8-AB24-2C1F81C6A97B}"/>
          </ac:spMkLst>
        </pc:spChg>
        <pc:spChg chg="mod">
          <ac:chgData name="Reuben Issac Jacob" userId="a26d73c9-1689-41bd-af50-ef825e838770" providerId="ADAL" clId="{F452BC9E-5BE8-4A0B-9F00-66A7219A31DE}" dt="2022-06-29T05:27:45.824" v="693" actId="165"/>
          <ac:spMkLst>
            <pc:docMk/>
            <pc:sldMk cId="2201566731" sldId="11635"/>
            <ac:spMk id="50" creationId="{9355B747-43D4-4671-9BDF-10421398C65D}"/>
          </ac:spMkLst>
        </pc:spChg>
        <pc:spChg chg="del">
          <ac:chgData name="Reuben Issac Jacob" userId="a26d73c9-1689-41bd-af50-ef825e838770" providerId="ADAL" clId="{F452BC9E-5BE8-4A0B-9F00-66A7219A31DE}" dt="2022-06-29T05:18:57.875" v="618" actId="478"/>
          <ac:spMkLst>
            <pc:docMk/>
            <pc:sldMk cId="2201566731" sldId="11635"/>
            <ac:spMk id="76" creationId="{49C522D0-AE9A-4512-90D3-6AE529BE6F4A}"/>
          </ac:spMkLst>
        </pc:spChg>
        <pc:spChg chg="mod topLvl">
          <ac:chgData name="Reuben Issac Jacob" userId="a26d73c9-1689-41bd-af50-ef825e838770" providerId="ADAL" clId="{F452BC9E-5BE8-4A0B-9F00-66A7219A31DE}" dt="2022-06-29T05:27:53.131" v="694" actId="165"/>
          <ac:spMkLst>
            <pc:docMk/>
            <pc:sldMk cId="2201566731" sldId="11635"/>
            <ac:spMk id="77" creationId="{1EA11DE6-5307-4463-9241-A5489DFD16BB}"/>
          </ac:spMkLst>
        </pc:spChg>
        <pc:spChg chg="mod topLvl">
          <ac:chgData name="Reuben Issac Jacob" userId="a26d73c9-1689-41bd-af50-ef825e838770" providerId="ADAL" clId="{F452BC9E-5BE8-4A0B-9F00-66A7219A31DE}" dt="2022-06-29T05:27:53.131" v="694" actId="165"/>
          <ac:spMkLst>
            <pc:docMk/>
            <pc:sldMk cId="2201566731" sldId="11635"/>
            <ac:spMk id="144" creationId="{426A63D5-0CDF-45AA-9438-00C389888760}"/>
          </ac:spMkLst>
        </pc:spChg>
        <pc:spChg chg="mod topLvl">
          <ac:chgData name="Reuben Issac Jacob" userId="a26d73c9-1689-41bd-af50-ef825e838770" providerId="ADAL" clId="{F452BC9E-5BE8-4A0B-9F00-66A7219A31DE}" dt="2022-06-29T05:27:53.131" v="694" actId="165"/>
          <ac:spMkLst>
            <pc:docMk/>
            <pc:sldMk cId="2201566731" sldId="11635"/>
            <ac:spMk id="145" creationId="{B0541D98-0B2B-4B7E-B608-3973A256EEF5}"/>
          </ac:spMkLst>
        </pc:spChg>
        <pc:spChg chg="mod topLvl">
          <ac:chgData name="Reuben Issac Jacob" userId="a26d73c9-1689-41bd-af50-ef825e838770" providerId="ADAL" clId="{F452BC9E-5BE8-4A0B-9F00-66A7219A31DE}" dt="2022-06-29T05:27:53.131" v="694" actId="165"/>
          <ac:spMkLst>
            <pc:docMk/>
            <pc:sldMk cId="2201566731" sldId="11635"/>
            <ac:spMk id="146" creationId="{93F21893-2A78-4BA5-8C7D-5B4A12198776}"/>
          </ac:spMkLst>
        </pc:spChg>
        <pc:spChg chg="mod topLvl">
          <ac:chgData name="Reuben Issac Jacob" userId="a26d73c9-1689-41bd-af50-ef825e838770" providerId="ADAL" clId="{F452BC9E-5BE8-4A0B-9F00-66A7219A31DE}" dt="2022-06-29T05:27:53.131" v="694" actId="165"/>
          <ac:spMkLst>
            <pc:docMk/>
            <pc:sldMk cId="2201566731" sldId="11635"/>
            <ac:spMk id="149" creationId="{A6002F62-EE1B-4229-B84E-6E7A0544B89D}"/>
          </ac:spMkLst>
        </pc:spChg>
        <pc:spChg chg="mod">
          <ac:chgData name="Reuben Issac Jacob" userId="a26d73c9-1689-41bd-af50-ef825e838770" providerId="ADAL" clId="{F452BC9E-5BE8-4A0B-9F00-66A7219A31DE}" dt="2022-06-29T05:27:45.824" v="693" actId="165"/>
          <ac:spMkLst>
            <pc:docMk/>
            <pc:sldMk cId="2201566731" sldId="11635"/>
            <ac:spMk id="151" creationId="{120E153B-7C45-4B8B-87CD-EEED03858D80}"/>
          </ac:spMkLst>
        </pc:spChg>
        <pc:spChg chg="mod">
          <ac:chgData name="Reuben Issac Jacob" userId="a26d73c9-1689-41bd-af50-ef825e838770" providerId="ADAL" clId="{F452BC9E-5BE8-4A0B-9F00-66A7219A31DE}" dt="2022-06-29T05:27:45.824" v="693" actId="165"/>
          <ac:spMkLst>
            <pc:docMk/>
            <pc:sldMk cId="2201566731" sldId="11635"/>
            <ac:spMk id="152" creationId="{E25EA278-EC64-4A5F-AD6B-465BDE78E52D}"/>
          </ac:spMkLst>
        </pc:spChg>
        <pc:spChg chg="mod">
          <ac:chgData name="Reuben Issac Jacob" userId="a26d73c9-1689-41bd-af50-ef825e838770" providerId="ADAL" clId="{F452BC9E-5BE8-4A0B-9F00-66A7219A31DE}" dt="2022-06-29T05:27:45.824" v="693" actId="165"/>
          <ac:spMkLst>
            <pc:docMk/>
            <pc:sldMk cId="2201566731" sldId="11635"/>
            <ac:spMk id="153" creationId="{8FAD3E48-CB2F-47F0-8659-EAD660F18397}"/>
          </ac:spMkLst>
        </pc:spChg>
        <pc:spChg chg="mod">
          <ac:chgData name="Reuben Issac Jacob" userId="a26d73c9-1689-41bd-af50-ef825e838770" providerId="ADAL" clId="{F452BC9E-5BE8-4A0B-9F00-66A7219A31DE}" dt="2022-06-29T05:27:45.824" v="693" actId="165"/>
          <ac:spMkLst>
            <pc:docMk/>
            <pc:sldMk cId="2201566731" sldId="11635"/>
            <ac:spMk id="154" creationId="{B3ECA1E7-5EF4-40BB-9BF5-B849EA0D6D56}"/>
          </ac:spMkLst>
        </pc:spChg>
        <pc:spChg chg="mod">
          <ac:chgData name="Reuben Issac Jacob" userId="a26d73c9-1689-41bd-af50-ef825e838770" providerId="ADAL" clId="{F452BC9E-5BE8-4A0B-9F00-66A7219A31DE}" dt="2022-06-29T05:27:45.824" v="693" actId="165"/>
          <ac:spMkLst>
            <pc:docMk/>
            <pc:sldMk cId="2201566731" sldId="11635"/>
            <ac:spMk id="156" creationId="{6C68042B-9AEC-4376-AB71-08B8DA02B914}"/>
          </ac:spMkLst>
        </pc:spChg>
        <pc:spChg chg="mod">
          <ac:chgData name="Reuben Issac Jacob" userId="a26d73c9-1689-41bd-af50-ef825e838770" providerId="ADAL" clId="{F452BC9E-5BE8-4A0B-9F00-66A7219A31DE}" dt="2022-06-29T05:27:45.824" v="693" actId="165"/>
          <ac:spMkLst>
            <pc:docMk/>
            <pc:sldMk cId="2201566731" sldId="11635"/>
            <ac:spMk id="157" creationId="{F074D67A-D200-4AC1-AFCB-0A9E613CEE36}"/>
          </ac:spMkLst>
        </pc:spChg>
        <pc:spChg chg="mod">
          <ac:chgData name="Reuben Issac Jacob" userId="a26d73c9-1689-41bd-af50-ef825e838770" providerId="ADAL" clId="{F452BC9E-5BE8-4A0B-9F00-66A7219A31DE}" dt="2022-06-29T05:27:45.824" v="693" actId="165"/>
          <ac:spMkLst>
            <pc:docMk/>
            <pc:sldMk cId="2201566731" sldId="11635"/>
            <ac:spMk id="158" creationId="{7E58B27B-91BC-4DAE-BECC-B0217B169650}"/>
          </ac:spMkLst>
        </pc:spChg>
        <pc:spChg chg="mod">
          <ac:chgData name="Reuben Issac Jacob" userId="a26d73c9-1689-41bd-af50-ef825e838770" providerId="ADAL" clId="{F452BC9E-5BE8-4A0B-9F00-66A7219A31DE}" dt="2022-06-29T05:27:45.824" v="693" actId="165"/>
          <ac:spMkLst>
            <pc:docMk/>
            <pc:sldMk cId="2201566731" sldId="11635"/>
            <ac:spMk id="159" creationId="{1829D817-87C9-4EC2-8BDF-FFA5518CD967}"/>
          </ac:spMkLst>
        </pc:spChg>
        <pc:spChg chg="mod">
          <ac:chgData name="Reuben Issac Jacob" userId="a26d73c9-1689-41bd-af50-ef825e838770" providerId="ADAL" clId="{F452BC9E-5BE8-4A0B-9F00-66A7219A31DE}" dt="2022-06-29T05:27:45.824" v="693" actId="165"/>
          <ac:spMkLst>
            <pc:docMk/>
            <pc:sldMk cId="2201566731" sldId="11635"/>
            <ac:spMk id="160" creationId="{74E74AB7-1D7C-47B2-83C1-A50E56475A4E}"/>
          </ac:spMkLst>
        </pc:spChg>
        <pc:spChg chg="mod">
          <ac:chgData name="Reuben Issac Jacob" userId="a26d73c9-1689-41bd-af50-ef825e838770" providerId="ADAL" clId="{F452BC9E-5BE8-4A0B-9F00-66A7219A31DE}" dt="2022-06-29T05:27:45.824" v="693" actId="165"/>
          <ac:spMkLst>
            <pc:docMk/>
            <pc:sldMk cId="2201566731" sldId="11635"/>
            <ac:spMk id="161" creationId="{D2D4305F-9447-479D-94B5-24021FDC998B}"/>
          </ac:spMkLst>
        </pc:spChg>
        <pc:spChg chg="mod">
          <ac:chgData name="Reuben Issac Jacob" userId="a26d73c9-1689-41bd-af50-ef825e838770" providerId="ADAL" clId="{F452BC9E-5BE8-4A0B-9F00-66A7219A31DE}" dt="2022-06-29T05:27:45.824" v="693" actId="165"/>
          <ac:spMkLst>
            <pc:docMk/>
            <pc:sldMk cId="2201566731" sldId="11635"/>
            <ac:spMk id="162" creationId="{FB83F5F7-CDAB-43CC-8292-D197313DC3D3}"/>
          </ac:spMkLst>
        </pc:spChg>
        <pc:spChg chg="mod">
          <ac:chgData name="Reuben Issac Jacob" userId="a26d73c9-1689-41bd-af50-ef825e838770" providerId="ADAL" clId="{F452BC9E-5BE8-4A0B-9F00-66A7219A31DE}" dt="2022-06-29T05:27:45.824" v="693" actId="165"/>
          <ac:spMkLst>
            <pc:docMk/>
            <pc:sldMk cId="2201566731" sldId="11635"/>
            <ac:spMk id="163" creationId="{3D37AFA2-1386-444B-8D5C-9518793B5071}"/>
          </ac:spMkLst>
        </pc:spChg>
        <pc:spChg chg="mod">
          <ac:chgData name="Reuben Issac Jacob" userId="a26d73c9-1689-41bd-af50-ef825e838770" providerId="ADAL" clId="{F452BC9E-5BE8-4A0B-9F00-66A7219A31DE}" dt="2022-06-29T05:27:45.824" v="693" actId="165"/>
          <ac:spMkLst>
            <pc:docMk/>
            <pc:sldMk cId="2201566731" sldId="11635"/>
            <ac:spMk id="164" creationId="{3DB85FDC-D3E6-457A-90D1-7D2CBED9D3EF}"/>
          </ac:spMkLst>
        </pc:spChg>
        <pc:spChg chg="mod topLvl">
          <ac:chgData name="Reuben Issac Jacob" userId="a26d73c9-1689-41bd-af50-ef825e838770" providerId="ADAL" clId="{F452BC9E-5BE8-4A0B-9F00-66A7219A31DE}" dt="2022-06-29T05:27:53.131" v="694" actId="165"/>
          <ac:spMkLst>
            <pc:docMk/>
            <pc:sldMk cId="2201566731" sldId="11635"/>
            <ac:spMk id="168" creationId="{D947991A-2382-4A72-B3CF-33F64767DEB4}"/>
          </ac:spMkLst>
        </pc:spChg>
        <pc:spChg chg="mod topLvl">
          <ac:chgData name="Reuben Issac Jacob" userId="a26d73c9-1689-41bd-af50-ef825e838770" providerId="ADAL" clId="{F452BC9E-5BE8-4A0B-9F00-66A7219A31DE}" dt="2022-06-29T05:27:53.131" v="694" actId="165"/>
          <ac:spMkLst>
            <pc:docMk/>
            <pc:sldMk cId="2201566731" sldId="11635"/>
            <ac:spMk id="169" creationId="{736AFF61-E8CD-4D0B-9595-F4BF1800E3F2}"/>
          </ac:spMkLst>
        </pc:spChg>
        <pc:spChg chg="mod topLvl">
          <ac:chgData name="Reuben Issac Jacob" userId="a26d73c9-1689-41bd-af50-ef825e838770" providerId="ADAL" clId="{F452BC9E-5BE8-4A0B-9F00-66A7219A31DE}" dt="2022-06-29T05:27:53.131" v="694" actId="165"/>
          <ac:spMkLst>
            <pc:docMk/>
            <pc:sldMk cId="2201566731" sldId="11635"/>
            <ac:spMk id="170" creationId="{7F63C23B-1E87-4DD5-BF69-68203C510A44}"/>
          </ac:spMkLst>
        </pc:spChg>
        <pc:spChg chg="mod topLvl">
          <ac:chgData name="Reuben Issac Jacob" userId="a26d73c9-1689-41bd-af50-ef825e838770" providerId="ADAL" clId="{F452BC9E-5BE8-4A0B-9F00-66A7219A31DE}" dt="2022-06-29T05:27:53.131" v="694" actId="165"/>
          <ac:spMkLst>
            <pc:docMk/>
            <pc:sldMk cId="2201566731" sldId="11635"/>
            <ac:spMk id="224" creationId="{C8E91E92-E03D-4B40-A2BC-9556CA881101}"/>
          </ac:spMkLst>
        </pc:spChg>
        <pc:spChg chg="mod topLvl">
          <ac:chgData name="Reuben Issac Jacob" userId="a26d73c9-1689-41bd-af50-ef825e838770" providerId="ADAL" clId="{F452BC9E-5BE8-4A0B-9F00-66A7219A31DE}" dt="2022-06-29T05:27:53.131" v="694" actId="165"/>
          <ac:spMkLst>
            <pc:docMk/>
            <pc:sldMk cId="2201566731" sldId="11635"/>
            <ac:spMk id="226" creationId="{4731CB41-4B8F-4A19-9734-5DC49B09A0FB}"/>
          </ac:spMkLst>
        </pc:spChg>
        <pc:spChg chg="mod topLvl">
          <ac:chgData name="Reuben Issac Jacob" userId="a26d73c9-1689-41bd-af50-ef825e838770" providerId="ADAL" clId="{F452BC9E-5BE8-4A0B-9F00-66A7219A31DE}" dt="2022-06-29T05:27:53.131" v="694" actId="165"/>
          <ac:spMkLst>
            <pc:docMk/>
            <pc:sldMk cId="2201566731" sldId="11635"/>
            <ac:spMk id="227" creationId="{6A64EF66-E71A-47EB-BB12-759AFC926640}"/>
          </ac:spMkLst>
        </pc:spChg>
        <pc:spChg chg="mod topLvl">
          <ac:chgData name="Reuben Issac Jacob" userId="a26d73c9-1689-41bd-af50-ef825e838770" providerId="ADAL" clId="{F452BC9E-5BE8-4A0B-9F00-66A7219A31DE}" dt="2022-06-29T05:27:53.131" v="694" actId="165"/>
          <ac:spMkLst>
            <pc:docMk/>
            <pc:sldMk cId="2201566731" sldId="11635"/>
            <ac:spMk id="228" creationId="{732E6F8C-E26B-4543-9526-D194C06D5AB7}"/>
          </ac:spMkLst>
        </pc:spChg>
        <pc:spChg chg="mod topLvl">
          <ac:chgData name="Reuben Issac Jacob" userId="a26d73c9-1689-41bd-af50-ef825e838770" providerId="ADAL" clId="{F452BC9E-5BE8-4A0B-9F00-66A7219A31DE}" dt="2022-06-29T05:27:53.131" v="694" actId="165"/>
          <ac:spMkLst>
            <pc:docMk/>
            <pc:sldMk cId="2201566731" sldId="11635"/>
            <ac:spMk id="239" creationId="{F28224DA-AB93-4895-90DE-30DDECDA3838}"/>
          </ac:spMkLst>
        </pc:spChg>
        <pc:spChg chg="mod topLvl">
          <ac:chgData name="Reuben Issac Jacob" userId="a26d73c9-1689-41bd-af50-ef825e838770" providerId="ADAL" clId="{F452BC9E-5BE8-4A0B-9F00-66A7219A31DE}" dt="2022-06-29T05:27:53.131" v="694" actId="165"/>
          <ac:spMkLst>
            <pc:docMk/>
            <pc:sldMk cId="2201566731" sldId="11635"/>
            <ac:spMk id="241" creationId="{363E9EB2-1158-4A55-AC58-670FA1DCBAA2}"/>
          </ac:spMkLst>
        </pc:spChg>
        <pc:spChg chg="mod topLvl">
          <ac:chgData name="Reuben Issac Jacob" userId="a26d73c9-1689-41bd-af50-ef825e838770" providerId="ADAL" clId="{F452BC9E-5BE8-4A0B-9F00-66A7219A31DE}" dt="2022-06-29T05:27:53.131" v="694" actId="165"/>
          <ac:spMkLst>
            <pc:docMk/>
            <pc:sldMk cId="2201566731" sldId="11635"/>
            <ac:spMk id="242" creationId="{C9BCEB5B-32B0-4C91-A461-B1A3E6DA8BB2}"/>
          </ac:spMkLst>
        </pc:spChg>
        <pc:spChg chg="mod topLvl">
          <ac:chgData name="Reuben Issac Jacob" userId="a26d73c9-1689-41bd-af50-ef825e838770" providerId="ADAL" clId="{F452BC9E-5BE8-4A0B-9F00-66A7219A31DE}" dt="2022-06-29T05:27:53.131" v="694" actId="165"/>
          <ac:spMkLst>
            <pc:docMk/>
            <pc:sldMk cId="2201566731" sldId="11635"/>
            <ac:spMk id="243" creationId="{61C5DC41-D42A-47C7-AB8B-62A2189393DB}"/>
          </ac:spMkLst>
        </pc:spChg>
        <pc:spChg chg="mod topLvl">
          <ac:chgData name="Reuben Issac Jacob" userId="a26d73c9-1689-41bd-af50-ef825e838770" providerId="ADAL" clId="{F452BC9E-5BE8-4A0B-9F00-66A7219A31DE}" dt="2022-06-29T05:27:53.131" v="694" actId="165"/>
          <ac:spMkLst>
            <pc:docMk/>
            <pc:sldMk cId="2201566731" sldId="11635"/>
            <ac:spMk id="254" creationId="{E3EED83A-696A-4714-8A5A-1B346BA9C977}"/>
          </ac:spMkLst>
        </pc:spChg>
        <pc:spChg chg="mod">
          <ac:chgData name="Reuben Issac Jacob" userId="a26d73c9-1689-41bd-af50-ef825e838770" providerId="ADAL" clId="{F452BC9E-5BE8-4A0B-9F00-66A7219A31DE}" dt="2022-06-29T05:27:45.824" v="693" actId="165"/>
          <ac:spMkLst>
            <pc:docMk/>
            <pc:sldMk cId="2201566731" sldId="11635"/>
            <ac:spMk id="257" creationId="{B7211997-098B-4EAB-857F-448AC1EBEC58}"/>
          </ac:spMkLst>
        </pc:spChg>
        <pc:spChg chg="mod">
          <ac:chgData name="Reuben Issac Jacob" userId="a26d73c9-1689-41bd-af50-ef825e838770" providerId="ADAL" clId="{F452BC9E-5BE8-4A0B-9F00-66A7219A31DE}" dt="2022-06-29T05:27:45.824" v="693" actId="165"/>
          <ac:spMkLst>
            <pc:docMk/>
            <pc:sldMk cId="2201566731" sldId="11635"/>
            <ac:spMk id="258" creationId="{0F7C99C3-68A5-4990-8061-256F02C5285F}"/>
          </ac:spMkLst>
        </pc:spChg>
        <pc:spChg chg="mod">
          <ac:chgData name="Reuben Issac Jacob" userId="a26d73c9-1689-41bd-af50-ef825e838770" providerId="ADAL" clId="{F452BC9E-5BE8-4A0B-9F00-66A7219A31DE}" dt="2022-06-29T05:27:45.824" v="693" actId="165"/>
          <ac:spMkLst>
            <pc:docMk/>
            <pc:sldMk cId="2201566731" sldId="11635"/>
            <ac:spMk id="259" creationId="{A137A600-3BFD-43A0-AD29-EA66AE8494CE}"/>
          </ac:spMkLst>
        </pc:spChg>
        <pc:spChg chg="mod">
          <ac:chgData name="Reuben Issac Jacob" userId="a26d73c9-1689-41bd-af50-ef825e838770" providerId="ADAL" clId="{F452BC9E-5BE8-4A0B-9F00-66A7219A31DE}" dt="2022-06-29T05:27:45.824" v="693" actId="165"/>
          <ac:spMkLst>
            <pc:docMk/>
            <pc:sldMk cId="2201566731" sldId="11635"/>
            <ac:spMk id="260" creationId="{9629529D-E584-4506-A676-7DB6C5F9D7B4}"/>
          </ac:spMkLst>
        </pc:spChg>
        <pc:spChg chg="mod">
          <ac:chgData name="Reuben Issac Jacob" userId="a26d73c9-1689-41bd-af50-ef825e838770" providerId="ADAL" clId="{F452BC9E-5BE8-4A0B-9F00-66A7219A31DE}" dt="2022-06-29T05:27:45.824" v="693" actId="165"/>
          <ac:spMkLst>
            <pc:docMk/>
            <pc:sldMk cId="2201566731" sldId="11635"/>
            <ac:spMk id="261" creationId="{4027CC95-2A94-4BE4-823E-0C281DCFEAED}"/>
          </ac:spMkLst>
        </pc:spChg>
        <pc:spChg chg="mod">
          <ac:chgData name="Reuben Issac Jacob" userId="a26d73c9-1689-41bd-af50-ef825e838770" providerId="ADAL" clId="{F452BC9E-5BE8-4A0B-9F00-66A7219A31DE}" dt="2022-06-29T05:27:45.824" v="693" actId="165"/>
          <ac:spMkLst>
            <pc:docMk/>
            <pc:sldMk cId="2201566731" sldId="11635"/>
            <ac:spMk id="262" creationId="{C0EDB9EC-1FA2-4CB3-BD4D-37CC5CA10457}"/>
          </ac:spMkLst>
        </pc:spChg>
        <pc:spChg chg="mod">
          <ac:chgData name="Reuben Issac Jacob" userId="a26d73c9-1689-41bd-af50-ef825e838770" providerId="ADAL" clId="{F452BC9E-5BE8-4A0B-9F00-66A7219A31DE}" dt="2022-06-29T05:27:45.824" v="693" actId="165"/>
          <ac:spMkLst>
            <pc:docMk/>
            <pc:sldMk cId="2201566731" sldId="11635"/>
            <ac:spMk id="263" creationId="{0178DCCF-1938-483D-BEBC-8A857F6F6178}"/>
          </ac:spMkLst>
        </pc:spChg>
        <pc:spChg chg="mod">
          <ac:chgData name="Reuben Issac Jacob" userId="a26d73c9-1689-41bd-af50-ef825e838770" providerId="ADAL" clId="{F452BC9E-5BE8-4A0B-9F00-66A7219A31DE}" dt="2022-06-29T05:27:45.824" v="693" actId="165"/>
          <ac:spMkLst>
            <pc:docMk/>
            <pc:sldMk cId="2201566731" sldId="11635"/>
            <ac:spMk id="264" creationId="{B03E0950-EB3E-4DD5-9720-AF280DC6CC0F}"/>
          </ac:spMkLst>
        </pc:spChg>
        <pc:spChg chg="mod">
          <ac:chgData name="Reuben Issac Jacob" userId="a26d73c9-1689-41bd-af50-ef825e838770" providerId="ADAL" clId="{F452BC9E-5BE8-4A0B-9F00-66A7219A31DE}" dt="2022-06-29T05:27:45.824" v="693" actId="165"/>
          <ac:spMkLst>
            <pc:docMk/>
            <pc:sldMk cId="2201566731" sldId="11635"/>
            <ac:spMk id="265" creationId="{38EE0A36-7007-4E8F-873D-B31B9ECD92E3}"/>
          </ac:spMkLst>
        </pc:spChg>
        <pc:spChg chg="mod">
          <ac:chgData name="Reuben Issac Jacob" userId="a26d73c9-1689-41bd-af50-ef825e838770" providerId="ADAL" clId="{F452BC9E-5BE8-4A0B-9F00-66A7219A31DE}" dt="2022-06-29T05:27:45.824" v="693" actId="165"/>
          <ac:spMkLst>
            <pc:docMk/>
            <pc:sldMk cId="2201566731" sldId="11635"/>
            <ac:spMk id="266" creationId="{B9E5E9F3-3627-47A8-A1E9-C3F177F481F5}"/>
          </ac:spMkLst>
        </pc:spChg>
        <pc:spChg chg="mod">
          <ac:chgData name="Reuben Issac Jacob" userId="a26d73c9-1689-41bd-af50-ef825e838770" providerId="ADAL" clId="{F452BC9E-5BE8-4A0B-9F00-66A7219A31DE}" dt="2022-06-29T05:27:45.824" v="693" actId="165"/>
          <ac:spMkLst>
            <pc:docMk/>
            <pc:sldMk cId="2201566731" sldId="11635"/>
            <ac:spMk id="267" creationId="{F3D91458-17C2-4464-86CA-02B4F12DCF31}"/>
          </ac:spMkLst>
        </pc:spChg>
        <pc:spChg chg="mod">
          <ac:chgData name="Reuben Issac Jacob" userId="a26d73c9-1689-41bd-af50-ef825e838770" providerId="ADAL" clId="{F452BC9E-5BE8-4A0B-9F00-66A7219A31DE}" dt="2022-06-29T05:27:45.824" v="693" actId="165"/>
          <ac:spMkLst>
            <pc:docMk/>
            <pc:sldMk cId="2201566731" sldId="11635"/>
            <ac:spMk id="268" creationId="{DE89633D-6205-4096-801D-07887BA94B3D}"/>
          </ac:spMkLst>
        </pc:spChg>
        <pc:spChg chg="mod">
          <ac:chgData name="Reuben Issac Jacob" userId="a26d73c9-1689-41bd-af50-ef825e838770" providerId="ADAL" clId="{F452BC9E-5BE8-4A0B-9F00-66A7219A31DE}" dt="2022-06-29T05:27:45.824" v="693" actId="165"/>
          <ac:spMkLst>
            <pc:docMk/>
            <pc:sldMk cId="2201566731" sldId="11635"/>
            <ac:spMk id="269" creationId="{0FA860FF-CBE8-4B91-824E-409F1F093E27}"/>
          </ac:spMkLst>
        </pc:spChg>
        <pc:spChg chg="mod">
          <ac:chgData name="Reuben Issac Jacob" userId="a26d73c9-1689-41bd-af50-ef825e838770" providerId="ADAL" clId="{F452BC9E-5BE8-4A0B-9F00-66A7219A31DE}" dt="2022-06-29T05:27:45.824" v="693" actId="165"/>
          <ac:spMkLst>
            <pc:docMk/>
            <pc:sldMk cId="2201566731" sldId="11635"/>
            <ac:spMk id="270" creationId="{17BEC931-9E30-4240-B0F3-2C43AE3012CD}"/>
          </ac:spMkLst>
        </pc:spChg>
        <pc:spChg chg="mod">
          <ac:chgData name="Reuben Issac Jacob" userId="a26d73c9-1689-41bd-af50-ef825e838770" providerId="ADAL" clId="{F452BC9E-5BE8-4A0B-9F00-66A7219A31DE}" dt="2022-06-29T05:27:45.824" v="693" actId="165"/>
          <ac:spMkLst>
            <pc:docMk/>
            <pc:sldMk cId="2201566731" sldId="11635"/>
            <ac:spMk id="271" creationId="{43A7D49B-0B73-40CC-ADA3-E676E3F6160E}"/>
          </ac:spMkLst>
        </pc:spChg>
        <pc:spChg chg="mod">
          <ac:chgData name="Reuben Issac Jacob" userId="a26d73c9-1689-41bd-af50-ef825e838770" providerId="ADAL" clId="{F452BC9E-5BE8-4A0B-9F00-66A7219A31DE}" dt="2022-06-29T05:27:45.824" v="693" actId="165"/>
          <ac:spMkLst>
            <pc:docMk/>
            <pc:sldMk cId="2201566731" sldId="11635"/>
            <ac:spMk id="272" creationId="{BA0B351D-DF8C-46B3-815A-A59DA567AA3A}"/>
          </ac:spMkLst>
        </pc:spChg>
        <pc:spChg chg="mod">
          <ac:chgData name="Reuben Issac Jacob" userId="a26d73c9-1689-41bd-af50-ef825e838770" providerId="ADAL" clId="{F452BC9E-5BE8-4A0B-9F00-66A7219A31DE}" dt="2022-06-29T05:27:45.824" v="693" actId="165"/>
          <ac:spMkLst>
            <pc:docMk/>
            <pc:sldMk cId="2201566731" sldId="11635"/>
            <ac:spMk id="273" creationId="{5D0F43DD-295C-46CD-A76F-1321E859F61C}"/>
          </ac:spMkLst>
        </pc:spChg>
        <pc:spChg chg="mod">
          <ac:chgData name="Reuben Issac Jacob" userId="a26d73c9-1689-41bd-af50-ef825e838770" providerId="ADAL" clId="{F452BC9E-5BE8-4A0B-9F00-66A7219A31DE}" dt="2022-06-29T05:27:45.824" v="693" actId="165"/>
          <ac:spMkLst>
            <pc:docMk/>
            <pc:sldMk cId="2201566731" sldId="11635"/>
            <ac:spMk id="274" creationId="{E0A9DA75-DD58-4A23-8730-EFEBB979BF2D}"/>
          </ac:spMkLst>
        </pc:spChg>
        <pc:spChg chg="mod">
          <ac:chgData name="Reuben Issac Jacob" userId="a26d73c9-1689-41bd-af50-ef825e838770" providerId="ADAL" clId="{F452BC9E-5BE8-4A0B-9F00-66A7219A31DE}" dt="2022-06-29T05:27:45.824" v="693" actId="165"/>
          <ac:spMkLst>
            <pc:docMk/>
            <pc:sldMk cId="2201566731" sldId="11635"/>
            <ac:spMk id="275" creationId="{F7A71DC9-2C1A-41A7-8852-F43D8B3A5673}"/>
          </ac:spMkLst>
        </pc:spChg>
        <pc:spChg chg="mod">
          <ac:chgData name="Reuben Issac Jacob" userId="a26d73c9-1689-41bd-af50-ef825e838770" providerId="ADAL" clId="{F452BC9E-5BE8-4A0B-9F00-66A7219A31DE}" dt="2022-06-29T05:27:45.824" v="693" actId="165"/>
          <ac:spMkLst>
            <pc:docMk/>
            <pc:sldMk cId="2201566731" sldId="11635"/>
            <ac:spMk id="276" creationId="{4E2403A0-1350-4D07-939C-1A5836E230EC}"/>
          </ac:spMkLst>
        </pc:spChg>
        <pc:grpChg chg="add mod">
          <ac:chgData name="Reuben Issac Jacob" userId="a26d73c9-1689-41bd-af50-ef825e838770" providerId="ADAL" clId="{F452BC9E-5BE8-4A0B-9F00-66A7219A31DE}" dt="2022-06-29T05:20:12.325" v="626" actId="164"/>
          <ac:grpSpMkLst>
            <pc:docMk/>
            <pc:sldMk cId="2201566731" sldId="11635"/>
            <ac:grpSpMk id="4" creationId="{11319FC4-D3D2-EA97-8173-621528F484C6}"/>
          </ac:grpSpMkLst>
        </pc:grpChg>
        <pc:grpChg chg="add del mod">
          <ac:chgData name="Reuben Issac Jacob" userId="a26d73c9-1689-41bd-af50-ef825e838770" providerId="ADAL" clId="{F452BC9E-5BE8-4A0B-9F00-66A7219A31DE}" dt="2022-06-29T05:22:38.392" v="644" actId="165"/>
          <ac:grpSpMkLst>
            <pc:docMk/>
            <pc:sldMk cId="2201566731" sldId="11635"/>
            <ac:grpSpMk id="13" creationId="{6FD61940-9F8C-1747-2E6F-1BB6850FCC9E}"/>
          </ac:grpSpMkLst>
        </pc:grpChg>
        <pc:grpChg chg="add del mod">
          <ac:chgData name="Reuben Issac Jacob" userId="a26d73c9-1689-41bd-af50-ef825e838770" providerId="ADAL" clId="{F452BC9E-5BE8-4A0B-9F00-66A7219A31DE}" dt="2022-06-29T05:23:23.822" v="651" actId="165"/>
          <ac:grpSpMkLst>
            <pc:docMk/>
            <pc:sldMk cId="2201566731" sldId="11635"/>
            <ac:grpSpMk id="14" creationId="{702DCB37-D163-CD48-1059-11575BF42319}"/>
          </ac:grpSpMkLst>
        </pc:grpChg>
        <pc:grpChg chg="add del mod">
          <ac:chgData name="Reuben Issac Jacob" userId="a26d73c9-1689-41bd-af50-ef825e838770" providerId="ADAL" clId="{F452BC9E-5BE8-4A0B-9F00-66A7219A31DE}" dt="2022-06-29T05:23:23.822" v="651" actId="165"/>
          <ac:grpSpMkLst>
            <pc:docMk/>
            <pc:sldMk cId="2201566731" sldId="11635"/>
            <ac:grpSpMk id="15" creationId="{B0221838-5AFE-92E6-BB96-342CB01B79B6}"/>
          </ac:grpSpMkLst>
        </pc:grpChg>
        <pc:grpChg chg="add del mod">
          <ac:chgData name="Reuben Issac Jacob" userId="a26d73c9-1689-41bd-af50-ef825e838770" providerId="ADAL" clId="{F452BC9E-5BE8-4A0B-9F00-66A7219A31DE}" dt="2022-06-29T05:23:23.822" v="651" actId="165"/>
          <ac:grpSpMkLst>
            <pc:docMk/>
            <pc:sldMk cId="2201566731" sldId="11635"/>
            <ac:grpSpMk id="16" creationId="{05DB18B8-81F9-BCF2-CE79-EA029508F687}"/>
          </ac:grpSpMkLst>
        </pc:grpChg>
        <pc:grpChg chg="add del mod">
          <ac:chgData name="Reuben Issac Jacob" userId="a26d73c9-1689-41bd-af50-ef825e838770" providerId="ADAL" clId="{F452BC9E-5BE8-4A0B-9F00-66A7219A31DE}" dt="2022-06-29T05:23:23.822" v="651" actId="165"/>
          <ac:grpSpMkLst>
            <pc:docMk/>
            <pc:sldMk cId="2201566731" sldId="11635"/>
            <ac:grpSpMk id="17" creationId="{BD7EEBCF-2800-60BC-C24F-B1E60E57D3AE}"/>
          </ac:grpSpMkLst>
        </pc:grpChg>
        <pc:grpChg chg="add del mod">
          <ac:chgData name="Reuben Issac Jacob" userId="a26d73c9-1689-41bd-af50-ef825e838770" providerId="ADAL" clId="{F452BC9E-5BE8-4A0B-9F00-66A7219A31DE}" dt="2022-06-29T05:23:23.822" v="651" actId="165"/>
          <ac:grpSpMkLst>
            <pc:docMk/>
            <pc:sldMk cId="2201566731" sldId="11635"/>
            <ac:grpSpMk id="18" creationId="{50EDA3C3-B99C-7045-5D2C-DCB80E2CE722}"/>
          </ac:grpSpMkLst>
        </pc:grpChg>
        <pc:grpChg chg="add del mod">
          <ac:chgData name="Reuben Issac Jacob" userId="a26d73c9-1689-41bd-af50-ef825e838770" providerId="ADAL" clId="{F452BC9E-5BE8-4A0B-9F00-66A7219A31DE}" dt="2022-06-29T05:24:22.986" v="660" actId="165"/>
          <ac:grpSpMkLst>
            <pc:docMk/>
            <pc:sldMk cId="2201566731" sldId="11635"/>
            <ac:grpSpMk id="20" creationId="{E46944DE-5004-BBAB-D9A1-125F545C6AE0}"/>
          </ac:grpSpMkLst>
        </pc:grpChg>
        <pc:grpChg chg="add del mod">
          <ac:chgData name="Reuben Issac Jacob" userId="a26d73c9-1689-41bd-af50-ef825e838770" providerId="ADAL" clId="{F452BC9E-5BE8-4A0B-9F00-66A7219A31DE}" dt="2022-06-29T05:24:22.986" v="660" actId="165"/>
          <ac:grpSpMkLst>
            <pc:docMk/>
            <pc:sldMk cId="2201566731" sldId="11635"/>
            <ac:grpSpMk id="21" creationId="{0E1D60AA-B284-862F-A1E2-70BDE175DEB2}"/>
          </ac:grpSpMkLst>
        </pc:grpChg>
        <pc:grpChg chg="add del mod">
          <ac:chgData name="Reuben Issac Jacob" userId="a26d73c9-1689-41bd-af50-ef825e838770" providerId="ADAL" clId="{F452BC9E-5BE8-4A0B-9F00-66A7219A31DE}" dt="2022-06-29T05:24:22.986" v="660" actId="165"/>
          <ac:grpSpMkLst>
            <pc:docMk/>
            <pc:sldMk cId="2201566731" sldId="11635"/>
            <ac:grpSpMk id="22" creationId="{D20FA711-DF14-1902-152C-3A42AC419C34}"/>
          </ac:grpSpMkLst>
        </pc:grpChg>
        <pc:grpChg chg="add del mod">
          <ac:chgData name="Reuben Issac Jacob" userId="a26d73c9-1689-41bd-af50-ef825e838770" providerId="ADAL" clId="{F452BC9E-5BE8-4A0B-9F00-66A7219A31DE}" dt="2022-06-29T05:24:22.986" v="660" actId="165"/>
          <ac:grpSpMkLst>
            <pc:docMk/>
            <pc:sldMk cId="2201566731" sldId="11635"/>
            <ac:grpSpMk id="23" creationId="{A90A3BD8-60BF-3D87-FF1B-B5485399384E}"/>
          </ac:grpSpMkLst>
        </pc:grpChg>
        <pc:grpChg chg="add del mod">
          <ac:chgData name="Reuben Issac Jacob" userId="a26d73c9-1689-41bd-af50-ef825e838770" providerId="ADAL" clId="{F452BC9E-5BE8-4A0B-9F00-66A7219A31DE}" dt="2022-06-29T05:24:22.986" v="660" actId="165"/>
          <ac:grpSpMkLst>
            <pc:docMk/>
            <pc:sldMk cId="2201566731" sldId="11635"/>
            <ac:grpSpMk id="24" creationId="{B4941144-5E11-3813-28C7-802863558D6D}"/>
          </ac:grpSpMkLst>
        </pc:grpChg>
        <pc:grpChg chg="add del mod topLvl">
          <ac:chgData name="Reuben Issac Jacob" userId="a26d73c9-1689-41bd-af50-ef825e838770" providerId="ADAL" clId="{F452BC9E-5BE8-4A0B-9F00-66A7219A31DE}" dt="2022-06-29T05:27:53.131" v="694" actId="165"/>
          <ac:grpSpMkLst>
            <pc:docMk/>
            <pc:sldMk cId="2201566731" sldId="11635"/>
            <ac:grpSpMk id="25" creationId="{8E60A02C-316C-3CFA-EC51-7D32F60F8BC9}"/>
          </ac:grpSpMkLst>
        </pc:grpChg>
        <pc:grpChg chg="add del mod topLvl">
          <ac:chgData name="Reuben Issac Jacob" userId="a26d73c9-1689-41bd-af50-ef825e838770" providerId="ADAL" clId="{F452BC9E-5BE8-4A0B-9F00-66A7219A31DE}" dt="2022-06-29T05:27:53.131" v="694" actId="165"/>
          <ac:grpSpMkLst>
            <pc:docMk/>
            <pc:sldMk cId="2201566731" sldId="11635"/>
            <ac:grpSpMk id="26" creationId="{8700CF07-D65E-6055-877B-A405E31531D0}"/>
          </ac:grpSpMkLst>
        </pc:grpChg>
        <pc:grpChg chg="add del mod topLvl">
          <ac:chgData name="Reuben Issac Jacob" userId="a26d73c9-1689-41bd-af50-ef825e838770" providerId="ADAL" clId="{F452BC9E-5BE8-4A0B-9F00-66A7219A31DE}" dt="2022-06-29T05:27:53.131" v="694" actId="165"/>
          <ac:grpSpMkLst>
            <pc:docMk/>
            <pc:sldMk cId="2201566731" sldId="11635"/>
            <ac:grpSpMk id="27" creationId="{EB0DC1AD-79A3-297D-0B22-F073E63A663B}"/>
          </ac:grpSpMkLst>
        </pc:grpChg>
        <pc:grpChg chg="mod topLvl">
          <ac:chgData name="Reuben Issac Jacob" userId="a26d73c9-1689-41bd-af50-ef825e838770" providerId="ADAL" clId="{F452BC9E-5BE8-4A0B-9F00-66A7219A31DE}" dt="2022-06-29T05:27:45.824" v="693" actId="165"/>
          <ac:grpSpMkLst>
            <pc:docMk/>
            <pc:sldMk cId="2201566731" sldId="11635"/>
            <ac:grpSpMk id="28" creationId="{267D44F3-B999-48B8-956C-02371B2FFA63}"/>
          </ac:grpSpMkLst>
        </pc:grpChg>
        <pc:grpChg chg="add del mod topLvl">
          <ac:chgData name="Reuben Issac Jacob" userId="a26d73c9-1689-41bd-af50-ef825e838770" providerId="ADAL" clId="{F452BC9E-5BE8-4A0B-9F00-66A7219A31DE}" dt="2022-06-29T05:27:53.131" v="694" actId="165"/>
          <ac:grpSpMkLst>
            <pc:docMk/>
            <pc:sldMk cId="2201566731" sldId="11635"/>
            <ac:grpSpMk id="29" creationId="{ECE8F983-770D-7DA9-2B72-EE6BAB516132}"/>
          </ac:grpSpMkLst>
        </pc:grpChg>
        <pc:grpChg chg="add del mod topLvl">
          <ac:chgData name="Reuben Issac Jacob" userId="a26d73c9-1689-41bd-af50-ef825e838770" providerId="ADAL" clId="{F452BC9E-5BE8-4A0B-9F00-66A7219A31DE}" dt="2022-06-29T05:27:53.131" v="694" actId="165"/>
          <ac:grpSpMkLst>
            <pc:docMk/>
            <pc:sldMk cId="2201566731" sldId="11635"/>
            <ac:grpSpMk id="30" creationId="{E102BFB2-2FD0-4BEB-7D24-84AA0B877DD4}"/>
          </ac:grpSpMkLst>
        </pc:grpChg>
        <pc:grpChg chg="mod">
          <ac:chgData name="Reuben Issac Jacob" userId="a26d73c9-1689-41bd-af50-ef825e838770" providerId="ADAL" clId="{F452BC9E-5BE8-4A0B-9F00-66A7219A31DE}" dt="2022-06-29T05:27:45.824" v="693" actId="165"/>
          <ac:grpSpMkLst>
            <pc:docMk/>
            <pc:sldMk cId="2201566731" sldId="11635"/>
            <ac:grpSpMk id="31" creationId="{66F68AE3-B525-40EC-B215-6351EDBD2EEC}"/>
          </ac:grpSpMkLst>
        </pc:grpChg>
        <pc:grpChg chg="mod">
          <ac:chgData name="Reuben Issac Jacob" userId="a26d73c9-1689-41bd-af50-ef825e838770" providerId="ADAL" clId="{F452BC9E-5BE8-4A0B-9F00-66A7219A31DE}" dt="2022-06-29T05:27:45.824" v="693" actId="165"/>
          <ac:grpSpMkLst>
            <pc:docMk/>
            <pc:sldMk cId="2201566731" sldId="11635"/>
            <ac:grpSpMk id="32" creationId="{4290D2FD-7588-4F18-926F-5818FFDE63BE}"/>
          </ac:grpSpMkLst>
        </pc:grpChg>
        <pc:grpChg chg="mod topLvl">
          <ac:chgData name="Reuben Issac Jacob" userId="a26d73c9-1689-41bd-af50-ef825e838770" providerId="ADAL" clId="{F452BC9E-5BE8-4A0B-9F00-66A7219A31DE}" dt="2022-06-29T05:27:45.824" v="693" actId="165"/>
          <ac:grpSpMkLst>
            <pc:docMk/>
            <pc:sldMk cId="2201566731" sldId="11635"/>
            <ac:grpSpMk id="150" creationId="{2117EADF-5ABC-4DB1-A96F-CA93BB7F751E}"/>
          </ac:grpSpMkLst>
        </pc:grpChg>
        <pc:grpChg chg="mod topLvl">
          <ac:chgData name="Reuben Issac Jacob" userId="a26d73c9-1689-41bd-af50-ef825e838770" providerId="ADAL" clId="{F452BC9E-5BE8-4A0B-9F00-66A7219A31DE}" dt="2022-06-29T05:27:45.824" v="693" actId="165"/>
          <ac:grpSpMkLst>
            <pc:docMk/>
            <pc:sldMk cId="2201566731" sldId="11635"/>
            <ac:grpSpMk id="155" creationId="{44979F38-7AE5-4CDB-A26A-09CD0444D0C9}"/>
          </ac:grpSpMkLst>
        </pc:grpChg>
        <pc:grpChg chg="add del mod">
          <ac:chgData name="Reuben Issac Jacob" userId="a26d73c9-1689-41bd-af50-ef825e838770" providerId="ADAL" clId="{F452BC9E-5BE8-4A0B-9F00-66A7219A31DE}" dt="2022-06-29T05:27:45.824" v="693" actId="165"/>
          <ac:grpSpMkLst>
            <pc:docMk/>
            <pc:sldMk cId="2201566731" sldId="11635"/>
            <ac:grpSpMk id="229" creationId="{C28ACC80-C051-E342-0810-0189D2D008EA}"/>
          </ac:grpSpMkLst>
        </pc:grpChg>
        <pc:grpChg chg="add del mod">
          <ac:chgData name="Reuben Issac Jacob" userId="a26d73c9-1689-41bd-af50-ef825e838770" providerId="ADAL" clId="{F452BC9E-5BE8-4A0B-9F00-66A7219A31DE}" dt="2022-06-29T05:27:45.824" v="693" actId="165"/>
          <ac:grpSpMkLst>
            <pc:docMk/>
            <pc:sldMk cId="2201566731" sldId="11635"/>
            <ac:grpSpMk id="230" creationId="{CD535AD0-B9CC-A9C9-35EB-4B0545B86E77}"/>
          </ac:grpSpMkLst>
        </pc:grpChg>
        <pc:grpChg chg="add del mod">
          <ac:chgData name="Reuben Issac Jacob" userId="a26d73c9-1689-41bd-af50-ef825e838770" providerId="ADAL" clId="{F452BC9E-5BE8-4A0B-9F00-66A7219A31DE}" dt="2022-06-29T05:27:45.824" v="693" actId="165"/>
          <ac:grpSpMkLst>
            <pc:docMk/>
            <pc:sldMk cId="2201566731" sldId="11635"/>
            <ac:grpSpMk id="231" creationId="{CFEC7EE4-0EA1-D2E2-6621-FC8BDBA8922C}"/>
          </ac:grpSpMkLst>
        </pc:grpChg>
        <pc:grpChg chg="add del mod">
          <ac:chgData name="Reuben Issac Jacob" userId="a26d73c9-1689-41bd-af50-ef825e838770" providerId="ADAL" clId="{F452BC9E-5BE8-4A0B-9F00-66A7219A31DE}" dt="2022-06-29T05:27:45.824" v="693" actId="165"/>
          <ac:grpSpMkLst>
            <pc:docMk/>
            <pc:sldMk cId="2201566731" sldId="11635"/>
            <ac:grpSpMk id="232" creationId="{7A8BD685-A1A4-6FAA-361A-96043025E19B}"/>
          </ac:grpSpMkLst>
        </pc:grpChg>
        <pc:grpChg chg="add del mod">
          <ac:chgData name="Reuben Issac Jacob" userId="a26d73c9-1689-41bd-af50-ef825e838770" providerId="ADAL" clId="{F452BC9E-5BE8-4A0B-9F00-66A7219A31DE}" dt="2022-06-29T05:27:45.824" v="693" actId="165"/>
          <ac:grpSpMkLst>
            <pc:docMk/>
            <pc:sldMk cId="2201566731" sldId="11635"/>
            <ac:grpSpMk id="233" creationId="{5083422C-294B-FEBB-F961-26D9AD6B5D7B}"/>
          </ac:grpSpMkLst>
        </pc:grpChg>
        <pc:grpChg chg="mod topLvl">
          <ac:chgData name="Reuben Issac Jacob" userId="a26d73c9-1689-41bd-af50-ef825e838770" providerId="ADAL" clId="{F452BC9E-5BE8-4A0B-9F00-66A7219A31DE}" dt="2022-06-29T05:27:45.824" v="693" actId="165"/>
          <ac:grpSpMkLst>
            <pc:docMk/>
            <pc:sldMk cId="2201566731" sldId="11635"/>
            <ac:grpSpMk id="256" creationId="{B9CCEAA1-8E64-41F1-B240-F95589EB99F9}"/>
          </ac:grpSpMkLst>
        </pc:grpChg>
        <pc:grpChg chg="del">
          <ac:chgData name="Reuben Issac Jacob" userId="a26d73c9-1689-41bd-af50-ef825e838770" providerId="ADAL" clId="{F452BC9E-5BE8-4A0B-9F00-66A7219A31DE}" dt="2022-06-29T05:19:17.579" v="620" actId="165"/>
          <ac:grpSpMkLst>
            <pc:docMk/>
            <pc:sldMk cId="2201566731" sldId="11635"/>
            <ac:grpSpMk id="277" creationId="{D6536DA6-E5C9-48F2-8ECB-6CD16898A7B5}"/>
          </ac:grpSpMkLst>
        </pc:grpChg>
        <pc:grpChg chg="del">
          <ac:chgData name="Reuben Issac Jacob" userId="a26d73c9-1689-41bd-af50-ef825e838770" providerId="ADAL" clId="{F452BC9E-5BE8-4A0B-9F00-66A7219A31DE}" dt="2022-06-29T05:19:17.579" v="620" actId="165"/>
          <ac:grpSpMkLst>
            <pc:docMk/>
            <pc:sldMk cId="2201566731" sldId="11635"/>
            <ac:grpSpMk id="278" creationId="{BFB4DAF9-654D-4CEB-A8F9-976F006B1453}"/>
          </ac:grpSpMkLst>
        </pc:grpChg>
        <pc:grpChg chg="del">
          <ac:chgData name="Reuben Issac Jacob" userId="a26d73c9-1689-41bd-af50-ef825e838770" providerId="ADAL" clId="{F452BC9E-5BE8-4A0B-9F00-66A7219A31DE}" dt="2022-06-29T05:19:17.579" v="620" actId="165"/>
          <ac:grpSpMkLst>
            <pc:docMk/>
            <pc:sldMk cId="2201566731" sldId="11635"/>
            <ac:grpSpMk id="279" creationId="{5CE914FD-4D29-4FEF-ADFC-1E4AC7DAA01E}"/>
          </ac:grpSpMkLst>
        </pc:grpChg>
        <pc:grpChg chg="del">
          <ac:chgData name="Reuben Issac Jacob" userId="a26d73c9-1689-41bd-af50-ef825e838770" providerId="ADAL" clId="{F452BC9E-5BE8-4A0B-9F00-66A7219A31DE}" dt="2022-06-29T05:19:17.579" v="620" actId="165"/>
          <ac:grpSpMkLst>
            <pc:docMk/>
            <pc:sldMk cId="2201566731" sldId="11635"/>
            <ac:grpSpMk id="280" creationId="{5D623D73-AC79-4686-A2A6-903D0034738A}"/>
          </ac:grpSpMkLst>
        </pc:grpChg>
        <pc:grpChg chg="del">
          <ac:chgData name="Reuben Issac Jacob" userId="a26d73c9-1689-41bd-af50-ef825e838770" providerId="ADAL" clId="{F452BC9E-5BE8-4A0B-9F00-66A7219A31DE}" dt="2022-06-29T05:19:17.579" v="620" actId="165"/>
          <ac:grpSpMkLst>
            <pc:docMk/>
            <pc:sldMk cId="2201566731" sldId="11635"/>
            <ac:grpSpMk id="282" creationId="{77DAAA35-C746-4B68-A0C7-BCFAEB4311E1}"/>
          </ac:grpSpMkLst>
        </pc:grpChg>
        <pc:picChg chg="mod topLvl">
          <ac:chgData name="Reuben Issac Jacob" userId="a26d73c9-1689-41bd-af50-ef825e838770" providerId="ADAL" clId="{F452BC9E-5BE8-4A0B-9F00-66A7219A31DE}" dt="2022-06-29T05:27:45.824" v="693" actId="165"/>
          <ac:picMkLst>
            <pc:docMk/>
            <pc:sldMk cId="2201566731" sldId="11635"/>
            <ac:picMk id="255" creationId="{F73F8B37-4E63-47F1-9D01-6BAB1177FBCC}"/>
          </ac:picMkLst>
        </pc:picChg>
        <pc:cxnChg chg="mod topLvl">
          <ac:chgData name="Reuben Issac Jacob" userId="a26d73c9-1689-41bd-af50-ef825e838770" providerId="ADAL" clId="{F452BC9E-5BE8-4A0B-9F00-66A7219A31DE}" dt="2022-06-29T05:27:53.131" v="694" actId="165"/>
          <ac:cxnSpMkLst>
            <pc:docMk/>
            <pc:sldMk cId="2201566731" sldId="11635"/>
            <ac:cxnSpMk id="7" creationId="{C1D26BD6-4D66-42E1-B3CC-9F1A9EAFA065}"/>
          </ac:cxnSpMkLst>
        </pc:cxnChg>
        <pc:cxnChg chg="mod topLvl">
          <ac:chgData name="Reuben Issac Jacob" userId="a26d73c9-1689-41bd-af50-ef825e838770" providerId="ADAL" clId="{F452BC9E-5BE8-4A0B-9F00-66A7219A31DE}" dt="2022-06-29T05:27:53.131" v="694" actId="165"/>
          <ac:cxnSpMkLst>
            <pc:docMk/>
            <pc:sldMk cId="2201566731" sldId="11635"/>
            <ac:cxnSpMk id="19" creationId="{F4D9441C-731E-4A7C-831B-ED61267DB9A7}"/>
          </ac:cxnSpMkLst>
        </pc:cxnChg>
        <pc:cxnChg chg="mod topLvl">
          <ac:chgData name="Reuben Issac Jacob" userId="a26d73c9-1689-41bd-af50-ef825e838770" providerId="ADAL" clId="{F452BC9E-5BE8-4A0B-9F00-66A7219A31DE}" dt="2022-06-29T05:27:53.131" v="694" actId="165"/>
          <ac:cxnSpMkLst>
            <pc:docMk/>
            <pc:sldMk cId="2201566731" sldId="11635"/>
            <ac:cxnSpMk id="148" creationId="{C04655BA-B96A-4E97-990E-F6BA0D94540B}"/>
          </ac:cxnSpMkLst>
        </pc:cxnChg>
        <pc:cxnChg chg="mod topLvl">
          <ac:chgData name="Reuben Issac Jacob" userId="a26d73c9-1689-41bd-af50-ef825e838770" providerId="ADAL" clId="{F452BC9E-5BE8-4A0B-9F00-66A7219A31DE}" dt="2022-06-29T05:27:53.131" v="694" actId="165"/>
          <ac:cxnSpMkLst>
            <pc:docMk/>
            <pc:sldMk cId="2201566731" sldId="11635"/>
            <ac:cxnSpMk id="225" creationId="{502F4A9D-32E4-4689-983E-0B43304085AB}"/>
          </ac:cxnSpMkLst>
        </pc:cxnChg>
        <pc:cxnChg chg="mod topLvl">
          <ac:chgData name="Reuben Issac Jacob" userId="a26d73c9-1689-41bd-af50-ef825e838770" providerId="ADAL" clId="{F452BC9E-5BE8-4A0B-9F00-66A7219A31DE}" dt="2022-06-29T05:27:53.131" v="694" actId="165"/>
          <ac:cxnSpMkLst>
            <pc:docMk/>
            <pc:sldMk cId="2201566731" sldId="11635"/>
            <ac:cxnSpMk id="240" creationId="{1F9EB1C3-6FAE-48BD-97F8-A4D32CA3A4B8}"/>
          </ac:cxnSpMkLst>
        </pc:cxnChg>
      </pc:sldChg>
      <pc:sldChg chg="addSp delSp modSp mod modAnim">
        <pc:chgData name="Reuben Issac Jacob" userId="a26d73c9-1689-41bd-af50-ef825e838770" providerId="ADAL" clId="{F452BC9E-5BE8-4A0B-9F00-66A7219A31DE}" dt="2022-06-29T20:45:08.637" v="3883"/>
        <pc:sldMkLst>
          <pc:docMk/>
          <pc:sldMk cId="1469576865" sldId="11666"/>
        </pc:sldMkLst>
        <pc:spChg chg="mod">
          <ac:chgData name="Reuben Issac Jacob" userId="a26d73c9-1689-41bd-af50-ef825e838770" providerId="ADAL" clId="{F452BC9E-5BE8-4A0B-9F00-66A7219A31DE}" dt="2022-06-29T14:53:54.417" v="3179" actId="207"/>
          <ac:spMkLst>
            <pc:docMk/>
            <pc:sldMk cId="1469576865" sldId="11666"/>
            <ac:spMk id="15" creationId="{291F4DFA-A3F1-4BD4-8A6C-CA41167634DD}"/>
          </ac:spMkLst>
        </pc:spChg>
        <pc:spChg chg="mod">
          <ac:chgData name="Reuben Issac Jacob" userId="a26d73c9-1689-41bd-af50-ef825e838770" providerId="ADAL" clId="{F452BC9E-5BE8-4A0B-9F00-66A7219A31DE}" dt="2022-06-29T14:52:32.986" v="2893" actId="165"/>
          <ac:spMkLst>
            <pc:docMk/>
            <pc:sldMk cId="1469576865" sldId="11666"/>
            <ac:spMk id="16" creationId="{BBB7E5F5-65C1-4AEA-A01A-F4884D43DAD2}"/>
          </ac:spMkLst>
        </pc:spChg>
        <pc:spChg chg="mod">
          <ac:chgData name="Reuben Issac Jacob" userId="a26d73c9-1689-41bd-af50-ef825e838770" providerId="ADAL" clId="{F452BC9E-5BE8-4A0B-9F00-66A7219A31DE}" dt="2022-06-29T14:52:32.986" v="2893" actId="165"/>
          <ac:spMkLst>
            <pc:docMk/>
            <pc:sldMk cId="1469576865" sldId="11666"/>
            <ac:spMk id="18" creationId="{A28BCB24-CBA8-4C0C-835F-58645280A578}"/>
          </ac:spMkLst>
        </pc:spChg>
        <pc:spChg chg="mod">
          <ac:chgData name="Reuben Issac Jacob" userId="a26d73c9-1689-41bd-af50-ef825e838770" providerId="ADAL" clId="{F452BC9E-5BE8-4A0B-9F00-66A7219A31DE}" dt="2022-06-29T14:52:32.986" v="2893" actId="165"/>
          <ac:spMkLst>
            <pc:docMk/>
            <pc:sldMk cId="1469576865" sldId="11666"/>
            <ac:spMk id="56" creationId="{8C134F34-DD29-C598-8EE1-DAAA1459F000}"/>
          </ac:spMkLst>
        </pc:spChg>
        <pc:spChg chg="mod">
          <ac:chgData name="Reuben Issac Jacob" userId="a26d73c9-1689-41bd-af50-ef825e838770" providerId="ADAL" clId="{F452BC9E-5BE8-4A0B-9F00-66A7219A31DE}" dt="2022-06-29T14:52:32.986" v="2893" actId="165"/>
          <ac:spMkLst>
            <pc:docMk/>
            <pc:sldMk cId="1469576865" sldId="11666"/>
            <ac:spMk id="58" creationId="{EEAE4378-524A-A397-DFA2-25FEB24B829B}"/>
          </ac:spMkLst>
        </pc:spChg>
        <pc:spChg chg="mod">
          <ac:chgData name="Reuben Issac Jacob" userId="a26d73c9-1689-41bd-af50-ef825e838770" providerId="ADAL" clId="{F452BC9E-5BE8-4A0B-9F00-66A7219A31DE}" dt="2022-06-29T14:52:32.986" v="2893" actId="165"/>
          <ac:spMkLst>
            <pc:docMk/>
            <pc:sldMk cId="1469576865" sldId="11666"/>
            <ac:spMk id="64" creationId="{B8EA79EA-2FDB-8194-6107-61A9F4ED6EAC}"/>
          </ac:spMkLst>
        </pc:spChg>
        <pc:spChg chg="mod">
          <ac:chgData name="Reuben Issac Jacob" userId="a26d73c9-1689-41bd-af50-ef825e838770" providerId="ADAL" clId="{F452BC9E-5BE8-4A0B-9F00-66A7219A31DE}" dt="2022-06-29T14:52:32.986" v="2893" actId="165"/>
          <ac:spMkLst>
            <pc:docMk/>
            <pc:sldMk cId="1469576865" sldId="11666"/>
            <ac:spMk id="65" creationId="{F443D66E-9450-112F-056F-B847AEAEFA1A}"/>
          </ac:spMkLst>
        </pc:spChg>
        <pc:spChg chg="mod">
          <ac:chgData name="Reuben Issac Jacob" userId="a26d73c9-1689-41bd-af50-ef825e838770" providerId="ADAL" clId="{F452BC9E-5BE8-4A0B-9F00-66A7219A31DE}" dt="2022-06-29T14:52:32.986" v="2893" actId="165"/>
          <ac:spMkLst>
            <pc:docMk/>
            <pc:sldMk cId="1469576865" sldId="11666"/>
            <ac:spMk id="66" creationId="{61F5C6AC-05FF-4CFA-9714-C64B3E274782}"/>
          </ac:spMkLst>
        </pc:spChg>
        <pc:spChg chg="mod">
          <ac:chgData name="Reuben Issac Jacob" userId="a26d73c9-1689-41bd-af50-ef825e838770" providerId="ADAL" clId="{F452BC9E-5BE8-4A0B-9F00-66A7219A31DE}" dt="2022-06-29T14:52:32.986" v="2893" actId="165"/>
          <ac:spMkLst>
            <pc:docMk/>
            <pc:sldMk cId="1469576865" sldId="11666"/>
            <ac:spMk id="67" creationId="{A062D934-8AB8-4787-8F9F-A28A78158079}"/>
          </ac:spMkLst>
        </pc:spChg>
        <pc:spChg chg="mod">
          <ac:chgData name="Reuben Issac Jacob" userId="a26d73c9-1689-41bd-af50-ef825e838770" providerId="ADAL" clId="{F452BC9E-5BE8-4A0B-9F00-66A7219A31DE}" dt="2022-06-29T14:52:32.986" v="2893" actId="165"/>
          <ac:spMkLst>
            <pc:docMk/>
            <pc:sldMk cId="1469576865" sldId="11666"/>
            <ac:spMk id="68" creationId="{B668AE49-6CE7-4670-9BE5-185164568B00}"/>
          </ac:spMkLst>
        </pc:spChg>
        <pc:spChg chg="mod">
          <ac:chgData name="Reuben Issac Jacob" userId="a26d73c9-1689-41bd-af50-ef825e838770" providerId="ADAL" clId="{F452BC9E-5BE8-4A0B-9F00-66A7219A31DE}" dt="2022-06-29T14:52:32.986" v="2893" actId="165"/>
          <ac:spMkLst>
            <pc:docMk/>
            <pc:sldMk cId="1469576865" sldId="11666"/>
            <ac:spMk id="69" creationId="{3D0516F6-CA8C-45BC-B4F1-CC34DE55DFFD}"/>
          </ac:spMkLst>
        </pc:spChg>
        <pc:spChg chg="mod">
          <ac:chgData name="Reuben Issac Jacob" userId="a26d73c9-1689-41bd-af50-ef825e838770" providerId="ADAL" clId="{F452BC9E-5BE8-4A0B-9F00-66A7219A31DE}" dt="2022-06-29T14:52:32.986" v="2893" actId="165"/>
          <ac:spMkLst>
            <pc:docMk/>
            <pc:sldMk cId="1469576865" sldId="11666"/>
            <ac:spMk id="72" creationId="{31E9FA7A-54A0-5466-0673-2820960EC481}"/>
          </ac:spMkLst>
        </pc:spChg>
        <pc:spChg chg="mod">
          <ac:chgData name="Reuben Issac Jacob" userId="a26d73c9-1689-41bd-af50-ef825e838770" providerId="ADAL" clId="{F452BC9E-5BE8-4A0B-9F00-66A7219A31DE}" dt="2022-06-29T14:52:32.986" v="2893" actId="165"/>
          <ac:spMkLst>
            <pc:docMk/>
            <pc:sldMk cId="1469576865" sldId="11666"/>
            <ac:spMk id="73" creationId="{31F19AC6-78A9-2301-234D-6BAC9C8BB67E}"/>
          </ac:spMkLst>
        </pc:spChg>
        <pc:spChg chg="mod">
          <ac:chgData name="Reuben Issac Jacob" userId="a26d73c9-1689-41bd-af50-ef825e838770" providerId="ADAL" clId="{F452BC9E-5BE8-4A0B-9F00-66A7219A31DE}" dt="2022-06-29T14:52:32.986" v="2893" actId="165"/>
          <ac:spMkLst>
            <pc:docMk/>
            <pc:sldMk cId="1469576865" sldId="11666"/>
            <ac:spMk id="74" creationId="{99CF18A0-31BA-68FC-7F08-37D9ACA0C86F}"/>
          </ac:spMkLst>
        </pc:spChg>
        <pc:spChg chg="mod">
          <ac:chgData name="Reuben Issac Jacob" userId="a26d73c9-1689-41bd-af50-ef825e838770" providerId="ADAL" clId="{F452BC9E-5BE8-4A0B-9F00-66A7219A31DE}" dt="2022-06-29T14:52:32.986" v="2893" actId="165"/>
          <ac:spMkLst>
            <pc:docMk/>
            <pc:sldMk cId="1469576865" sldId="11666"/>
            <ac:spMk id="76" creationId="{8B75F724-6F9E-F4CA-DD3C-11379A84D29C}"/>
          </ac:spMkLst>
        </pc:spChg>
        <pc:spChg chg="mod">
          <ac:chgData name="Reuben Issac Jacob" userId="a26d73c9-1689-41bd-af50-ef825e838770" providerId="ADAL" clId="{F452BC9E-5BE8-4A0B-9F00-66A7219A31DE}" dt="2022-06-29T14:52:32.986" v="2893" actId="165"/>
          <ac:spMkLst>
            <pc:docMk/>
            <pc:sldMk cId="1469576865" sldId="11666"/>
            <ac:spMk id="77" creationId="{6CAE0EE8-555A-CAE2-6BFC-3ED6B5286C7F}"/>
          </ac:spMkLst>
        </pc:spChg>
        <pc:spChg chg="mod">
          <ac:chgData name="Reuben Issac Jacob" userId="a26d73c9-1689-41bd-af50-ef825e838770" providerId="ADAL" clId="{F452BC9E-5BE8-4A0B-9F00-66A7219A31DE}" dt="2022-06-29T14:52:32.986" v="2893" actId="165"/>
          <ac:spMkLst>
            <pc:docMk/>
            <pc:sldMk cId="1469576865" sldId="11666"/>
            <ac:spMk id="78" creationId="{0939EBE6-93E3-B69E-514F-D07EDF77CBBD}"/>
          </ac:spMkLst>
        </pc:spChg>
        <pc:spChg chg="mod">
          <ac:chgData name="Reuben Issac Jacob" userId="a26d73c9-1689-41bd-af50-ef825e838770" providerId="ADAL" clId="{F452BC9E-5BE8-4A0B-9F00-66A7219A31DE}" dt="2022-06-29T14:52:32.986" v="2893" actId="165"/>
          <ac:spMkLst>
            <pc:docMk/>
            <pc:sldMk cId="1469576865" sldId="11666"/>
            <ac:spMk id="79" creationId="{6F6996C8-BCB7-BF9B-F26E-32C37B1B4975}"/>
          </ac:spMkLst>
        </pc:spChg>
        <pc:spChg chg="mod">
          <ac:chgData name="Reuben Issac Jacob" userId="a26d73c9-1689-41bd-af50-ef825e838770" providerId="ADAL" clId="{F452BC9E-5BE8-4A0B-9F00-66A7219A31DE}" dt="2022-06-29T14:52:32.986" v="2893" actId="165"/>
          <ac:spMkLst>
            <pc:docMk/>
            <pc:sldMk cId="1469576865" sldId="11666"/>
            <ac:spMk id="80" creationId="{5713EE9F-F939-37A9-E1EB-2A84888C427D}"/>
          </ac:spMkLst>
        </pc:spChg>
        <pc:spChg chg="mod">
          <ac:chgData name="Reuben Issac Jacob" userId="a26d73c9-1689-41bd-af50-ef825e838770" providerId="ADAL" clId="{F452BC9E-5BE8-4A0B-9F00-66A7219A31DE}" dt="2022-06-29T14:52:32.986" v="2893" actId="165"/>
          <ac:spMkLst>
            <pc:docMk/>
            <pc:sldMk cId="1469576865" sldId="11666"/>
            <ac:spMk id="82" creationId="{60C40318-42D3-B5B2-0B0A-B0B5F46353C0}"/>
          </ac:spMkLst>
        </pc:spChg>
        <pc:spChg chg="mod">
          <ac:chgData name="Reuben Issac Jacob" userId="a26d73c9-1689-41bd-af50-ef825e838770" providerId="ADAL" clId="{F452BC9E-5BE8-4A0B-9F00-66A7219A31DE}" dt="2022-06-29T14:52:32.986" v="2893" actId="165"/>
          <ac:spMkLst>
            <pc:docMk/>
            <pc:sldMk cId="1469576865" sldId="11666"/>
            <ac:spMk id="83" creationId="{A2748098-6F11-696C-7BB1-F22315E82421}"/>
          </ac:spMkLst>
        </pc:spChg>
        <pc:spChg chg="mod">
          <ac:chgData name="Reuben Issac Jacob" userId="a26d73c9-1689-41bd-af50-ef825e838770" providerId="ADAL" clId="{F452BC9E-5BE8-4A0B-9F00-66A7219A31DE}" dt="2022-06-29T14:52:32.986" v="2893" actId="165"/>
          <ac:spMkLst>
            <pc:docMk/>
            <pc:sldMk cId="1469576865" sldId="11666"/>
            <ac:spMk id="84" creationId="{9293503E-4387-E4BA-8CA5-1C9835A748F7}"/>
          </ac:spMkLst>
        </pc:spChg>
        <pc:spChg chg="mod">
          <ac:chgData name="Reuben Issac Jacob" userId="a26d73c9-1689-41bd-af50-ef825e838770" providerId="ADAL" clId="{F452BC9E-5BE8-4A0B-9F00-66A7219A31DE}" dt="2022-06-29T14:52:32.986" v="2893" actId="165"/>
          <ac:spMkLst>
            <pc:docMk/>
            <pc:sldMk cId="1469576865" sldId="11666"/>
            <ac:spMk id="85" creationId="{E6C72A46-330B-CADD-13B1-CBB7FC8672CC}"/>
          </ac:spMkLst>
        </pc:spChg>
        <pc:spChg chg="mod">
          <ac:chgData name="Reuben Issac Jacob" userId="a26d73c9-1689-41bd-af50-ef825e838770" providerId="ADAL" clId="{F452BC9E-5BE8-4A0B-9F00-66A7219A31DE}" dt="2022-06-29T14:52:32.986" v="2893" actId="165"/>
          <ac:spMkLst>
            <pc:docMk/>
            <pc:sldMk cId="1469576865" sldId="11666"/>
            <ac:spMk id="86" creationId="{F591887F-D7FC-2BCC-5B56-921EC5D73607}"/>
          </ac:spMkLst>
        </pc:spChg>
        <pc:spChg chg="mod">
          <ac:chgData name="Reuben Issac Jacob" userId="a26d73c9-1689-41bd-af50-ef825e838770" providerId="ADAL" clId="{F452BC9E-5BE8-4A0B-9F00-66A7219A31DE}" dt="2022-06-29T14:52:32.986" v="2893" actId="165"/>
          <ac:spMkLst>
            <pc:docMk/>
            <pc:sldMk cId="1469576865" sldId="11666"/>
            <ac:spMk id="89" creationId="{936C6D6B-67E1-4C5C-BC8A-CCB573BF71C7}"/>
          </ac:spMkLst>
        </pc:spChg>
        <pc:spChg chg="mod">
          <ac:chgData name="Reuben Issac Jacob" userId="a26d73c9-1689-41bd-af50-ef825e838770" providerId="ADAL" clId="{F452BC9E-5BE8-4A0B-9F00-66A7219A31DE}" dt="2022-06-29T14:52:32.986" v="2893" actId="165"/>
          <ac:spMkLst>
            <pc:docMk/>
            <pc:sldMk cId="1469576865" sldId="11666"/>
            <ac:spMk id="90" creationId="{1AEDD792-3913-45F6-A5E4-EF6E2FE4857A}"/>
          </ac:spMkLst>
        </pc:spChg>
        <pc:spChg chg="mod">
          <ac:chgData name="Reuben Issac Jacob" userId="a26d73c9-1689-41bd-af50-ef825e838770" providerId="ADAL" clId="{F452BC9E-5BE8-4A0B-9F00-66A7219A31DE}" dt="2022-06-29T14:52:32.986" v="2893" actId="165"/>
          <ac:spMkLst>
            <pc:docMk/>
            <pc:sldMk cId="1469576865" sldId="11666"/>
            <ac:spMk id="91" creationId="{0134AF29-810B-4314-8CC5-CE137C7A5E9D}"/>
          </ac:spMkLst>
        </pc:spChg>
        <pc:spChg chg="mod">
          <ac:chgData name="Reuben Issac Jacob" userId="a26d73c9-1689-41bd-af50-ef825e838770" providerId="ADAL" clId="{F452BC9E-5BE8-4A0B-9F00-66A7219A31DE}" dt="2022-06-29T14:52:32.986" v="2893" actId="165"/>
          <ac:spMkLst>
            <pc:docMk/>
            <pc:sldMk cId="1469576865" sldId="11666"/>
            <ac:spMk id="92" creationId="{744C657E-43CF-43A4-9733-0DC635C351C4}"/>
          </ac:spMkLst>
        </pc:spChg>
        <pc:spChg chg="mod">
          <ac:chgData name="Reuben Issac Jacob" userId="a26d73c9-1689-41bd-af50-ef825e838770" providerId="ADAL" clId="{F452BC9E-5BE8-4A0B-9F00-66A7219A31DE}" dt="2022-06-29T14:52:32.986" v="2893" actId="165"/>
          <ac:spMkLst>
            <pc:docMk/>
            <pc:sldMk cId="1469576865" sldId="11666"/>
            <ac:spMk id="93" creationId="{B8425188-EF00-4958-8C82-41128EB5F5B4}"/>
          </ac:spMkLst>
        </pc:spChg>
        <pc:spChg chg="mod">
          <ac:chgData name="Reuben Issac Jacob" userId="a26d73c9-1689-41bd-af50-ef825e838770" providerId="ADAL" clId="{F452BC9E-5BE8-4A0B-9F00-66A7219A31DE}" dt="2022-06-29T14:52:32.986" v="2893" actId="165"/>
          <ac:spMkLst>
            <pc:docMk/>
            <pc:sldMk cId="1469576865" sldId="11666"/>
            <ac:spMk id="96" creationId="{1E8FBF4A-06B5-4336-AF4C-1851CFB3F516}"/>
          </ac:spMkLst>
        </pc:spChg>
        <pc:spChg chg="mod">
          <ac:chgData name="Reuben Issac Jacob" userId="a26d73c9-1689-41bd-af50-ef825e838770" providerId="ADAL" clId="{F452BC9E-5BE8-4A0B-9F00-66A7219A31DE}" dt="2022-06-29T14:52:32.986" v="2893" actId="165"/>
          <ac:spMkLst>
            <pc:docMk/>
            <pc:sldMk cId="1469576865" sldId="11666"/>
            <ac:spMk id="97" creationId="{86C77FBE-BDD5-4371-BB2D-1C0E071D085C}"/>
          </ac:spMkLst>
        </pc:spChg>
        <pc:spChg chg="mod">
          <ac:chgData name="Reuben Issac Jacob" userId="a26d73c9-1689-41bd-af50-ef825e838770" providerId="ADAL" clId="{F452BC9E-5BE8-4A0B-9F00-66A7219A31DE}" dt="2022-06-29T14:52:32.986" v="2893" actId="165"/>
          <ac:spMkLst>
            <pc:docMk/>
            <pc:sldMk cId="1469576865" sldId="11666"/>
            <ac:spMk id="98" creationId="{3ED2455F-F618-418C-AF94-116DC031EC24}"/>
          </ac:spMkLst>
        </pc:spChg>
        <pc:spChg chg="mod">
          <ac:chgData name="Reuben Issac Jacob" userId="a26d73c9-1689-41bd-af50-ef825e838770" providerId="ADAL" clId="{F452BC9E-5BE8-4A0B-9F00-66A7219A31DE}" dt="2022-06-29T14:52:32.986" v="2893" actId="165"/>
          <ac:spMkLst>
            <pc:docMk/>
            <pc:sldMk cId="1469576865" sldId="11666"/>
            <ac:spMk id="99" creationId="{444E5F72-CC10-4EA3-B190-2BD50D319492}"/>
          </ac:spMkLst>
        </pc:spChg>
        <pc:spChg chg="mod">
          <ac:chgData name="Reuben Issac Jacob" userId="a26d73c9-1689-41bd-af50-ef825e838770" providerId="ADAL" clId="{F452BC9E-5BE8-4A0B-9F00-66A7219A31DE}" dt="2022-06-29T14:52:32.986" v="2893" actId="165"/>
          <ac:spMkLst>
            <pc:docMk/>
            <pc:sldMk cId="1469576865" sldId="11666"/>
            <ac:spMk id="100" creationId="{676A6175-F54B-45B0-9F83-AE4745F9D236}"/>
          </ac:spMkLst>
        </pc:spChg>
        <pc:spChg chg="mod ord topLvl">
          <ac:chgData name="Reuben Issac Jacob" userId="a26d73c9-1689-41bd-af50-ef825e838770" providerId="ADAL" clId="{F452BC9E-5BE8-4A0B-9F00-66A7219A31DE}" dt="2022-06-29T14:52:32.986" v="2893" actId="165"/>
          <ac:spMkLst>
            <pc:docMk/>
            <pc:sldMk cId="1469576865" sldId="11666"/>
            <ac:spMk id="101" creationId="{6DB7FB28-BAA6-41F9-B028-2869890E1FDE}"/>
          </ac:spMkLst>
        </pc:spChg>
        <pc:spChg chg="mod">
          <ac:chgData name="Reuben Issac Jacob" userId="a26d73c9-1689-41bd-af50-ef825e838770" providerId="ADAL" clId="{F452BC9E-5BE8-4A0B-9F00-66A7219A31DE}" dt="2022-06-29T14:52:32.986" v="2893" actId="165"/>
          <ac:spMkLst>
            <pc:docMk/>
            <pc:sldMk cId="1469576865" sldId="11666"/>
            <ac:spMk id="104" creationId="{AEBE29D5-A622-4DD7-ACF9-D8B8271B2151}"/>
          </ac:spMkLst>
        </pc:spChg>
        <pc:spChg chg="mod">
          <ac:chgData name="Reuben Issac Jacob" userId="a26d73c9-1689-41bd-af50-ef825e838770" providerId="ADAL" clId="{F452BC9E-5BE8-4A0B-9F00-66A7219A31DE}" dt="2022-06-29T14:52:32.986" v="2893" actId="165"/>
          <ac:spMkLst>
            <pc:docMk/>
            <pc:sldMk cId="1469576865" sldId="11666"/>
            <ac:spMk id="105" creationId="{ABBBD133-0CFF-42D9-989C-E50273F8BB92}"/>
          </ac:spMkLst>
        </pc:spChg>
        <pc:spChg chg="mod">
          <ac:chgData name="Reuben Issac Jacob" userId="a26d73c9-1689-41bd-af50-ef825e838770" providerId="ADAL" clId="{F452BC9E-5BE8-4A0B-9F00-66A7219A31DE}" dt="2022-06-29T14:52:32.986" v="2893" actId="165"/>
          <ac:spMkLst>
            <pc:docMk/>
            <pc:sldMk cId="1469576865" sldId="11666"/>
            <ac:spMk id="106" creationId="{6CE1FC3A-74D1-4B34-94AF-4F5723B73429}"/>
          </ac:spMkLst>
        </pc:spChg>
        <pc:spChg chg="mod">
          <ac:chgData name="Reuben Issac Jacob" userId="a26d73c9-1689-41bd-af50-ef825e838770" providerId="ADAL" clId="{F452BC9E-5BE8-4A0B-9F00-66A7219A31DE}" dt="2022-06-29T14:52:32.986" v="2893" actId="165"/>
          <ac:spMkLst>
            <pc:docMk/>
            <pc:sldMk cId="1469576865" sldId="11666"/>
            <ac:spMk id="107" creationId="{5C37DE25-00DC-445C-88DC-709564893415}"/>
          </ac:spMkLst>
        </pc:spChg>
        <pc:spChg chg="mod">
          <ac:chgData name="Reuben Issac Jacob" userId="a26d73c9-1689-41bd-af50-ef825e838770" providerId="ADAL" clId="{F452BC9E-5BE8-4A0B-9F00-66A7219A31DE}" dt="2022-06-29T14:52:32.986" v="2893" actId="165"/>
          <ac:spMkLst>
            <pc:docMk/>
            <pc:sldMk cId="1469576865" sldId="11666"/>
            <ac:spMk id="108" creationId="{0F799CC8-BE46-4E9C-84CD-909AA939AB67}"/>
          </ac:spMkLst>
        </pc:spChg>
        <pc:spChg chg="mod">
          <ac:chgData name="Reuben Issac Jacob" userId="a26d73c9-1689-41bd-af50-ef825e838770" providerId="ADAL" clId="{F452BC9E-5BE8-4A0B-9F00-66A7219A31DE}" dt="2022-06-29T14:52:32.986" v="2893" actId="165"/>
          <ac:spMkLst>
            <pc:docMk/>
            <pc:sldMk cId="1469576865" sldId="11666"/>
            <ac:spMk id="111" creationId="{10B986B9-D9F6-4D2C-843A-77F5C7529C38}"/>
          </ac:spMkLst>
        </pc:spChg>
        <pc:spChg chg="mod">
          <ac:chgData name="Reuben Issac Jacob" userId="a26d73c9-1689-41bd-af50-ef825e838770" providerId="ADAL" clId="{F452BC9E-5BE8-4A0B-9F00-66A7219A31DE}" dt="2022-06-29T14:52:32.986" v="2893" actId="165"/>
          <ac:spMkLst>
            <pc:docMk/>
            <pc:sldMk cId="1469576865" sldId="11666"/>
            <ac:spMk id="112" creationId="{537A9F78-520A-41A4-AD81-2B0598C0C21B}"/>
          </ac:spMkLst>
        </pc:spChg>
        <pc:spChg chg="mod">
          <ac:chgData name="Reuben Issac Jacob" userId="a26d73c9-1689-41bd-af50-ef825e838770" providerId="ADAL" clId="{F452BC9E-5BE8-4A0B-9F00-66A7219A31DE}" dt="2022-06-29T14:52:32.986" v="2893" actId="165"/>
          <ac:spMkLst>
            <pc:docMk/>
            <pc:sldMk cId="1469576865" sldId="11666"/>
            <ac:spMk id="113" creationId="{CF9344CC-3892-4870-897C-3E11B6393F0E}"/>
          </ac:spMkLst>
        </pc:spChg>
        <pc:spChg chg="mod">
          <ac:chgData name="Reuben Issac Jacob" userId="a26d73c9-1689-41bd-af50-ef825e838770" providerId="ADAL" clId="{F452BC9E-5BE8-4A0B-9F00-66A7219A31DE}" dt="2022-06-29T14:52:32.986" v="2893" actId="165"/>
          <ac:spMkLst>
            <pc:docMk/>
            <pc:sldMk cId="1469576865" sldId="11666"/>
            <ac:spMk id="114" creationId="{39D07A67-6374-400F-9F1D-61193F28BCBB}"/>
          </ac:spMkLst>
        </pc:spChg>
        <pc:spChg chg="mod">
          <ac:chgData name="Reuben Issac Jacob" userId="a26d73c9-1689-41bd-af50-ef825e838770" providerId="ADAL" clId="{F452BC9E-5BE8-4A0B-9F00-66A7219A31DE}" dt="2022-06-29T14:52:32.986" v="2893" actId="165"/>
          <ac:spMkLst>
            <pc:docMk/>
            <pc:sldMk cId="1469576865" sldId="11666"/>
            <ac:spMk id="115" creationId="{AFDA64F7-99C3-4951-95C8-62547B5B6F08}"/>
          </ac:spMkLst>
        </pc:spChg>
        <pc:spChg chg="mod">
          <ac:chgData name="Reuben Issac Jacob" userId="a26d73c9-1689-41bd-af50-ef825e838770" providerId="ADAL" clId="{F452BC9E-5BE8-4A0B-9F00-66A7219A31DE}" dt="2022-06-29T14:52:32.986" v="2893" actId="165"/>
          <ac:spMkLst>
            <pc:docMk/>
            <pc:sldMk cId="1469576865" sldId="11666"/>
            <ac:spMk id="117" creationId="{3F56CF95-8DD3-665B-3475-9DD26B5AA001}"/>
          </ac:spMkLst>
        </pc:spChg>
        <pc:spChg chg="mod">
          <ac:chgData name="Reuben Issac Jacob" userId="a26d73c9-1689-41bd-af50-ef825e838770" providerId="ADAL" clId="{F452BC9E-5BE8-4A0B-9F00-66A7219A31DE}" dt="2022-06-29T14:52:32.986" v="2893" actId="165"/>
          <ac:spMkLst>
            <pc:docMk/>
            <pc:sldMk cId="1469576865" sldId="11666"/>
            <ac:spMk id="118" creationId="{7560C9E5-4D07-3158-ECD7-DF0FD170AA59}"/>
          </ac:spMkLst>
        </pc:spChg>
        <pc:spChg chg="mod">
          <ac:chgData name="Reuben Issac Jacob" userId="a26d73c9-1689-41bd-af50-ef825e838770" providerId="ADAL" clId="{F452BC9E-5BE8-4A0B-9F00-66A7219A31DE}" dt="2022-06-29T14:52:32.986" v="2893" actId="165"/>
          <ac:spMkLst>
            <pc:docMk/>
            <pc:sldMk cId="1469576865" sldId="11666"/>
            <ac:spMk id="119" creationId="{435AA375-E82F-452B-FA5F-7940E0F41B02}"/>
          </ac:spMkLst>
        </pc:spChg>
        <pc:spChg chg="mod">
          <ac:chgData name="Reuben Issac Jacob" userId="a26d73c9-1689-41bd-af50-ef825e838770" providerId="ADAL" clId="{F452BC9E-5BE8-4A0B-9F00-66A7219A31DE}" dt="2022-06-29T14:52:32.986" v="2893" actId="165"/>
          <ac:spMkLst>
            <pc:docMk/>
            <pc:sldMk cId="1469576865" sldId="11666"/>
            <ac:spMk id="120" creationId="{3161523E-A6EA-6CED-65DA-D5EDA958D845}"/>
          </ac:spMkLst>
        </pc:spChg>
        <pc:spChg chg="mod">
          <ac:chgData name="Reuben Issac Jacob" userId="a26d73c9-1689-41bd-af50-ef825e838770" providerId="ADAL" clId="{F452BC9E-5BE8-4A0B-9F00-66A7219A31DE}" dt="2022-06-29T14:52:32.986" v="2893" actId="165"/>
          <ac:spMkLst>
            <pc:docMk/>
            <pc:sldMk cId="1469576865" sldId="11666"/>
            <ac:spMk id="121" creationId="{7A988C8E-6C13-6508-B31E-01EAE24300D4}"/>
          </ac:spMkLst>
        </pc:spChg>
        <pc:spChg chg="mod">
          <ac:chgData name="Reuben Issac Jacob" userId="a26d73c9-1689-41bd-af50-ef825e838770" providerId="ADAL" clId="{F452BC9E-5BE8-4A0B-9F00-66A7219A31DE}" dt="2022-06-29T14:52:32.986" v="2893" actId="165"/>
          <ac:spMkLst>
            <pc:docMk/>
            <pc:sldMk cId="1469576865" sldId="11666"/>
            <ac:spMk id="123" creationId="{AC9B850C-0AEE-3758-4A04-BA0CBFC23122}"/>
          </ac:spMkLst>
        </pc:spChg>
        <pc:spChg chg="mod">
          <ac:chgData name="Reuben Issac Jacob" userId="a26d73c9-1689-41bd-af50-ef825e838770" providerId="ADAL" clId="{F452BC9E-5BE8-4A0B-9F00-66A7219A31DE}" dt="2022-06-29T14:52:32.986" v="2893" actId="165"/>
          <ac:spMkLst>
            <pc:docMk/>
            <pc:sldMk cId="1469576865" sldId="11666"/>
            <ac:spMk id="124" creationId="{4AE7BE2D-E4EC-4D08-6934-3E859F073EE8}"/>
          </ac:spMkLst>
        </pc:spChg>
        <pc:spChg chg="mod">
          <ac:chgData name="Reuben Issac Jacob" userId="a26d73c9-1689-41bd-af50-ef825e838770" providerId="ADAL" clId="{F452BC9E-5BE8-4A0B-9F00-66A7219A31DE}" dt="2022-06-29T14:52:32.986" v="2893" actId="165"/>
          <ac:spMkLst>
            <pc:docMk/>
            <pc:sldMk cId="1469576865" sldId="11666"/>
            <ac:spMk id="125" creationId="{65053283-4BA4-A89B-E473-A7FA585A8985}"/>
          </ac:spMkLst>
        </pc:spChg>
        <pc:spChg chg="mod">
          <ac:chgData name="Reuben Issac Jacob" userId="a26d73c9-1689-41bd-af50-ef825e838770" providerId="ADAL" clId="{F452BC9E-5BE8-4A0B-9F00-66A7219A31DE}" dt="2022-06-29T14:52:32.986" v="2893" actId="165"/>
          <ac:spMkLst>
            <pc:docMk/>
            <pc:sldMk cId="1469576865" sldId="11666"/>
            <ac:spMk id="126" creationId="{5535B460-8982-07A4-C84E-5BB25E70E603}"/>
          </ac:spMkLst>
        </pc:spChg>
        <pc:spChg chg="mod">
          <ac:chgData name="Reuben Issac Jacob" userId="a26d73c9-1689-41bd-af50-ef825e838770" providerId="ADAL" clId="{F452BC9E-5BE8-4A0B-9F00-66A7219A31DE}" dt="2022-06-29T14:52:32.986" v="2893" actId="165"/>
          <ac:spMkLst>
            <pc:docMk/>
            <pc:sldMk cId="1469576865" sldId="11666"/>
            <ac:spMk id="127" creationId="{79E1CF88-A392-4031-34B9-D5372555A429}"/>
          </ac:spMkLst>
        </pc:spChg>
        <pc:spChg chg="mod">
          <ac:chgData name="Reuben Issac Jacob" userId="a26d73c9-1689-41bd-af50-ef825e838770" providerId="ADAL" clId="{F452BC9E-5BE8-4A0B-9F00-66A7219A31DE}" dt="2022-06-29T14:52:32.986" v="2893" actId="165"/>
          <ac:spMkLst>
            <pc:docMk/>
            <pc:sldMk cId="1469576865" sldId="11666"/>
            <ac:spMk id="128" creationId="{5BBE5272-BD71-2781-3B08-D311998A3ED8}"/>
          </ac:spMkLst>
        </pc:spChg>
        <pc:spChg chg="mod">
          <ac:chgData name="Reuben Issac Jacob" userId="a26d73c9-1689-41bd-af50-ef825e838770" providerId="ADAL" clId="{F452BC9E-5BE8-4A0B-9F00-66A7219A31DE}" dt="2022-06-29T14:52:32.986" v="2893" actId="165"/>
          <ac:spMkLst>
            <pc:docMk/>
            <pc:sldMk cId="1469576865" sldId="11666"/>
            <ac:spMk id="130" creationId="{144F10FC-25CE-6C35-5FBD-B5309AB1869B}"/>
          </ac:spMkLst>
        </pc:spChg>
        <pc:spChg chg="mod">
          <ac:chgData name="Reuben Issac Jacob" userId="a26d73c9-1689-41bd-af50-ef825e838770" providerId="ADAL" clId="{F452BC9E-5BE8-4A0B-9F00-66A7219A31DE}" dt="2022-06-29T14:52:32.986" v="2893" actId="165"/>
          <ac:spMkLst>
            <pc:docMk/>
            <pc:sldMk cId="1469576865" sldId="11666"/>
            <ac:spMk id="136" creationId="{061A1D33-785A-F25A-A82B-C614BE7AF12B}"/>
          </ac:spMkLst>
        </pc:spChg>
        <pc:spChg chg="mod">
          <ac:chgData name="Reuben Issac Jacob" userId="a26d73c9-1689-41bd-af50-ef825e838770" providerId="ADAL" clId="{F452BC9E-5BE8-4A0B-9F00-66A7219A31DE}" dt="2022-06-29T14:52:32.986" v="2893" actId="165"/>
          <ac:spMkLst>
            <pc:docMk/>
            <pc:sldMk cId="1469576865" sldId="11666"/>
            <ac:spMk id="137" creationId="{7C391CB1-6DDF-4796-E672-CF0CE3F6AFAF}"/>
          </ac:spMkLst>
        </pc:spChg>
        <pc:spChg chg="mod">
          <ac:chgData name="Reuben Issac Jacob" userId="a26d73c9-1689-41bd-af50-ef825e838770" providerId="ADAL" clId="{F452BC9E-5BE8-4A0B-9F00-66A7219A31DE}" dt="2022-06-29T14:52:32.986" v="2893" actId="165"/>
          <ac:spMkLst>
            <pc:docMk/>
            <pc:sldMk cId="1469576865" sldId="11666"/>
            <ac:spMk id="138" creationId="{DFCB73AA-A0F7-C920-CAB9-88FA018768E4}"/>
          </ac:spMkLst>
        </pc:spChg>
        <pc:spChg chg="mod">
          <ac:chgData name="Reuben Issac Jacob" userId="a26d73c9-1689-41bd-af50-ef825e838770" providerId="ADAL" clId="{F452BC9E-5BE8-4A0B-9F00-66A7219A31DE}" dt="2022-06-29T14:52:32.986" v="2893" actId="165"/>
          <ac:spMkLst>
            <pc:docMk/>
            <pc:sldMk cId="1469576865" sldId="11666"/>
            <ac:spMk id="139" creationId="{ABE6159C-2412-4F58-3171-3C0A8BAFBBD4}"/>
          </ac:spMkLst>
        </pc:spChg>
        <pc:spChg chg="mod">
          <ac:chgData name="Reuben Issac Jacob" userId="a26d73c9-1689-41bd-af50-ef825e838770" providerId="ADAL" clId="{F452BC9E-5BE8-4A0B-9F00-66A7219A31DE}" dt="2022-06-29T14:52:32.986" v="2893" actId="165"/>
          <ac:spMkLst>
            <pc:docMk/>
            <pc:sldMk cId="1469576865" sldId="11666"/>
            <ac:spMk id="140" creationId="{3F6C064B-2DCB-563F-5ACC-4E64A7862142}"/>
          </ac:spMkLst>
        </pc:spChg>
        <pc:spChg chg="mod">
          <ac:chgData name="Reuben Issac Jacob" userId="a26d73c9-1689-41bd-af50-ef825e838770" providerId="ADAL" clId="{F452BC9E-5BE8-4A0B-9F00-66A7219A31DE}" dt="2022-06-29T14:52:32.986" v="2893" actId="165"/>
          <ac:spMkLst>
            <pc:docMk/>
            <pc:sldMk cId="1469576865" sldId="11666"/>
            <ac:spMk id="142" creationId="{C6626E6C-CEB6-3596-2389-12A40DAC7F16}"/>
          </ac:spMkLst>
        </pc:spChg>
        <pc:spChg chg="mod">
          <ac:chgData name="Reuben Issac Jacob" userId="a26d73c9-1689-41bd-af50-ef825e838770" providerId="ADAL" clId="{F452BC9E-5BE8-4A0B-9F00-66A7219A31DE}" dt="2022-06-29T14:52:32.986" v="2893" actId="165"/>
          <ac:spMkLst>
            <pc:docMk/>
            <pc:sldMk cId="1469576865" sldId="11666"/>
            <ac:spMk id="143" creationId="{B59C737C-8944-DC12-EED9-FB48FCE332DF}"/>
          </ac:spMkLst>
        </pc:spChg>
        <pc:spChg chg="mod">
          <ac:chgData name="Reuben Issac Jacob" userId="a26d73c9-1689-41bd-af50-ef825e838770" providerId="ADAL" clId="{F452BC9E-5BE8-4A0B-9F00-66A7219A31DE}" dt="2022-06-29T14:52:32.986" v="2893" actId="165"/>
          <ac:spMkLst>
            <pc:docMk/>
            <pc:sldMk cId="1469576865" sldId="11666"/>
            <ac:spMk id="144" creationId="{D869962F-E5EF-1511-3445-A30FA5E2E016}"/>
          </ac:spMkLst>
        </pc:spChg>
        <pc:spChg chg="mod">
          <ac:chgData name="Reuben Issac Jacob" userId="a26d73c9-1689-41bd-af50-ef825e838770" providerId="ADAL" clId="{F452BC9E-5BE8-4A0B-9F00-66A7219A31DE}" dt="2022-06-29T14:52:32.986" v="2893" actId="165"/>
          <ac:spMkLst>
            <pc:docMk/>
            <pc:sldMk cId="1469576865" sldId="11666"/>
            <ac:spMk id="145" creationId="{324A9E5C-6E59-C016-F9FD-D741DD66D58C}"/>
          </ac:spMkLst>
        </pc:spChg>
        <pc:spChg chg="mod">
          <ac:chgData name="Reuben Issac Jacob" userId="a26d73c9-1689-41bd-af50-ef825e838770" providerId="ADAL" clId="{F452BC9E-5BE8-4A0B-9F00-66A7219A31DE}" dt="2022-06-29T14:52:32.986" v="2893" actId="165"/>
          <ac:spMkLst>
            <pc:docMk/>
            <pc:sldMk cId="1469576865" sldId="11666"/>
            <ac:spMk id="146" creationId="{0C765F75-6617-4D1A-761C-C45A4661502D}"/>
          </ac:spMkLst>
        </pc:spChg>
        <pc:spChg chg="mod">
          <ac:chgData name="Reuben Issac Jacob" userId="a26d73c9-1689-41bd-af50-ef825e838770" providerId="ADAL" clId="{F452BC9E-5BE8-4A0B-9F00-66A7219A31DE}" dt="2022-06-29T14:52:32.986" v="2893" actId="165"/>
          <ac:spMkLst>
            <pc:docMk/>
            <pc:sldMk cId="1469576865" sldId="11666"/>
            <ac:spMk id="148" creationId="{939F0791-604B-89BE-A521-765173CE4BA5}"/>
          </ac:spMkLst>
        </pc:spChg>
        <pc:spChg chg="mod">
          <ac:chgData name="Reuben Issac Jacob" userId="a26d73c9-1689-41bd-af50-ef825e838770" providerId="ADAL" clId="{F452BC9E-5BE8-4A0B-9F00-66A7219A31DE}" dt="2022-06-29T14:52:32.986" v="2893" actId="165"/>
          <ac:spMkLst>
            <pc:docMk/>
            <pc:sldMk cId="1469576865" sldId="11666"/>
            <ac:spMk id="149" creationId="{63087DE0-5826-42E6-3FD5-E3C9A1451E39}"/>
          </ac:spMkLst>
        </pc:spChg>
        <pc:spChg chg="mod">
          <ac:chgData name="Reuben Issac Jacob" userId="a26d73c9-1689-41bd-af50-ef825e838770" providerId="ADAL" clId="{F452BC9E-5BE8-4A0B-9F00-66A7219A31DE}" dt="2022-06-29T14:52:32.986" v="2893" actId="165"/>
          <ac:spMkLst>
            <pc:docMk/>
            <pc:sldMk cId="1469576865" sldId="11666"/>
            <ac:spMk id="150" creationId="{1DF67A2F-DBD3-1817-B264-F31281D10E9E}"/>
          </ac:spMkLst>
        </pc:spChg>
        <pc:spChg chg="mod">
          <ac:chgData name="Reuben Issac Jacob" userId="a26d73c9-1689-41bd-af50-ef825e838770" providerId="ADAL" clId="{F452BC9E-5BE8-4A0B-9F00-66A7219A31DE}" dt="2022-06-29T14:52:32.986" v="2893" actId="165"/>
          <ac:spMkLst>
            <pc:docMk/>
            <pc:sldMk cId="1469576865" sldId="11666"/>
            <ac:spMk id="151" creationId="{66A99FF0-6D96-91D4-5E05-3CD91E9A20B3}"/>
          </ac:spMkLst>
        </pc:spChg>
        <pc:spChg chg="mod">
          <ac:chgData name="Reuben Issac Jacob" userId="a26d73c9-1689-41bd-af50-ef825e838770" providerId="ADAL" clId="{F452BC9E-5BE8-4A0B-9F00-66A7219A31DE}" dt="2022-06-29T14:52:32.986" v="2893" actId="165"/>
          <ac:spMkLst>
            <pc:docMk/>
            <pc:sldMk cId="1469576865" sldId="11666"/>
            <ac:spMk id="152" creationId="{A3551FD2-A1DD-BAF9-91EE-C4D1DBD07DBC}"/>
          </ac:spMkLst>
        </pc:spChg>
        <pc:spChg chg="mod">
          <ac:chgData name="Reuben Issac Jacob" userId="a26d73c9-1689-41bd-af50-ef825e838770" providerId="ADAL" clId="{F452BC9E-5BE8-4A0B-9F00-66A7219A31DE}" dt="2022-06-29T14:52:32.986" v="2893" actId="165"/>
          <ac:spMkLst>
            <pc:docMk/>
            <pc:sldMk cId="1469576865" sldId="11666"/>
            <ac:spMk id="154" creationId="{B7ACEE05-F192-F06D-5F7F-3D17F2D1EDBE}"/>
          </ac:spMkLst>
        </pc:spChg>
        <pc:spChg chg="mod">
          <ac:chgData name="Reuben Issac Jacob" userId="a26d73c9-1689-41bd-af50-ef825e838770" providerId="ADAL" clId="{F452BC9E-5BE8-4A0B-9F00-66A7219A31DE}" dt="2022-06-29T14:52:32.986" v="2893" actId="165"/>
          <ac:spMkLst>
            <pc:docMk/>
            <pc:sldMk cId="1469576865" sldId="11666"/>
            <ac:spMk id="155" creationId="{08C927E1-7051-3B7C-9028-668AF0AA937A}"/>
          </ac:spMkLst>
        </pc:spChg>
        <pc:spChg chg="mod">
          <ac:chgData name="Reuben Issac Jacob" userId="a26d73c9-1689-41bd-af50-ef825e838770" providerId="ADAL" clId="{F452BC9E-5BE8-4A0B-9F00-66A7219A31DE}" dt="2022-06-29T14:52:32.986" v="2893" actId="165"/>
          <ac:spMkLst>
            <pc:docMk/>
            <pc:sldMk cId="1469576865" sldId="11666"/>
            <ac:spMk id="156" creationId="{8F2F451B-E370-39D7-2B56-F42688811DE3}"/>
          </ac:spMkLst>
        </pc:spChg>
        <pc:spChg chg="mod">
          <ac:chgData name="Reuben Issac Jacob" userId="a26d73c9-1689-41bd-af50-ef825e838770" providerId="ADAL" clId="{F452BC9E-5BE8-4A0B-9F00-66A7219A31DE}" dt="2022-06-29T14:52:32.986" v="2893" actId="165"/>
          <ac:spMkLst>
            <pc:docMk/>
            <pc:sldMk cId="1469576865" sldId="11666"/>
            <ac:spMk id="157" creationId="{BE2C3225-E9FA-26FF-0160-315F239DD98C}"/>
          </ac:spMkLst>
        </pc:spChg>
        <pc:spChg chg="mod">
          <ac:chgData name="Reuben Issac Jacob" userId="a26d73c9-1689-41bd-af50-ef825e838770" providerId="ADAL" clId="{F452BC9E-5BE8-4A0B-9F00-66A7219A31DE}" dt="2022-06-29T14:52:32.986" v="2893" actId="165"/>
          <ac:spMkLst>
            <pc:docMk/>
            <pc:sldMk cId="1469576865" sldId="11666"/>
            <ac:spMk id="158" creationId="{2B609240-E004-C215-2B54-EB3887931D70}"/>
          </ac:spMkLst>
        </pc:spChg>
        <pc:spChg chg="mod">
          <ac:chgData name="Reuben Issac Jacob" userId="a26d73c9-1689-41bd-af50-ef825e838770" providerId="ADAL" clId="{F452BC9E-5BE8-4A0B-9F00-66A7219A31DE}" dt="2022-06-29T14:52:32.986" v="2893" actId="165"/>
          <ac:spMkLst>
            <pc:docMk/>
            <pc:sldMk cId="1469576865" sldId="11666"/>
            <ac:spMk id="160" creationId="{C72BD1C9-D598-AC71-CA1F-818F2C32C935}"/>
          </ac:spMkLst>
        </pc:spChg>
        <pc:spChg chg="mod">
          <ac:chgData name="Reuben Issac Jacob" userId="a26d73c9-1689-41bd-af50-ef825e838770" providerId="ADAL" clId="{F452BC9E-5BE8-4A0B-9F00-66A7219A31DE}" dt="2022-06-29T14:52:32.986" v="2893" actId="165"/>
          <ac:spMkLst>
            <pc:docMk/>
            <pc:sldMk cId="1469576865" sldId="11666"/>
            <ac:spMk id="161" creationId="{B840D118-CD03-257C-72F4-66861F0F0F8A}"/>
          </ac:spMkLst>
        </pc:spChg>
        <pc:spChg chg="mod">
          <ac:chgData name="Reuben Issac Jacob" userId="a26d73c9-1689-41bd-af50-ef825e838770" providerId="ADAL" clId="{F452BC9E-5BE8-4A0B-9F00-66A7219A31DE}" dt="2022-06-29T14:52:32.986" v="2893" actId="165"/>
          <ac:spMkLst>
            <pc:docMk/>
            <pc:sldMk cId="1469576865" sldId="11666"/>
            <ac:spMk id="162" creationId="{86809479-BCE1-BCE8-EC0D-0319F6075B54}"/>
          </ac:spMkLst>
        </pc:spChg>
        <pc:spChg chg="mod">
          <ac:chgData name="Reuben Issac Jacob" userId="a26d73c9-1689-41bd-af50-ef825e838770" providerId="ADAL" clId="{F452BC9E-5BE8-4A0B-9F00-66A7219A31DE}" dt="2022-06-29T14:52:32.986" v="2893" actId="165"/>
          <ac:spMkLst>
            <pc:docMk/>
            <pc:sldMk cId="1469576865" sldId="11666"/>
            <ac:spMk id="163" creationId="{EB147FE2-862E-5BD0-D782-557EF541A739}"/>
          </ac:spMkLst>
        </pc:spChg>
        <pc:spChg chg="mod">
          <ac:chgData name="Reuben Issac Jacob" userId="a26d73c9-1689-41bd-af50-ef825e838770" providerId="ADAL" clId="{F452BC9E-5BE8-4A0B-9F00-66A7219A31DE}" dt="2022-06-29T14:52:32.986" v="2893" actId="165"/>
          <ac:spMkLst>
            <pc:docMk/>
            <pc:sldMk cId="1469576865" sldId="11666"/>
            <ac:spMk id="164" creationId="{647A9ABB-758E-9DE8-39D0-DA79F0ECC4B8}"/>
          </ac:spMkLst>
        </pc:spChg>
        <pc:spChg chg="mod">
          <ac:chgData name="Reuben Issac Jacob" userId="a26d73c9-1689-41bd-af50-ef825e838770" providerId="ADAL" clId="{F452BC9E-5BE8-4A0B-9F00-66A7219A31DE}" dt="2022-06-29T14:52:32.986" v="2893" actId="165"/>
          <ac:spMkLst>
            <pc:docMk/>
            <pc:sldMk cId="1469576865" sldId="11666"/>
            <ac:spMk id="165" creationId="{64560BA4-2BED-6151-C1D4-6FE0F814EE71}"/>
          </ac:spMkLst>
        </pc:spChg>
        <pc:spChg chg="mod">
          <ac:chgData name="Reuben Issac Jacob" userId="a26d73c9-1689-41bd-af50-ef825e838770" providerId="ADAL" clId="{F452BC9E-5BE8-4A0B-9F00-66A7219A31DE}" dt="2022-06-29T14:52:32.986" v="2893" actId="165"/>
          <ac:spMkLst>
            <pc:docMk/>
            <pc:sldMk cId="1469576865" sldId="11666"/>
            <ac:spMk id="167" creationId="{534AD59B-B921-72DB-4B89-49A78C412787}"/>
          </ac:spMkLst>
        </pc:spChg>
        <pc:spChg chg="mod">
          <ac:chgData name="Reuben Issac Jacob" userId="a26d73c9-1689-41bd-af50-ef825e838770" providerId="ADAL" clId="{F452BC9E-5BE8-4A0B-9F00-66A7219A31DE}" dt="2022-06-29T14:52:32.986" v="2893" actId="165"/>
          <ac:spMkLst>
            <pc:docMk/>
            <pc:sldMk cId="1469576865" sldId="11666"/>
            <ac:spMk id="173" creationId="{35951CA3-063E-3B58-4625-9A292CDB2926}"/>
          </ac:spMkLst>
        </pc:spChg>
        <pc:spChg chg="mod">
          <ac:chgData name="Reuben Issac Jacob" userId="a26d73c9-1689-41bd-af50-ef825e838770" providerId="ADAL" clId="{F452BC9E-5BE8-4A0B-9F00-66A7219A31DE}" dt="2022-06-29T14:52:32.986" v="2893" actId="165"/>
          <ac:spMkLst>
            <pc:docMk/>
            <pc:sldMk cId="1469576865" sldId="11666"/>
            <ac:spMk id="174" creationId="{CC99391F-E9C3-3ED1-47B0-FB4AB152B4B7}"/>
          </ac:spMkLst>
        </pc:spChg>
        <pc:spChg chg="mod">
          <ac:chgData name="Reuben Issac Jacob" userId="a26d73c9-1689-41bd-af50-ef825e838770" providerId="ADAL" clId="{F452BC9E-5BE8-4A0B-9F00-66A7219A31DE}" dt="2022-06-29T14:52:32.986" v="2893" actId="165"/>
          <ac:spMkLst>
            <pc:docMk/>
            <pc:sldMk cId="1469576865" sldId="11666"/>
            <ac:spMk id="175" creationId="{78200F90-1E53-5628-5BC4-03BDFC906EB2}"/>
          </ac:spMkLst>
        </pc:spChg>
        <pc:spChg chg="mod">
          <ac:chgData name="Reuben Issac Jacob" userId="a26d73c9-1689-41bd-af50-ef825e838770" providerId="ADAL" clId="{F452BC9E-5BE8-4A0B-9F00-66A7219A31DE}" dt="2022-06-29T14:52:32.986" v="2893" actId="165"/>
          <ac:spMkLst>
            <pc:docMk/>
            <pc:sldMk cId="1469576865" sldId="11666"/>
            <ac:spMk id="176" creationId="{D95F9A5D-4FA0-0841-C893-915326185494}"/>
          </ac:spMkLst>
        </pc:spChg>
        <pc:spChg chg="mod">
          <ac:chgData name="Reuben Issac Jacob" userId="a26d73c9-1689-41bd-af50-ef825e838770" providerId="ADAL" clId="{F452BC9E-5BE8-4A0B-9F00-66A7219A31DE}" dt="2022-06-29T14:52:32.986" v="2893" actId="165"/>
          <ac:spMkLst>
            <pc:docMk/>
            <pc:sldMk cId="1469576865" sldId="11666"/>
            <ac:spMk id="177" creationId="{FE16CAC2-5D1C-E84B-EE35-A3EF89921647}"/>
          </ac:spMkLst>
        </pc:spChg>
        <pc:spChg chg="mod">
          <ac:chgData name="Reuben Issac Jacob" userId="a26d73c9-1689-41bd-af50-ef825e838770" providerId="ADAL" clId="{F452BC9E-5BE8-4A0B-9F00-66A7219A31DE}" dt="2022-06-29T14:52:32.986" v="2893" actId="165"/>
          <ac:spMkLst>
            <pc:docMk/>
            <pc:sldMk cId="1469576865" sldId="11666"/>
            <ac:spMk id="179" creationId="{FD948867-0745-6D6F-726D-67C0B5C53897}"/>
          </ac:spMkLst>
        </pc:spChg>
        <pc:spChg chg="mod">
          <ac:chgData name="Reuben Issac Jacob" userId="a26d73c9-1689-41bd-af50-ef825e838770" providerId="ADAL" clId="{F452BC9E-5BE8-4A0B-9F00-66A7219A31DE}" dt="2022-06-29T14:52:32.986" v="2893" actId="165"/>
          <ac:spMkLst>
            <pc:docMk/>
            <pc:sldMk cId="1469576865" sldId="11666"/>
            <ac:spMk id="180" creationId="{055883B9-2951-9228-FEC3-2C9E70EEE70B}"/>
          </ac:spMkLst>
        </pc:spChg>
        <pc:spChg chg="mod">
          <ac:chgData name="Reuben Issac Jacob" userId="a26d73c9-1689-41bd-af50-ef825e838770" providerId="ADAL" clId="{F452BC9E-5BE8-4A0B-9F00-66A7219A31DE}" dt="2022-06-29T14:52:32.986" v="2893" actId="165"/>
          <ac:spMkLst>
            <pc:docMk/>
            <pc:sldMk cId="1469576865" sldId="11666"/>
            <ac:spMk id="181" creationId="{FC914957-F599-0706-CA1B-624EE12F9E79}"/>
          </ac:spMkLst>
        </pc:spChg>
        <pc:spChg chg="mod">
          <ac:chgData name="Reuben Issac Jacob" userId="a26d73c9-1689-41bd-af50-ef825e838770" providerId="ADAL" clId="{F452BC9E-5BE8-4A0B-9F00-66A7219A31DE}" dt="2022-06-29T14:52:32.986" v="2893" actId="165"/>
          <ac:spMkLst>
            <pc:docMk/>
            <pc:sldMk cId="1469576865" sldId="11666"/>
            <ac:spMk id="182" creationId="{04ECA96A-D294-DE56-6170-6B878C967266}"/>
          </ac:spMkLst>
        </pc:spChg>
        <pc:spChg chg="mod">
          <ac:chgData name="Reuben Issac Jacob" userId="a26d73c9-1689-41bd-af50-ef825e838770" providerId="ADAL" clId="{F452BC9E-5BE8-4A0B-9F00-66A7219A31DE}" dt="2022-06-29T14:52:32.986" v="2893" actId="165"/>
          <ac:spMkLst>
            <pc:docMk/>
            <pc:sldMk cId="1469576865" sldId="11666"/>
            <ac:spMk id="183" creationId="{6DF81EB4-AACF-C245-3109-36DCF1520F30}"/>
          </ac:spMkLst>
        </pc:spChg>
        <pc:spChg chg="mod">
          <ac:chgData name="Reuben Issac Jacob" userId="a26d73c9-1689-41bd-af50-ef825e838770" providerId="ADAL" clId="{F452BC9E-5BE8-4A0B-9F00-66A7219A31DE}" dt="2022-06-29T14:52:32.986" v="2893" actId="165"/>
          <ac:spMkLst>
            <pc:docMk/>
            <pc:sldMk cId="1469576865" sldId="11666"/>
            <ac:spMk id="185" creationId="{2DB13EEB-7F72-3CCF-2E7B-12204522E967}"/>
          </ac:spMkLst>
        </pc:spChg>
        <pc:spChg chg="mod">
          <ac:chgData name="Reuben Issac Jacob" userId="a26d73c9-1689-41bd-af50-ef825e838770" providerId="ADAL" clId="{F452BC9E-5BE8-4A0B-9F00-66A7219A31DE}" dt="2022-06-29T14:52:32.986" v="2893" actId="165"/>
          <ac:spMkLst>
            <pc:docMk/>
            <pc:sldMk cId="1469576865" sldId="11666"/>
            <ac:spMk id="186" creationId="{452B246B-CFD5-2859-F2E0-91B9517FCCF9}"/>
          </ac:spMkLst>
        </pc:spChg>
        <pc:spChg chg="mod">
          <ac:chgData name="Reuben Issac Jacob" userId="a26d73c9-1689-41bd-af50-ef825e838770" providerId="ADAL" clId="{F452BC9E-5BE8-4A0B-9F00-66A7219A31DE}" dt="2022-06-29T14:52:32.986" v="2893" actId="165"/>
          <ac:spMkLst>
            <pc:docMk/>
            <pc:sldMk cId="1469576865" sldId="11666"/>
            <ac:spMk id="187" creationId="{5F8F9404-CDBC-C438-68EA-20E0FCEA840B}"/>
          </ac:spMkLst>
        </pc:spChg>
        <pc:spChg chg="mod">
          <ac:chgData name="Reuben Issac Jacob" userId="a26d73c9-1689-41bd-af50-ef825e838770" providerId="ADAL" clId="{F452BC9E-5BE8-4A0B-9F00-66A7219A31DE}" dt="2022-06-29T14:52:32.986" v="2893" actId="165"/>
          <ac:spMkLst>
            <pc:docMk/>
            <pc:sldMk cId="1469576865" sldId="11666"/>
            <ac:spMk id="188" creationId="{5CEF66E7-273B-0851-3E7E-7AF4092FE840}"/>
          </ac:spMkLst>
        </pc:spChg>
        <pc:spChg chg="mod">
          <ac:chgData name="Reuben Issac Jacob" userId="a26d73c9-1689-41bd-af50-ef825e838770" providerId="ADAL" clId="{F452BC9E-5BE8-4A0B-9F00-66A7219A31DE}" dt="2022-06-29T14:52:32.986" v="2893" actId="165"/>
          <ac:spMkLst>
            <pc:docMk/>
            <pc:sldMk cId="1469576865" sldId="11666"/>
            <ac:spMk id="189" creationId="{26F04DB4-BE84-938B-C002-935037231481}"/>
          </ac:spMkLst>
        </pc:spChg>
        <pc:spChg chg="mod">
          <ac:chgData name="Reuben Issac Jacob" userId="a26d73c9-1689-41bd-af50-ef825e838770" providerId="ADAL" clId="{F452BC9E-5BE8-4A0B-9F00-66A7219A31DE}" dt="2022-06-29T14:52:32.986" v="2893" actId="165"/>
          <ac:spMkLst>
            <pc:docMk/>
            <pc:sldMk cId="1469576865" sldId="11666"/>
            <ac:spMk id="191" creationId="{D9A9B7E3-046A-15F2-164F-FC186EA818B3}"/>
          </ac:spMkLst>
        </pc:spChg>
        <pc:spChg chg="mod">
          <ac:chgData name="Reuben Issac Jacob" userId="a26d73c9-1689-41bd-af50-ef825e838770" providerId="ADAL" clId="{F452BC9E-5BE8-4A0B-9F00-66A7219A31DE}" dt="2022-06-29T14:52:32.986" v="2893" actId="165"/>
          <ac:spMkLst>
            <pc:docMk/>
            <pc:sldMk cId="1469576865" sldId="11666"/>
            <ac:spMk id="192" creationId="{64C1CC6A-E7C4-26F4-6161-4571BE5F8CD9}"/>
          </ac:spMkLst>
        </pc:spChg>
        <pc:spChg chg="mod">
          <ac:chgData name="Reuben Issac Jacob" userId="a26d73c9-1689-41bd-af50-ef825e838770" providerId="ADAL" clId="{F452BC9E-5BE8-4A0B-9F00-66A7219A31DE}" dt="2022-06-29T14:52:32.986" v="2893" actId="165"/>
          <ac:spMkLst>
            <pc:docMk/>
            <pc:sldMk cId="1469576865" sldId="11666"/>
            <ac:spMk id="193" creationId="{C0873BB6-E1BF-83FF-90E2-D3E5C8DFD151}"/>
          </ac:spMkLst>
        </pc:spChg>
        <pc:spChg chg="mod">
          <ac:chgData name="Reuben Issac Jacob" userId="a26d73c9-1689-41bd-af50-ef825e838770" providerId="ADAL" clId="{F452BC9E-5BE8-4A0B-9F00-66A7219A31DE}" dt="2022-06-29T14:52:32.986" v="2893" actId="165"/>
          <ac:spMkLst>
            <pc:docMk/>
            <pc:sldMk cId="1469576865" sldId="11666"/>
            <ac:spMk id="194" creationId="{90CFECE6-320C-44BC-16F9-A8C251CE8715}"/>
          </ac:spMkLst>
        </pc:spChg>
        <pc:spChg chg="mod">
          <ac:chgData name="Reuben Issac Jacob" userId="a26d73c9-1689-41bd-af50-ef825e838770" providerId="ADAL" clId="{F452BC9E-5BE8-4A0B-9F00-66A7219A31DE}" dt="2022-06-29T14:52:32.986" v="2893" actId="165"/>
          <ac:spMkLst>
            <pc:docMk/>
            <pc:sldMk cId="1469576865" sldId="11666"/>
            <ac:spMk id="195" creationId="{1C3F68A9-17BB-3DB1-12E7-D41016B05AC6}"/>
          </ac:spMkLst>
        </pc:spChg>
        <pc:spChg chg="mod">
          <ac:chgData name="Reuben Issac Jacob" userId="a26d73c9-1689-41bd-af50-ef825e838770" providerId="ADAL" clId="{F452BC9E-5BE8-4A0B-9F00-66A7219A31DE}" dt="2022-06-29T14:52:32.986" v="2893" actId="165"/>
          <ac:spMkLst>
            <pc:docMk/>
            <pc:sldMk cId="1469576865" sldId="11666"/>
            <ac:spMk id="197" creationId="{F3BB240E-A94C-7F46-5D97-08BF947C1D47}"/>
          </ac:spMkLst>
        </pc:spChg>
        <pc:spChg chg="mod">
          <ac:chgData name="Reuben Issac Jacob" userId="a26d73c9-1689-41bd-af50-ef825e838770" providerId="ADAL" clId="{F452BC9E-5BE8-4A0B-9F00-66A7219A31DE}" dt="2022-06-29T14:52:32.986" v="2893" actId="165"/>
          <ac:spMkLst>
            <pc:docMk/>
            <pc:sldMk cId="1469576865" sldId="11666"/>
            <ac:spMk id="198" creationId="{6D759DEE-C6BE-7050-5D68-01A05CC1F13F}"/>
          </ac:spMkLst>
        </pc:spChg>
        <pc:spChg chg="mod">
          <ac:chgData name="Reuben Issac Jacob" userId="a26d73c9-1689-41bd-af50-ef825e838770" providerId="ADAL" clId="{F452BC9E-5BE8-4A0B-9F00-66A7219A31DE}" dt="2022-06-29T14:52:32.986" v="2893" actId="165"/>
          <ac:spMkLst>
            <pc:docMk/>
            <pc:sldMk cId="1469576865" sldId="11666"/>
            <ac:spMk id="199" creationId="{D56F1A01-F8CC-17BD-C652-9CB4F29B43AD}"/>
          </ac:spMkLst>
        </pc:spChg>
        <pc:spChg chg="mod">
          <ac:chgData name="Reuben Issac Jacob" userId="a26d73c9-1689-41bd-af50-ef825e838770" providerId="ADAL" clId="{F452BC9E-5BE8-4A0B-9F00-66A7219A31DE}" dt="2022-06-29T14:52:32.986" v="2893" actId="165"/>
          <ac:spMkLst>
            <pc:docMk/>
            <pc:sldMk cId="1469576865" sldId="11666"/>
            <ac:spMk id="200" creationId="{0489DCA2-327E-C08F-8BFA-34BB8FA264C1}"/>
          </ac:spMkLst>
        </pc:spChg>
        <pc:spChg chg="mod">
          <ac:chgData name="Reuben Issac Jacob" userId="a26d73c9-1689-41bd-af50-ef825e838770" providerId="ADAL" clId="{F452BC9E-5BE8-4A0B-9F00-66A7219A31DE}" dt="2022-06-29T14:52:32.986" v="2893" actId="165"/>
          <ac:spMkLst>
            <pc:docMk/>
            <pc:sldMk cId="1469576865" sldId="11666"/>
            <ac:spMk id="201" creationId="{79E0D079-6B3E-36E1-B6EC-9B615799DAF1}"/>
          </ac:spMkLst>
        </pc:spChg>
        <pc:spChg chg="mod topLvl">
          <ac:chgData name="Reuben Issac Jacob" userId="a26d73c9-1689-41bd-af50-ef825e838770" providerId="ADAL" clId="{F452BC9E-5BE8-4A0B-9F00-66A7219A31DE}" dt="2022-06-29T14:52:32.986" v="2893" actId="165"/>
          <ac:spMkLst>
            <pc:docMk/>
            <pc:sldMk cId="1469576865" sldId="11666"/>
            <ac:spMk id="202" creationId="{B5F485A7-1C03-6CA4-0D58-D7CC8A4E4135}"/>
          </ac:spMkLst>
        </pc:spChg>
        <pc:spChg chg="mod">
          <ac:chgData name="Reuben Issac Jacob" userId="a26d73c9-1689-41bd-af50-ef825e838770" providerId="ADAL" clId="{F452BC9E-5BE8-4A0B-9F00-66A7219A31DE}" dt="2022-06-29T19:46:16.446" v="3286" actId="207"/>
          <ac:spMkLst>
            <pc:docMk/>
            <pc:sldMk cId="1469576865" sldId="11666"/>
            <ac:spMk id="203" creationId="{2EAF50D7-CB31-5199-D137-8D3B227D1E7D}"/>
          </ac:spMkLst>
        </pc:spChg>
        <pc:grpChg chg="add del mod">
          <ac:chgData name="Reuben Issac Jacob" userId="a26d73c9-1689-41bd-af50-ef825e838770" providerId="ADAL" clId="{F452BC9E-5BE8-4A0B-9F00-66A7219A31DE}" dt="2022-06-29T14:52:32.986" v="2893" actId="165"/>
          <ac:grpSpMkLst>
            <pc:docMk/>
            <pc:sldMk cId="1469576865" sldId="11666"/>
            <ac:grpSpMk id="2" creationId="{2796CA55-EDE9-3929-89E7-A6EE8C61C2C1}"/>
          </ac:grpSpMkLst>
        </pc:grpChg>
        <pc:grpChg chg="mod ord topLvl">
          <ac:chgData name="Reuben Issac Jacob" userId="a26d73c9-1689-41bd-af50-ef825e838770" providerId="ADAL" clId="{F452BC9E-5BE8-4A0B-9F00-66A7219A31DE}" dt="2022-06-29T14:53:30.233" v="3177" actId="14861"/>
          <ac:grpSpMkLst>
            <pc:docMk/>
            <pc:sldMk cId="1469576865" sldId="11666"/>
            <ac:grpSpMk id="4" creationId="{F87E7A7F-CAE7-1E91-30F5-EE547B35FA05}"/>
          </ac:grpSpMkLst>
        </pc:grpChg>
        <pc:grpChg chg="add del mod">
          <ac:chgData name="Reuben Issac Jacob" userId="a26d73c9-1689-41bd-af50-ef825e838770" providerId="ADAL" clId="{F452BC9E-5BE8-4A0B-9F00-66A7219A31DE}" dt="2022-06-29T14:52:32.986" v="2893" actId="165"/>
          <ac:grpSpMkLst>
            <pc:docMk/>
            <pc:sldMk cId="1469576865" sldId="11666"/>
            <ac:grpSpMk id="5" creationId="{38C922C1-79C6-FC88-FAF3-B011319214D5}"/>
          </ac:grpSpMkLst>
        </pc:grpChg>
        <pc:grpChg chg="mod topLvl">
          <ac:chgData name="Reuben Issac Jacob" userId="a26d73c9-1689-41bd-af50-ef825e838770" providerId="ADAL" clId="{F452BC9E-5BE8-4A0B-9F00-66A7219A31DE}" dt="2022-06-29T14:53:30.233" v="3177" actId="14861"/>
          <ac:grpSpMkLst>
            <pc:docMk/>
            <pc:sldMk cId="1469576865" sldId="11666"/>
            <ac:grpSpMk id="49" creationId="{06CABC0E-946C-CFC9-7339-653202616FDA}"/>
          </ac:grpSpMkLst>
        </pc:grpChg>
        <pc:grpChg chg="del">
          <ac:chgData name="Reuben Issac Jacob" userId="a26d73c9-1689-41bd-af50-ef825e838770" providerId="ADAL" clId="{F452BC9E-5BE8-4A0B-9F00-66A7219A31DE}" dt="2022-06-29T05:18:19.941" v="614" actId="478"/>
          <ac:grpSpMkLst>
            <pc:docMk/>
            <pc:sldMk cId="1469576865" sldId="11666"/>
            <ac:grpSpMk id="50" creationId="{5230071C-EA3E-4C5E-938A-88335A9F0F3D}"/>
          </ac:grpSpMkLst>
        </pc:grpChg>
        <pc:grpChg chg="mod">
          <ac:chgData name="Reuben Issac Jacob" userId="a26d73c9-1689-41bd-af50-ef825e838770" providerId="ADAL" clId="{F452BC9E-5BE8-4A0B-9F00-66A7219A31DE}" dt="2022-06-29T14:52:32.986" v="2893" actId="165"/>
          <ac:grpSpMkLst>
            <pc:docMk/>
            <pc:sldMk cId="1469576865" sldId="11666"/>
            <ac:grpSpMk id="53" creationId="{F7D8BF60-DE9D-7FEA-7BE1-6E2042F36A64}"/>
          </ac:grpSpMkLst>
        </pc:grpChg>
        <pc:grpChg chg="mod">
          <ac:chgData name="Reuben Issac Jacob" userId="a26d73c9-1689-41bd-af50-ef825e838770" providerId="ADAL" clId="{F452BC9E-5BE8-4A0B-9F00-66A7219A31DE}" dt="2022-06-29T14:52:32.986" v="2893" actId="165"/>
          <ac:grpSpMkLst>
            <pc:docMk/>
            <pc:sldMk cId="1469576865" sldId="11666"/>
            <ac:grpSpMk id="54" creationId="{4677C96F-F955-8AB5-EDF9-00F5DA6DFACF}"/>
          </ac:grpSpMkLst>
        </pc:grpChg>
        <pc:grpChg chg="mod">
          <ac:chgData name="Reuben Issac Jacob" userId="a26d73c9-1689-41bd-af50-ef825e838770" providerId="ADAL" clId="{F452BC9E-5BE8-4A0B-9F00-66A7219A31DE}" dt="2022-06-29T14:52:32.986" v="2893" actId="165"/>
          <ac:grpSpMkLst>
            <pc:docMk/>
            <pc:sldMk cId="1469576865" sldId="11666"/>
            <ac:grpSpMk id="55" creationId="{A4EDCC22-2256-E703-5EA7-E7E871AE1739}"/>
          </ac:grpSpMkLst>
        </pc:grpChg>
        <pc:grpChg chg="mod">
          <ac:chgData name="Reuben Issac Jacob" userId="a26d73c9-1689-41bd-af50-ef825e838770" providerId="ADAL" clId="{F452BC9E-5BE8-4A0B-9F00-66A7219A31DE}" dt="2022-06-29T14:52:32.986" v="2893" actId="165"/>
          <ac:grpSpMkLst>
            <pc:docMk/>
            <pc:sldMk cId="1469576865" sldId="11666"/>
            <ac:grpSpMk id="57" creationId="{B325E7B0-8138-4269-57C3-3484BB444627}"/>
          </ac:grpSpMkLst>
        </pc:grpChg>
        <pc:grpChg chg="mod">
          <ac:chgData name="Reuben Issac Jacob" userId="a26d73c9-1689-41bd-af50-ef825e838770" providerId="ADAL" clId="{F452BC9E-5BE8-4A0B-9F00-66A7219A31DE}" dt="2022-06-29T14:52:32.986" v="2893" actId="165"/>
          <ac:grpSpMkLst>
            <pc:docMk/>
            <pc:sldMk cId="1469576865" sldId="11666"/>
            <ac:grpSpMk id="59" creationId="{E1BC561A-E8A3-925D-DD06-E42F98E6EA68}"/>
          </ac:grpSpMkLst>
        </pc:grpChg>
        <pc:grpChg chg="mod">
          <ac:chgData name="Reuben Issac Jacob" userId="a26d73c9-1689-41bd-af50-ef825e838770" providerId="ADAL" clId="{F452BC9E-5BE8-4A0B-9F00-66A7219A31DE}" dt="2022-06-29T14:52:32.986" v="2893" actId="165"/>
          <ac:grpSpMkLst>
            <pc:docMk/>
            <pc:sldMk cId="1469576865" sldId="11666"/>
            <ac:grpSpMk id="60" creationId="{3FFB5379-2C0D-792C-F3F5-98CCDB828EE2}"/>
          </ac:grpSpMkLst>
        </pc:grpChg>
        <pc:grpChg chg="mod">
          <ac:chgData name="Reuben Issac Jacob" userId="a26d73c9-1689-41bd-af50-ef825e838770" providerId="ADAL" clId="{F452BC9E-5BE8-4A0B-9F00-66A7219A31DE}" dt="2022-06-29T14:52:32.986" v="2893" actId="165"/>
          <ac:grpSpMkLst>
            <pc:docMk/>
            <pc:sldMk cId="1469576865" sldId="11666"/>
            <ac:grpSpMk id="61" creationId="{EA93BF64-1134-C780-FE03-18247BFF1527}"/>
          </ac:grpSpMkLst>
        </pc:grpChg>
        <pc:grpChg chg="mod">
          <ac:chgData name="Reuben Issac Jacob" userId="a26d73c9-1689-41bd-af50-ef825e838770" providerId="ADAL" clId="{F452BC9E-5BE8-4A0B-9F00-66A7219A31DE}" dt="2022-06-29T14:52:32.986" v="2893" actId="165"/>
          <ac:grpSpMkLst>
            <pc:docMk/>
            <pc:sldMk cId="1469576865" sldId="11666"/>
            <ac:grpSpMk id="62" creationId="{A5DD1731-C5EF-1B54-5BFC-755667DA99F4}"/>
          </ac:grpSpMkLst>
        </pc:grpChg>
        <pc:grpChg chg="mod">
          <ac:chgData name="Reuben Issac Jacob" userId="a26d73c9-1689-41bd-af50-ef825e838770" providerId="ADAL" clId="{F452BC9E-5BE8-4A0B-9F00-66A7219A31DE}" dt="2022-06-29T14:52:32.986" v="2893" actId="165"/>
          <ac:grpSpMkLst>
            <pc:docMk/>
            <pc:sldMk cId="1469576865" sldId="11666"/>
            <ac:grpSpMk id="63" creationId="{B9B33454-0BC6-B373-C317-501D7EEDE2DC}"/>
          </ac:grpSpMkLst>
        </pc:grpChg>
        <pc:grpChg chg="mod">
          <ac:chgData name="Reuben Issac Jacob" userId="a26d73c9-1689-41bd-af50-ef825e838770" providerId="ADAL" clId="{F452BC9E-5BE8-4A0B-9F00-66A7219A31DE}" dt="2022-06-29T14:52:32.986" v="2893" actId="165"/>
          <ac:grpSpMkLst>
            <pc:docMk/>
            <pc:sldMk cId="1469576865" sldId="11666"/>
            <ac:grpSpMk id="70" creationId="{37080C82-36F1-4549-A817-088A49B0728C}"/>
          </ac:grpSpMkLst>
        </pc:grpChg>
        <pc:grpChg chg="mod">
          <ac:chgData name="Reuben Issac Jacob" userId="a26d73c9-1689-41bd-af50-ef825e838770" providerId="ADAL" clId="{F452BC9E-5BE8-4A0B-9F00-66A7219A31DE}" dt="2022-06-29T14:52:32.986" v="2893" actId="165"/>
          <ac:grpSpMkLst>
            <pc:docMk/>
            <pc:sldMk cId="1469576865" sldId="11666"/>
            <ac:grpSpMk id="71" creationId="{C2966C03-59A2-443A-A670-3CA67ADEED3B}"/>
          </ac:grpSpMkLst>
        </pc:grpChg>
        <pc:grpChg chg="mod">
          <ac:chgData name="Reuben Issac Jacob" userId="a26d73c9-1689-41bd-af50-ef825e838770" providerId="ADAL" clId="{F452BC9E-5BE8-4A0B-9F00-66A7219A31DE}" dt="2022-06-29T14:52:32.986" v="2893" actId="165"/>
          <ac:grpSpMkLst>
            <pc:docMk/>
            <pc:sldMk cId="1469576865" sldId="11666"/>
            <ac:grpSpMk id="75" creationId="{CCFB63C3-FD5F-9F8B-EDAD-A0DFE3C0E638}"/>
          </ac:grpSpMkLst>
        </pc:grpChg>
        <pc:grpChg chg="mod">
          <ac:chgData name="Reuben Issac Jacob" userId="a26d73c9-1689-41bd-af50-ef825e838770" providerId="ADAL" clId="{F452BC9E-5BE8-4A0B-9F00-66A7219A31DE}" dt="2022-06-29T14:52:32.986" v="2893" actId="165"/>
          <ac:grpSpMkLst>
            <pc:docMk/>
            <pc:sldMk cId="1469576865" sldId="11666"/>
            <ac:grpSpMk id="81" creationId="{FB3B38CD-AC2B-FAAB-301B-119ABB50EED4}"/>
          </ac:grpSpMkLst>
        </pc:grpChg>
        <pc:grpChg chg="mod">
          <ac:chgData name="Reuben Issac Jacob" userId="a26d73c9-1689-41bd-af50-ef825e838770" providerId="ADAL" clId="{F452BC9E-5BE8-4A0B-9F00-66A7219A31DE}" dt="2022-06-29T14:52:32.986" v="2893" actId="165"/>
          <ac:grpSpMkLst>
            <pc:docMk/>
            <pc:sldMk cId="1469576865" sldId="11666"/>
            <ac:grpSpMk id="87" creationId="{CDD94FEE-9B30-44AE-96D3-DE9C06371E64}"/>
          </ac:grpSpMkLst>
        </pc:grpChg>
        <pc:grpChg chg="mod">
          <ac:chgData name="Reuben Issac Jacob" userId="a26d73c9-1689-41bd-af50-ef825e838770" providerId="ADAL" clId="{F452BC9E-5BE8-4A0B-9F00-66A7219A31DE}" dt="2022-06-29T14:52:32.986" v="2893" actId="165"/>
          <ac:grpSpMkLst>
            <pc:docMk/>
            <pc:sldMk cId="1469576865" sldId="11666"/>
            <ac:grpSpMk id="88" creationId="{5AC4165D-3EB6-4FCA-88B8-09E3CE9B7AB4}"/>
          </ac:grpSpMkLst>
        </pc:grpChg>
        <pc:grpChg chg="mod">
          <ac:chgData name="Reuben Issac Jacob" userId="a26d73c9-1689-41bd-af50-ef825e838770" providerId="ADAL" clId="{F452BC9E-5BE8-4A0B-9F00-66A7219A31DE}" dt="2022-06-29T14:52:32.986" v="2893" actId="165"/>
          <ac:grpSpMkLst>
            <pc:docMk/>
            <pc:sldMk cId="1469576865" sldId="11666"/>
            <ac:grpSpMk id="94" creationId="{79BB6337-5E4D-4D10-808A-7E8FF9966987}"/>
          </ac:grpSpMkLst>
        </pc:grpChg>
        <pc:grpChg chg="mod">
          <ac:chgData name="Reuben Issac Jacob" userId="a26d73c9-1689-41bd-af50-ef825e838770" providerId="ADAL" clId="{F452BC9E-5BE8-4A0B-9F00-66A7219A31DE}" dt="2022-06-29T14:52:32.986" v="2893" actId="165"/>
          <ac:grpSpMkLst>
            <pc:docMk/>
            <pc:sldMk cId="1469576865" sldId="11666"/>
            <ac:grpSpMk id="95" creationId="{4653AFEA-8438-41DE-927D-040B0FE7CC7D}"/>
          </ac:grpSpMkLst>
        </pc:grpChg>
        <pc:grpChg chg="mod">
          <ac:chgData name="Reuben Issac Jacob" userId="a26d73c9-1689-41bd-af50-ef825e838770" providerId="ADAL" clId="{F452BC9E-5BE8-4A0B-9F00-66A7219A31DE}" dt="2022-06-29T14:52:32.986" v="2893" actId="165"/>
          <ac:grpSpMkLst>
            <pc:docMk/>
            <pc:sldMk cId="1469576865" sldId="11666"/>
            <ac:grpSpMk id="102" creationId="{E0481182-E2F3-471E-9C6B-B2CB7F5AAC8F}"/>
          </ac:grpSpMkLst>
        </pc:grpChg>
        <pc:grpChg chg="mod">
          <ac:chgData name="Reuben Issac Jacob" userId="a26d73c9-1689-41bd-af50-ef825e838770" providerId="ADAL" clId="{F452BC9E-5BE8-4A0B-9F00-66A7219A31DE}" dt="2022-06-29T14:52:32.986" v="2893" actId="165"/>
          <ac:grpSpMkLst>
            <pc:docMk/>
            <pc:sldMk cId="1469576865" sldId="11666"/>
            <ac:grpSpMk id="103" creationId="{99C2205C-D749-472D-A6C9-59D5758DE4B6}"/>
          </ac:grpSpMkLst>
        </pc:grpChg>
        <pc:grpChg chg="mod">
          <ac:chgData name="Reuben Issac Jacob" userId="a26d73c9-1689-41bd-af50-ef825e838770" providerId="ADAL" clId="{F452BC9E-5BE8-4A0B-9F00-66A7219A31DE}" dt="2022-06-29T14:52:32.986" v="2893" actId="165"/>
          <ac:grpSpMkLst>
            <pc:docMk/>
            <pc:sldMk cId="1469576865" sldId="11666"/>
            <ac:grpSpMk id="109" creationId="{AA802C79-2E33-4BBB-B52A-6B24F565A68F}"/>
          </ac:grpSpMkLst>
        </pc:grpChg>
        <pc:grpChg chg="mod">
          <ac:chgData name="Reuben Issac Jacob" userId="a26d73c9-1689-41bd-af50-ef825e838770" providerId="ADAL" clId="{F452BC9E-5BE8-4A0B-9F00-66A7219A31DE}" dt="2022-06-29T14:52:32.986" v="2893" actId="165"/>
          <ac:grpSpMkLst>
            <pc:docMk/>
            <pc:sldMk cId="1469576865" sldId="11666"/>
            <ac:grpSpMk id="110" creationId="{48601F5E-E832-4D1B-BFCD-65B911082CEE}"/>
          </ac:grpSpMkLst>
        </pc:grpChg>
        <pc:grpChg chg="mod">
          <ac:chgData name="Reuben Issac Jacob" userId="a26d73c9-1689-41bd-af50-ef825e838770" providerId="ADAL" clId="{F452BC9E-5BE8-4A0B-9F00-66A7219A31DE}" dt="2022-06-29T14:52:32.986" v="2893" actId="165"/>
          <ac:grpSpMkLst>
            <pc:docMk/>
            <pc:sldMk cId="1469576865" sldId="11666"/>
            <ac:grpSpMk id="116" creationId="{4D1BEF03-3D9F-7DB5-6A70-EDCC373E0C11}"/>
          </ac:grpSpMkLst>
        </pc:grpChg>
        <pc:grpChg chg="mod">
          <ac:chgData name="Reuben Issac Jacob" userId="a26d73c9-1689-41bd-af50-ef825e838770" providerId="ADAL" clId="{F452BC9E-5BE8-4A0B-9F00-66A7219A31DE}" dt="2022-06-29T14:52:32.986" v="2893" actId="165"/>
          <ac:grpSpMkLst>
            <pc:docMk/>
            <pc:sldMk cId="1469576865" sldId="11666"/>
            <ac:grpSpMk id="122" creationId="{6E1722D7-4A3A-9E22-2DC1-E87763041E2C}"/>
          </ac:grpSpMkLst>
        </pc:grpChg>
        <pc:grpChg chg="mod">
          <ac:chgData name="Reuben Issac Jacob" userId="a26d73c9-1689-41bd-af50-ef825e838770" providerId="ADAL" clId="{F452BC9E-5BE8-4A0B-9F00-66A7219A31DE}" dt="2022-06-29T14:52:32.986" v="2893" actId="165"/>
          <ac:grpSpMkLst>
            <pc:docMk/>
            <pc:sldMk cId="1469576865" sldId="11666"/>
            <ac:grpSpMk id="129" creationId="{CA8D8F14-9E16-4651-0A24-D0E29C3D20B4}"/>
          </ac:grpSpMkLst>
        </pc:grpChg>
        <pc:grpChg chg="mod">
          <ac:chgData name="Reuben Issac Jacob" userId="a26d73c9-1689-41bd-af50-ef825e838770" providerId="ADAL" clId="{F452BC9E-5BE8-4A0B-9F00-66A7219A31DE}" dt="2022-06-29T14:52:32.986" v="2893" actId="165"/>
          <ac:grpSpMkLst>
            <pc:docMk/>
            <pc:sldMk cId="1469576865" sldId="11666"/>
            <ac:grpSpMk id="131" creationId="{E4B13460-2044-3230-7E70-E47699B9A006}"/>
          </ac:grpSpMkLst>
        </pc:grpChg>
        <pc:grpChg chg="mod">
          <ac:chgData name="Reuben Issac Jacob" userId="a26d73c9-1689-41bd-af50-ef825e838770" providerId="ADAL" clId="{F452BC9E-5BE8-4A0B-9F00-66A7219A31DE}" dt="2022-06-29T14:52:32.986" v="2893" actId="165"/>
          <ac:grpSpMkLst>
            <pc:docMk/>
            <pc:sldMk cId="1469576865" sldId="11666"/>
            <ac:grpSpMk id="132" creationId="{4E84C0AB-9A56-3432-6F4B-11AEA7B83A89}"/>
          </ac:grpSpMkLst>
        </pc:grpChg>
        <pc:grpChg chg="mod">
          <ac:chgData name="Reuben Issac Jacob" userId="a26d73c9-1689-41bd-af50-ef825e838770" providerId="ADAL" clId="{F452BC9E-5BE8-4A0B-9F00-66A7219A31DE}" dt="2022-06-29T14:52:32.986" v="2893" actId="165"/>
          <ac:grpSpMkLst>
            <pc:docMk/>
            <pc:sldMk cId="1469576865" sldId="11666"/>
            <ac:grpSpMk id="133" creationId="{EB489ED6-7221-1CE4-E8AA-B20A0C8B23EB}"/>
          </ac:grpSpMkLst>
        </pc:grpChg>
        <pc:grpChg chg="mod">
          <ac:chgData name="Reuben Issac Jacob" userId="a26d73c9-1689-41bd-af50-ef825e838770" providerId="ADAL" clId="{F452BC9E-5BE8-4A0B-9F00-66A7219A31DE}" dt="2022-06-29T14:52:32.986" v="2893" actId="165"/>
          <ac:grpSpMkLst>
            <pc:docMk/>
            <pc:sldMk cId="1469576865" sldId="11666"/>
            <ac:grpSpMk id="134" creationId="{04484B1B-DBBD-C886-1FBE-135AFB151D10}"/>
          </ac:grpSpMkLst>
        </pc:grpChg>
        <pc:grpChg chg="mod">
          <ac:chgData name="Reuben Issac Jacob" userId="a26d73c9-1689-41bd-af50-ef825e838770" providerId="ADAL" clId="{F452BC9E-5BE8-4A0B-9F00-66A7219A31DE}" dt="2022-06-29T14:52:32.986" v="2893" actId="165"/>
          <ac:grpSpMkLst>
            <pc:docMk/>
            <pc:sldMk cId="1469576865" sldId="11666"/>
            <ac:grpSpMk id="135" creationId="{21DD2A46-F44C-A656-90F1-22A3403751A2}"/>
          </ac:grpSpMkLst>
        </pc:grpChg>
        <pc:grpChg chg="mod">
          <ac:chgData name="Reuben Issac Jacob" userId="a26d73c9-1689-41bd-af50-ef825e838770" providerId="ADAL" clId="{F452BC9E-5BE8-4A0B-9F00-66A7219A31DE}" dt="2022-06-29T14:52:32.986" v="2893" actId="165"/>
          <ac:grpSpMkLst>
            <pc:docMk/>
            <pc:sldMk cId="1469576865" sldId="11666"/>
            <ac:grpSpMk id="141" creationId="{8EC457EF-4D6A-4F45-7911-6CF7D0C5ECB3}"/>
          </ac:grpSpMkLst>
        </pc:grpChg>
        <pc:grpChg chg="mod">
          <ac:chgData name="Reuben Issac Jacob" userId="a26d73c9-1689-41bd-af50-ef825e838770" providerId="ADAL" clId="{F452BC9E-5BE8-4A0B-9F00-66A7219A31DE}" dt="2022-06-29T14:52:32.986" v="2893" actId="165"/>
          <ac:grpSpMkLst>
            <pc:docMk/>
            <pc:sldMk cId="1469576865" sldId="11666"/>
            <ac:grpSpMk id="147" creationId="{0D11D7AB-5937-D3FD-DB91-A86A600DD82C}"/>
          </ac:grpSpMkLst>
        </pc:grpChg>
        <pc:grpChg chg="mod">
          <ac:chgData name="Reuben Issac Jacob" userId="a26d73c9-1689-41bd-af50-ef825e838770" providerId="ADAL" clId="{F452BC9E-5BE8-4A0B-9F00-66A7219A31DE}" dt="2022-06-29T14:52:32.986" v="2893" actId="165"/>
          <ac:grpSpMkLst>
            <pc:docMk/>
            <pc:sldMk cId="1469576865" sldId="11666"/>
            <ac:grpSpMk id="153" creationId="{C3A9E3C0-86E7-CB84-3247-21D167E6B978}"/>
          </ac:grpSpMkLst>
        </pc:grpChg>
        <pc:grpChg chg="mod">
          <ac:chgData name="Reuben Issac Jacob" userId="a26d73c9-1689-41bd-af50-ef825e838770" providerId="ADAL" clId="{F452BC9E-5BE8-4A0B-9F00-66A7219A31DE}" dt="2022-06-29T14:52:32.986" v="2893" actId="165"/>
          <ac:grpSpMkLst>
            <pc:docMk/>
            <pc:sldMk cId="1469576865" sldId="11666"/>
            <ac:grpSpMk id="159" creationId="{D64FFE8A-6919-6161-F8B8-D76C53ABDB60}"/>
          </ac:grpSpMkLst>
        </pc:grpChg>
        <pc:grpChg chg="mod">
          <ac:chgData name="Reuben Issac Jacob" userId="a26d73c9-1689-41bd-af50-ef825e838770" providerId="ADAL" clId="{F452BC9E-5BE8-4A0B-9F00-66A7219A31DE}" dt="2022-06-29T14:52:32.986" v="2893" actId="165"/>
          <ac:grpSpMkLst>
            <pc:docMk/>
            <pc:sldMk cId="1469576865" sldId="11666"/>
            <ac:grpSpMk id="166" creationId="{5FDA1237-803E-A338-AEF0-73D8A225827D}"/>
          </ac:grpSpMkLst>
        </pc:grpChg>
        <pc:grpChg chg="mod">
          <ac:chgData name="Reuben Issac Jacob" userId="a26d73c9-1689-41bd-af50-ef825e838770" providerId="ADAL" clId="{F452BC9E-5BE8-4A0B-9F00-66A7219A31DE}" dt="2022-06-29T14:52:32.986" v="2893" actId="165"/>
          <ac:grpSpMkLst>
            <pc:docMk/>
            <pc:sldMk cId="1469576865" sldId="11666"/>
            <ac:grpSpMk id="168" creationId="{267C0DFA-9AA3-3DC0-766A-3FCC83FC1F36}"/>
          </ac:grpSpMkLst>
        </pc:grpChg>
        <pc:grpChg chg="mod">
          <ac:chgData name="Reuben Issac Jacob" userId="a26d73c9-1689-41bd-af50-ef825e838770" providerId="ADAL" clId="{F452BC9E-5BE8-4A0B-9F00-66A7219A31DE}" dt="2022-06-29T14:52:32.986" v="2893" actId="165"/>
          <ac:grpSpMkLst>
            <pc:docMk/>
            <pc:sldMk cId="1469576865" sldId="11666"/>
            <ac:grpSpMk id="169" creationId="{FA5CDCE5-9843-F969-B3A0-A7EFFDEE1615}"/>
          </ac:grpSpMkLst>
        </pc:grpChg>
        <pc:grpChg chg="mod">
          <ac:chgData name="Reuben Issac Jacob" userId="a26d73c9-1689-41bd-af50-ef825e838770" providerId="ADAL" clId="{F452BC9E-5BE8-4A0B-9F00-66A7219A31DE}" dt="2022-06-29T14:52:32.986" v="2893" actId="165"/>
          <ac:grpSpMkLst>
            <pc:docMk/>
            <pc:sldMk cId="1469576865" sldId="11666"/>
            <ac:grpSpMk id="170" creationId="{BFDAE941-48B6-0A8B-B306-7D222CCC100A}"/>
          </ac:grpSpMkLst>
        </pc:grpChg>
        <pc:grpChg chg="mod">
          <ac:chgData name="Reuben Issac Jacob" userId="a26d73c9-1689-41bd-af50-ef825e838770" providerId="ADAL" clId="{F452BC9E-5BE8-4A0B-9F00-66A7219A31DE}" dt="2022-06-29T14:52:32.986" v="2893" actId="165"/>
          <ac:grpSpMkLst>
            <pc:docMk/>
            <pc:sldMk cId="1469576865" sldId="11666"/>
            <ac:grpSpMk id="171" creationId="{854DBAAA-DB10-1525-52E7-19B2022691C7}"/>
          </ac:grpSpMkLst>
        </pc:grpChg>
        <pc:grpChg chg="mod">
          <ac:chgData name="Reuben Issac Jacob" userId="a26d73c9-1689-41bd-af50-ef825e838770" providerId="ADAL" clId="{F452BC9E-5BE8-4A0B-9F00-66A7219A31DE}" dt="2022-06-29T14:52:32.986" v="2893" actId="165"/>
          <ac:grpSpMkLst>
            <pc:docMk/>
            <pc:sldMk cId="1469576865" sldId="11666"/>
            <ac:grpSpMk id="172" creationId="{7E17B0F9-F958-BD9D-DD50-DA84F593878F}"/>
          </ac:grpSpMkLst>
        </pc:grpChg>
        <pc:grpChg chg="mod">
          <ac:chgData name="Reuben Issac Jacob" userId="a26d73c9-1689-41bd-af50-ef825e838770" providerId="ADAL" clId="{F452BC9E-5BE8-4A0B-9F00-66A7219A31DE}" dt="2022-06-29T14:52:32.986" v="2893" actId="165"/>
          <ac:grpSpMkLst>
            <pc:docMk/>
            <pc:sldMk cId="1469576865" sldId="11666"/>
            <ac:grpSpMk id="178" creationId="{A20F5821-FB30-599E-8521-A59ACF704DB3}"/>
          </ac:grpSpMkLst>
        </pc:grpChg>
        <pc:grpChg chg="mod">
          <ac:chgData name="Reuben Issac Jacob" userId="a26d73c9-1689-41bd-af50-ef825e838770" providerId="ADAL" clId="{F452BC9E-5BE8-4A0B-9F00-66A7219A31DE}" dt="2022-06-29T14:52:32.986" v="2893" actId="165"/>
          <ac:grpSpMkLst>
            <pc:docMk/>
            <pc:sldMk cId="1469576865" sldId="11666"/>
            <ac:grpSpMk id="184" creationId="{C91EACC7-43DF-C07E-4FFF-BE9458F766CF}"/>
          </ac:grpSpMkLst>
        </pc:grpChg>
        <pc:grpChg chg="mod">
          <ac:chgData name="Reuben Issac Jacob" userId="a26d73c9-1689-41bd-af50-ef825e838770" providerId="ADAL" clId="{F452BC9E-5BE8-4A0B-9F00-66A7219A31DE}" dt="2022-06-29T14:52:32.986" v="2893" actId="165"/>
          <ac:grpSpMkLst>
            <pc:docMk/>
            <pc:sldMk cId="1469576865" sldId="11666"/>
            <ac:grpSpMk id="190" creationId="{C6B9D259-D6AA-F384-5187-6082B733A35F}"/>
          </ac:grpSpMkLst>
        </pc:grpChg>
        <pc:grpChg chg="mod">
          <ac:chgData name="Reuben Issac Jacob" userId="a26d73c9-1689-41bd-af50-ef825e838770" providerId="ADAL" clId="{F452BC9E-5BE8-4A0B-9F00-66A7219A31DE}" dt="2022-06-29T14:52:32.986" v="2893" actId="165"/>
          <ac:grpSpMkLst>
            <pc:docMk/>
            <pc:sldMk cId="1469576865" sldId="11666"/>
            <ac:grpSpMk id="196" creationId="{71C642D9-2CD5-461B-8220-F1C8C1D3CE68}"/>
          </ac:grpSpMkLst>
        </pc:grpChg>
        <pc:picChg chg="del">
          <ac:chgData name="Reuben Issac Jacob" userId="a26d73c9-1689-41bd-af50-ef825e838770" providerId="ADAL" clId="{F452BC9E-5BE8-4A0B-9F00-66A7219A31DE}" dt="2022-06-29T05:18:19.941" v="614" actId="478"/>
          <ac:picMkLst>
            <pc:docMk/>
            <pc:sldMk cId="1469576865" sldId="11666"/>
            <ac:picMk id="45" creationId="{58DAAF5F-934B-41C3-AD8B-A62D2F4C6EBA}"/>
          </ac:picMkLst>
        </pc:picChg>
      </pc:sldChg>
      <pc:sldChg chg="addSp delSp modSp mod modClrScheme modAnim chgLayout">
        <pc:chgData name="Reuben Issac Jacob" userId="a26d73c9-1689-41bd-af50-ef825e838770" providerId="ADAL" clId="{F452BC9E-5BE8-4A0B-9F00-66A7219A31DE}" dt="2022-06-29T19:58:30.671" v="3414"/>
        <pc:sldMkLst>
          <pc:docMk/>
          <pc:sldMk cId="2205024091" sldId="11667"/>
        </pc:sldMkLst>
        <pc:spChg chg="add mod">
          <ac:chgData name="Reuben Issac Jacob" userId="a26d73c9-1689-41bd-af50-ef825e838770" providerId="ADAL" clId="{F452BC9E-5BE8-4A0B-9F00-66A7219A31DE}" dt="2022-06-29T05:14:46.800" v="543"/>
          <ac:spMkLst>
            <pc:docMk/>
            <pc:sldMk cId="2205024091" sldId="11667"/>
            <ac:spMk id="4" creationId="{C865C888-D9B9-8B8A-7554-8E011ED6A4AB}"/>
          </ac:spMkLst>
        </pc:spChg>
        <pc:spChg chg="add mod ord">
          <ac:chgData name="Reuben Issac Jacob" userId="a26d73c9-1689-41bd-af50-ef825e838770" providerId="ADAL" clId="{F452BC9E-5BE8-4A0B-9F00-66A7219A31DE}" dt="2022-06-29T05:17:48.718" v="610" actId="207"/>
          <ac:spMkLst>
            <pc:docMk/>
            <pc:sldMk cId="2205024091" sldId="11667"/>
            <ac:spMk id="5" creationId="{977F8249-6DA7-B56A-1915-D8EC0F48466E}"/>
          </ac:spMkLst>
        </pc:spChg>
        <pc:spChg chg="mod">
          <ac:chgData name="Reuben Issac Jacob" userId="a26d73c9-1689-41bd-af50-ef825e838770" providerId="ADAL" clId="{F452BC9E-5BE8-4A0B-9F00-66A7219A31DE}" dt="2022-06-29T05:17:01.625" v="556" actId="207"/>
          <ac:spMkLst>
            <pc:docMk/>
            <pc:sldMk cId="2205024091" sldId="11667"/>
            <ac:spMk id="16" creationId="{7A7645A4-FB91-4EC2-8153-9DF11B6872E2}"/>
          </ac:spMkLst>
        </pc:spChg>
        <pc:spChg chg="del mod ord">
          <ac:chgData name="Reuben Issac Jacob" userId="a26d73c9-1689-41bd-af50-ef825e838770" providerId="ADAL" clId="{F452BC9E-5BE8-4A0B-9F00-66A7219A31DE}" dt="2022-06-29T05:14:44.995" v="542" actId="478"/>
          <ac:spMkLst>
            <pc:docMk/>
            <pc:sldMk cId="2205024091" sldId="11667"/>
            <ac:spMk id="17" creationId="{A5A05DD6-2979-4A83-BB1E-F9AF5708A959}"/>
          </ac:spMkLst>
        </pc:spChg>
        <pc:spChg chg="mod">
          <ac:chgData name="Reuben Issac Jacob" userId="a26d73c9-1689-41bd-af50-ef825e838770" providerId="ADAL" clId="{F452BC9E-5BE8-4A0B-9F00-66A7219A31DE}" dt="2022-06-29T05:17:12.441" v="558" actId="207"/>
          <ac:spMkLst>
            <pc:docMk/>
            <pc:sldMk cId="2205024091" sldId="11667"/>
            <ac:spMk id="19" creationId="{45BE0DC7-95EF-419B-A3CB-981E0572008A}"/>
          </ac:spMkLst>
        </pc:spChg>
        <pc:spChg chg="mod">
          <ac:chgData name="Reuben Issac Jacob" userId="a26d73c9-1689-41bd-af50-ef825e838770" providerId="ADAL" clId="{F452BC9E-5BE8-4A0B-9F00-66A7219A31DE}" dt="2022-06-29T05:16:34.169" v="553" actId="207"/>
          <ac:spMkLst>
            <pc:docMk/>
            <pc:sldMk cId="2205024091" sldId="11667"/>
            <ac:spMk id="30" creationId="{8B419238-0FD1-42CA-8B08-6E1CB66701CB}"/>
          </ac:spMkLst>
        </pc:spChg>
        <pc:spChg chg="mod">
          <ac:chgData name="Reuben Issac Jacob" userId="a26d73c9-1689-41bd-af50-ef825e838770" providerId="ADAL" clId="{F452BC9E-5BE8-4A0B-9F00-66A7219A31DE}" dt="2022-06-29T05:15:32.638" v="547" actId="207"/>
          <ac:spMkLst>
            <pc:docMk/>
            <pc:sldMk cId="2205024091" sldId="11667"/>
            <ac:spMk id="38" creationId="{9548439B-5518-4FBC-8E13-B755AE28E634}"/>
          </ac:spMkLst>
        </pc:spChg>
        <pc:spChg chg="mod">
          <ac:chgData name="Reuben Issac Jacob" userId="a26d73c9-1689-41bd-af50-ef825e838770" providerId="ADAL" clId="{F452BC9E-5BE8-4A0B-9F00-66A7219A31DE}" dt="2022-06-29T05:16:18.667" v="551" actId="207"/>
          <ac:spMkLst>
            <pc:docMk/>
            <pc:sldMk cId="2205024091" sldId="11667"/>
            <ac:spMk id="45" creationId="{46A34C14-A827-44D9-B456-61891744B567}"/>
          </ac:spMkLst>
        </pc:spChg>
        <pc:spChg chg="mod">
          <ac:chgData name="Reuben Issac Jacob" userId="a26d73c9-1689-41bd-af50-ef825e838770" providerId="ADAL" clId="{F452BC9E-5BE8-4A0B-9F00-66A7219A31DE}" dt="2022-06-29T05:13:56.139" v="536" actId="207"/>
          <ac:spMkLst>
            <pc:docMk/>
            <pc:sldMk cId="2205024091" sldId="11667"/>
            <ac:spMk id="46" creationId="{40D890C5-DCAC-4CEF-BFC6-F7E09929818E}"/>
          </ac:spMkLst>
        </pc:spChg>
        <pc:spChg chg="mod">
          <ac:chgData name="Reuben Issac Jacob" userId="a26d73c9-1689-41bd-af50-ef825e838770" providerId="ADAL" clId="{F452BC9E-5BE8-4A0B-9F00-66A7219A31DE}" dt="2022-06-29T05:39:41.148" v="781" actId="207"/>
          <ac:spMkLst>
            <pc:docMk/>
            <pc:sldMk cId="2205024091" sldId="11667"/>
            <ac:spMk id="193" creationId="{AC0E5766-1954-4C22-B71C-3844E1251054}"/>
          </ac:spMkLst>
        </pc:spChg>
        <pc:grpChg chg="del">
          <ac:chgData name="Reuben Issac Jacob" userId="a26d73c9-1689-41bd-af50-ef825e838770" providerId="ADAL" clId="{F452BC9E-5BE8-4A0B-9F00-66A7219A31DE}" dt="2022-06-29T05:17:54.001" v="611" actId="478"/>
          <ac:grpSpMkLst>
            <pc:docMk/>
            <pc:sldMk cId="2205024091" sldId="11667"/>
            <ac:grpSpMk id="33" creationId="{A92F456D-36C0-40A5-A73A-D9497D7A39D3}"/>
          </ac:grpSpMkLst>
        </pc:grpChg>
        <pc:graphicFrameChg chg="mod">
          <ac:chgData name="Reuben Issac Jacob" userId="a26d73c9-1689-41bd-af50-ef825e838770" providerId="ADAL" clId="{F452BC9E-5BE8-4A0B-9F00-66A7219A31DE}" dt="2022-06-29T05:16:55.576" v="555"/>
          <ac:graphicFrameMkLst>
            <pc:docMk/>
            <pc:sldMk cId="2205024091" sldId="11667"/>
            <ac:graphicFrameMk id="6" creationId="{159CE178-6CB8-4B5B-876B-EC5693096562}"/>
          </ac:graphicFrameMkLst>
        </pc:graphicFrameChg>
        <pc:graphicFrameChg chg="mod">
          <ac:chgData name="Reuben Issac Jacob" userId="a26d73c9-1689-41bd-af50-ef825e838770" providerId="ADAL" clId="{F452BC9E-5BE8-4A0B-9F00-66A7219A31DE}" dt="2022-06-29T05:16:28.683" v="552"/>
          <ac:graphicFrameMkLst>
            <pc:docMk/>
            <pc:sldMk cId="2205024091" sldId="11667"/>
            <ac:graphicFrameMk id="29" creationId="{C55524A3-C90B-4FFD-80AD-42DAC9BD92D3}"/>
          </ac:graphicFrameMkLst>
        </pc:graphicFrameChg>
        <pc:graphicFrameChg chg="mod">
          <ac:chgData name="Reuben Issac Jacob" userId="a26d73c9-1689-41bd-af50-ef825e838770" providerId="ADAL" clId="{F452BC9E-5BE8-4A0B-9F00-66A7219A31DE}" dt="2022-06-29T05:15:18.862" v="546"/>
          <ac:graphicFrameMkLst>
            <pc:docMk/>
            <pc:sldMk cId="2205024091" sldId="11667"/>
            <ac:graphicFrameMk id="37" creationId="{7EB7CECC-5620-4706-A4B2-CC1204E79068}"/>
          </ac:graphicFrameMkLst>
        </pc:graphicFrameChg>
        <pc:picChg chg="add del mod">
          <ac:chgData name="Reuben Issac Jacob" userId="a26d73c9-1689-41bd-af50-ef825e838770" providerId="ADAL" clId="{F452BC9E-5BE8-4A0B-9F00-66A7219A31DE}" dt="2022-06-29T05:13:20.135" v="532" actId="478"/>
          <ac:picMkLst>
            <pc:docMk/>
            <pc:sldMk cId="2205024091" sldId="11667"/>
            <ac:picMk id="14" creationId="{CEE9B6A7-B364-4C10-B69F-983CA875748E}"/>
          </ac:picMkLst>
        </pc:picChg>
        <pc:picChg chg="del">
          <ac:chgData name="Reuben Issac Jacob" userId="a26d73c9-1689-41bd-af50-ef825e838770" providerId="ADAL" clId="{F452BC9E-5BE8-4A0B-9F00-66A7219A31DE}" dt="2022-06-29T05:17:54.001" v="611" actId="478"/>
          <ac:picMkLst>
            <pc:docMk/>
            <pc:sldMk cId="2205024091" sldId="11667"/>
            <ac:picMk id="32" creationId="{DD4C56B2-FB8B-4AF3-8FF3-23BC638CD70F}"/>
          </ac:picMkLst>
        </pc:picChg>
        <pc:cxnChg chg="mod">
          <ac:chgData name="Reuben Issac Jacob" userId="a26d73c9-1689-41bd-af50-ef825e838770" providerId="ADAL" clId="{F452BC9E-5BE8-4A0B-9F00-66A7219A31DE}" dt="2022-06-29T05:16:39.550" v="554" actId="692"/>
          <ac:cxnSpMkLst>
            <pc:docMk/>
            <pc:sldMk cId="2205024091" sldId="11667"/>
            <ac:cxnSpMk id="21" creationId="{73D4366F-08DB-49BC-B993-2FEB60DAAD11}"/>
          </ac:cxnSpMkLst>
        </pc:cxnChg>
        <pc:cxnChg chg="mod">
          <ac:chgData name="Reuben Issac Jacob" userId="a26d73c9-1689-41bd-af50-ef825e838770" providerId="ADAL" clId="{F452BC9E-5BE8-4A0B-9F00-66A7219A31DE}" dt="2022-06-29T05:15:41.406" v="548" actId="692"/>
          <ac:cxnSpMkLst>
            <pc:docMk/>
            <pc:sldMk cId="2205024091" sldId="11667"/>
            <ac:cxnSpMk id="52" creationId="{3162A5FA-7ADC-4F38-B358-D8E9E4BED325}"/>
          </ac:cxnSpMkLst>
        </pc:cxnChg>
        <pc:cxnChg chg="mod">
          <ac:chgData name="Reuben Issac Jacob" userId="a26d73c9-1689-41bd-af50-ef825e838770" providerId="ADAL" clId="{F452BC9E-5BE8-4A0B-9F00-66A7219A31DE}" dt="2022-06-29T05:17:06.074" v="557" actId="692"/>
          <ac:cxnSpMkLst>
            <pc:docMk/>
            <pc:sldMk cId="2205024091" sldId="11667"/>
            <ac:cxnSpMk id="53" creationId="{4AD52443-7AC7-490C-8A44-CB3A676FF0D6}"/>
          </ac:cxnSpMkLst>
        </pc:cxnChg>
      </pc:sldChg>
      <pc:sldChg chg="addSp delSp modSp mod delAnim modAnim">
        <pc:chgData name="Reuben Issac Jacob" userId="a26d73c9-1689-41bd-af50-ef825e838770" providerId="ADAL" clId="{F452BC9E-5BE8-4A0B-9F00-66A7219A31DE}" dt="2022-06-29T20:19:06.349" v="3629"/>
        <pc:sldMkLst>
          <pc:docMk/>
          <pc:sldMk cId="267651035" sldId="11672"/>
        </pc:sldMkLst>
        <pc:spChg chg="mod topLvl">
          <ac:chgData name="Reuben Issac Jacob" userId="a26d73c9-1689-41bd-af50-ef825e838770" providerId="ADAL" clId="{F452BC9E-5BE8-4A0B-9F00-66A7219A31DE}" dt="2022-06-29T14:57:08.975" v="3202" actId="165"/>
          <ac:spMkLst>
            <pc:docMk/>
            <pc:sldMk cId="267651035" sldId="11672"/>
            <ac:spMk id="3" creationId="{A3B5F345-6454-41E2-9269-006C63880F5D}"/>
          </ac:spMkLst>
        </pc:spChg>
        <pc:spChg chg="add mod">
          <ac:chgData name="Reuben Issac Jacob" userId="a26d73c9-1689-41bd-af50-ef825e838770" providerId="ADAL" clId="{F452BC9E-5BE8-4A0B-9F00-66A7219A31DE}" dt="2022-06-29T06:18:35.713" v="1049" actId="207"/>
          <ac:spMkLst>
            <pc:docMk/>
            <pc:sldMk cId="267651035" sldId="11672"/>
            <ac:spMk id="4" creationId="{042EACDB-4F8E-F724-3766-20EDA0C026F7}"/>
          </ac:spMkLst>
        </pc:spChg>
        <pc:spChg chg="mod topLvl">
          <ac:chgData name="Reuben Issac Jacob" userId="a26d73c9-1689-41bd-af50-ef825e838770" providerId="ADAL" clId="{F452BC9E-5BE8-4A0B-9F00-66A7219A31DE}" dt="2022-06-29T14:57:08.975" v="3202" actId="165"/>
          <ac:spMkLst>
            <pc:docMk/>
            <pc:sldMk cId="267651035" sldId="11672"/>
            <ac:spMk id="11" creationId="{3E094EAE-ABCC-49D2-A6D0-21DC19273D0F}"/>
          </ac:spMkLst>
        </pc:spChg>
        <pc:spChg chg="mod topLvl">
          <ac:chgData name="Reuben Issac Jacob" userId="a26d73c9-1689-41bd-af50-ef825e838770" providerId="ADAL" clId="{F452BC9E-5BE8-4A0B-9F00-66A7219A31DE}" dt="2022-06-29T14:57:08.975" v="3202" actId="165"/>
          <ac:spMkLst>
            <pc:docMk/>
            <pc:sldMk cId="267651035" sldId="11672"/>
            <ac:spMk id="12" creationId="{FC2A91E1-3534-4158-9330-10FFDAAD41F5}"/>
          </ac:spMkLst>
        </pc:spChg>
        <pc:spChg chg="mod topLvl">
          <ac:chgData name="Reuben Issac Jacob" userId="a26d73c9-1689-41bd-af50-ef825e838770" providerId="ADAL" clId="{F452BC9E-5BE8-4A0B-9F00-66A7219A31DE}" dt="2022-06-29T20:17:10.149" v="3610" actId="164"/>
          <ac:spMkLst>
            <pc:docMk/>
            <pc:sldMk cId="267651035" sldId="11672"/>
            <ac:spMk id="15" creationId="{2B0E09C2-44D0-47AF-8E31-9A346E2EF39B}"/>
          </ac:spMkLst>
        </pc:spChg>
        <pc:spChg chg="mod topLvl">
          <ac:chgData name="Reuben Issac Jacob" userId="a26d73c9-1689-41bd-af50-ef825e838770" providerId="ADAL" clId="{F452BC9E-5BE8-4A0B-9F00-66A7219A31DE}" dt="2022-06-29T14:57:08.975" v="3202" actId="165"/>
          <ac:spMkLst>
            <pc:docMk/>
            <pc:sldMk cId="267651035" sldId="11672"/>
            <ac:spMk id="16" creationId="{7A945C74-7EB7-4119-952F-E31F72E5AB9A}"/>
          </ac:spMkLst>
        </pc:spChg>
        <pc:spChg chg="mod topLvl">
          <ac:chgData name="Reuben Issac Jacob" userId="a26d73c9-1689-41bd-af50-ef825e838770" providerId="ADAL" clId="{F452BC9E-5BE8-4A0B-9F00-66A7219A31DE}" dt="2022-06-29T14:57:08.975" v="3202" actId="165"/>
          <ac:spMkLst>
            <pc:docMk/>
            <pc:sldMk cId="267651035" sldId="11672"/>
            <ac:spMk id="17" creationId="{83803F2F-00B8-46C6-AFD0-0D416AC11676}"/>
          </ac:spMkLst>
        </pc:spChg>
        <pc:spChg chg="mod topLvl">
          <ac:chgData name="Reuben Issac Jacob" userId="a26d73c9-1689-41bd-af50-ef825e838770" providerId="ADAL" clId="{F452BC9E-5BE8-4A0B-9F00-66A7219A31DE}" dt="2022-06-29T14:57:08.975" v="3202" actId="165"/>
          <ac:spMkLst>
            <pc:docMk/>
            <pc:sldMk cId="267651035" sldId="11672"/>
            <ac:spMk id="18" creationId="{8FD7F656-45E3-44DB-9927-7CC7D913C7CB}"/>
          </ac:spMkLst>
        </pc:spChg>
        <pc:spChg chg="mod">
          <ac:chgData name="Reuben Issac Jacob" userId="a26d73c9-1689-41bd-af50-ef825e838770" providerId="ADAL" clId="{F452BC9E-5BE8-4A0B-9F00-66A7219A31DE}" dt="2022-06-29T14:57:08.975" v="3202" actId="165"/>
          <ac:spMkLst>
            <pc:docMk/>
            <pc:sldMk cId="267651035" sldId="11672"/>
            <ac:spMk id="22" creationId="{0F787360-51DA-4B61-A28E-CDAF60C4ED88}"/>
          </ac:spMkLst>
        </pc:spChg>
        <pc:spChg chg="mod">
          <ac:chgData name="Reuben Issac Jacob" userId="a26d73c9-1689-41bd-af50-ef825e838770" providerId="ADAL" clId="{F452BC9E-5BE8-4A0B-9F00-66A7219A31DE}" dt="2022-06-29T14:57:08.975" v="3202" actId="165"/>
          <ac:spMkLst>
            <pc:docMk/>
            <pc:sldMk cId="267651035" sldId="11672"/>
            <ac:spMk id="23" creationId="{2B5651A2-2557-47AD-9837-09817589427A}"/>
          </ac:spMkLst>
        </pc:spChg>
        <pc:spChg chg="mod">
          <ac:chgData name="Reuben Issac Jacob" userId="a26d73c9-1689-41bd-af50-ef825e838770" providerId="ADAL" clId="{F452BC9E-5BE8-4A0B-9F00-66A7219A31DE}" dt="2022-06-29T14:57:08.975" v="3202" actId="165"/>
          <ac:spMkLst>
            <pc:docMk/>
            <pc:sldMk cId="267651035" sldId="11672"/>
            <ac:spMk id="24" creationId="{ABAED325-6985-43C7-B674-802D1E0F1399}"/>
          </ac:spMkLst>
        </pc:spChg>
        <pc:spChg chg="mod">
          <ac:chgData name="Reuben Issac Jacob" userId="a26d73c9-1689-41bd-af50-ef825e838770" providerId="ADAL" clId="{F452BC9E-5BE8-4A0B-9F00-66A7219A31DE}" dt="2022-06-29T14:57:08.975" v="3202" actId="165"/>
          <ac:spMkLst>
            <pc:docMk/>
            <pc:sldMk cId="267651035" sldId="11672"/>
            <ac:spMk id="25" creationId="{C1466742-E534-4E52-BD00-B9D8E7AADFC9}"/>
          </ac:spMkLst>
        </pc:spChg>
        <pc:spChg chg="mod">
          <ac:chgData name="Reuben Issac Jacob" userId="a26d73c9-1689-41bd-af50-ef825e838770" providerId="ADAL" clId="{F452BC9E-5BE8-4A0B-9F00-66A7219A31DE}" dt="2022-06-29T14:57:08.975" v="3202" actId="165"/>
          <ac:spMkLst>
            <pc:docMk/>
            <pc:sldMk cId="267651035" sldId="11672"/>
            <ac:spMk id="26" creationId="{4E486E79-D956-4267-89BC-0879DCC4FFC6}"/>
          </ac:spMkLst>
        </pc:spChg>
        <pc:spChg chg="mod">
          <ac:chgData name="Reuben Issac Jacob" userId="a26d73c9-1689-41bd-af50-ef825e838770" providerId="ADAL" clId="{F452BC9E-5BE8-4A0B-9F00-66A7219A31DE}" dt="2022-06-29T14:57:08.975" v="3202" actId="165"/>
          <ac:spMkLst>
            <pc:docMk/>
            <pc:sldMk cId="267651035" sldId="11672"/>
            <ac:spMk id="28" creationId="{DBA86B9B-3562-4ECD-898D-0B7A6E0D9B45}"/>
          </ac:spMkLst>
        </pc:spChg>
        <pc:spChg chg="mod">
          <ac:chgData name="Reuben Issac Jacob" userId="a26d73c9-1689-41bd-af50-ef825e838770" providerId="ADAL" clId="{F452BC9E-5BE8-4A0B-9F00-66A7219A31DE}" dt="2022-06-29T14:57:08.975" v="3202" actId="165"/>
          <ac:spMkLst>
            <pc:docMk/>
            <pc:sldMk cId="267651035" sldId="11672"/>
            <ac:spMk id="29" creationId="{46244F24-3912-46D2-9E04-2E23AE07FA6B}"/>
          </ac:spMkLst>
        </pc:spChg>
        <pc:spChg chg="mod">
          <ac:chgData name="Reuben Issac Jacob" userId="a26d73c9-1689-41bd-af50-ef825e838770" providerId="ADAL" clId="{F452BC9E-5BE8-4A0B-9F00-66A7219A31DE}" dt="2022-06-29T14:57:08.975" v="3202" actId="165"/>
          <ac:spMkLst>
            <pc:docMk/>
            <pc:sldMk cId="267651035" sldId="11672"/>
            <ac:spMk id="30" creationId="{A5D3C786-6668-42AC-B8A5-363F7A23751A}"/>
          </ac:spMkLst>
        </pc:spChg>
        <pc:spChg chg="mod">
          <ac:chgData name="Reuben Issac Jacob" userId="a26d73c9-1689-41bd-af50-ef825e838770" providerId="ADAL" clId="{F452BC9E-5BE8-4A0B-9F00-66A7219A31DE}" dt="2022-06-29T14:57:08.975" v="3202" actId="165"/>
          <ac:spMkLst>
            <pc:docMk/>
            <pc:sldMk cId="267651035" sldId="11672"/>
            <ac:spMk id="31" creationId="{1FAD0A15-B7D0-481C-8801-90B94D8DF23E}"/>
          </ac:spMkLst>
        </pc:spChg>
        <pc:spChg chg="mod">
          <ac:chgData name="Reuben Issac Jacob" userId="a26d73c9-1689-41bd-af50-ef825e838770" providerId="ADAL" clId="{F452BC9E-5BE8-4A0B-9F00-66A7219A31DE}" dt="2022-06-29T14:57:08.975" v="3202" actId="165"/>
          <ac:spMkLst>
            <pc:docMk/>
            <pc:sldMk cId="267651035" sldId="11672"/>
            <ac:spMk id="32" creationId="{B0F793AE-B45E-4922-BAF2-4D5BC182082F}"/>
          </ac:spMkLst>
        </pc:spChg>
        <pc:spChg chg="mod">
          <ac:chgData name="Reuben Issac Jacob" userId="a26d73c9-1689-41bd-af50-ef825e838770" providerId="ADAL" clId="{F452BC9E-5BE8-4A0B-9F00-66A7219A31DE}" dt="2022-06-29T14:57:08.975" v="3202" actId="165"/>
          <ac:spMkLst>
            <pc:docMk/>
            <pc:sldMk cId="267651035" sldId="11672"/>
            <ac:spMk id="33" creationId="{997CAF2D-C6A4-46F7-8548-522E83D3BD46}"/>
          </ac:spMkLst>
        </pc:spChg>
        <pc:spChg chg="mod">
          <ac:chgData name="Reuben Issac Jacob" userId="a26d73c9-1689-41bd-af50-ef825e838770" providerId="ADAL" clId="{F452BC9E-5BE8-4A0B-9F00-66A7219A31DE}" dt="2022-06-29T14:57:08.975" v="3202" actId="165"/>
          <ac:spMkLst>
            <pc:docMk/>
            <pc:sldMk cId="267651035" sldId="11672"/>
            <ac:spMk id="34" creationId="{42D6DCBC-A54E-4870-9B9C-82DF99767616}"/>
          </ac:spMkLst>
        </pc:spChg>
        <pc:spChg chg="del mod">
          <ac:chgData name="Reuben Issac Jacob" userId="a26d73c9-1689-41bd-af50-ef825e838770" providerId="ADAL" clId="{F452BC9E-5BE8-4A0B-9F00-66A7219A31DE}" dt="2022-06-29T06:18:30.916" v="1047" actId="478"/>
          <ac:spMkLst>
            <pc:docMk/>
            <pc:sldMk cId="267651035" sldId="11672"/>
            <ac:spMk id="36" creationId="{280DBFE8-04F4-42B1-9AF4-66A311515CCC}"/>
          </ac:spMkLst>
        </pc:spChg>
        <pc:spChg chg="mod">
          <ac:chgData name="Reuben Issac Jacob" userId="a26d73c9-1689-41bd-af50-ef825e838770" providerId="ADAL" clId="{F452BC9E-5BE8-4A0B-9F00-66A7219A31DE}" dt="2022-06-29T14:57:08.975" v="3202" actId="165"/>
          <ac:spMkLst>
            <pc:docMk/>
            <pc:sldMk cId="267651035" sldId="11672"/>
            <ac:spMk id="37" creationId="{A3A35DC4-FA69-4E16-90E4-B428FD6BA0A5}"/>
          </ac:spMkLst>
        </pc:spChg>
        <pc:spChg chg="mod">
          <ac:chgData name="Reuben Issac Jacob" userId="a26d73c9-1689-41bd-af50-ef825e838770" providerId="ADAL" clId="{F452BC9E-5BE8-4A0B-9F00-66A7219A31DE}" dt="2022-06-29T14:57:08.975" v="3202" actId="165"/>
          <ac:spMkLst>
            <pc:docMk/>
            <pc:sldMk cId="267651035" sldId="11672"/>
            <ac:spMk id="38" creationId="{96642271-92D4-4082-A3AC-320FF2C0AEAD}"/>
          </ac:spMkLst>
        </pc:spChg>
        <pc:spChg chg="mod">
          <ac:chgData name="Reuben Issac Jacob" userId="a26d73c9-1689-41bd-af50-ef825e838770" providerId="ADAL" clId="{F452BC9E-5BE8-4A0B-9F00-66A7219A31DE}" dt="2022-06-29T14:57:08.975" v="3202" actId="165"/>
          <ac:spMkLst>
            <pc:docMk/>
            <pc:sldMk cId="267651035" sldId="11672"/>
            <ac:spMk id="39" creationId="{C94F9323-C2AB-4CA1-A649-FB4F90E55B55}"/>
          </ac:spMkLst>
        </pc:spChg>
        <pc:spChg chg="mod">
          <ac:chgData name="Reuben Issac Jacob" userId="a26d73c9-1689-41bd-af50-ef825e838770" providerId="ADAL" clId="{F452BC9E-5BE8-4A0B-9F00-66A7219A31DE}" dt="2022-06-29T14:57:08.975" v="3202" actId="165"/>
          <ac:spMkLst>
            <pc:docMk/>
            <pc:sldMk cId="267651035" sldId="11672"/>
            <ac:spMk id="40" creationId="{15EE9E79-C0D8-41BA-A69A-1E56334D04FF}"/>
          </ac:spMkLst>
        </pc:spChg>
        <pc:spChg chg="mod">
          <ac:chgData name="Reuben Issac Jacob" userId="a26d73c9-1689-41bd-af50-ef825e838770" providerId="ADAL" clId="{F452BC9E-5BE8-4A0B-9F00-66A7219A31DE}" dt="2022-06-29T14:57:08.975" v="3202" actId="165"/>
          <ac:spMkLst>
            <pc:docMk/>
            <pc:sldMk cId="267651035" sldId="11672"/>
            <ac:spMk id="41" creationId="{7206DE75-8B2A-4A30-A30B-0EBFFC1ADF33}"/>
          </ac:spMkLst>
        </pc:spChg>
        <pc:spChg chg="mod">
          <ac:chgData name="Reuben Issac Jacob" userId="a26d73c9-1689-41bd-af50-ef825e838770" providerId="ADAL" clId="{F452BC9E-5BE8-4A0B-9F00-66A7219A31DE}" dt="2022-06-29T14:57:08.975" v="3202" actId="165"/>
          <ac:spMkLst>
            <pc:docMk/>
            <pc:sldMk cId="267651035" sldId="11672"/>
            <ac:spMk id="42" creationId="{6D76348E-8369-47C7-A5E2-73F67B5389CE}"/>
          </ac:spMkLst>
        </pc:spChg>
        <pc:spChg chg="mod">
          <ac:chgData name="Reuben Issac Jacob" userId="a26d73c9-1689-41bd-af50-ef825e838770" providerId="ADAL" clId="{F452BC9E-5BE8-4A0B-9F00-66A7219A31DE}" dt="2022-06-29T14:57:08.975" v="3202" actId="165"/>
          <ac:spMkLst>
            <pc:docMk/>
            <pc:sldMk cId="267651035" sldId="11672"/>
            <ac:spMk id="43" creationId="{7FAEF977-F710-4A04-8EDB-027A16E093D0}"/>
          </ac:spMkLst>
        </pc:spChg>
        <pc:spChg chg="mod">
          <ac:chgData name="Reuben Issac Jacob" userId="a26d73c9-1689-41bd-af50-ef825e838770" providerId="ADAL" clId="{F452BC9E-5BE8-4A0B-9F00-66A7219A31DE}" dt="2022-06-29T14:57:08.975" v="3202" actId="165"/>
          <ac:spMkLst>
            <pc:docMk/>
            <pc:sldMk cId="267651035" sldId="11672"/>
            <ac:spMk id="44" creationId="{F5C50047-CB2C-40BF-B932-58FFB30D3DE5}"/>
          </ac:spMkLst>
        </pc:spChg>
        <pc:spChg chg="mod">
          <ac:chgData name="Reuben Issac Jacob" userId="a26d73c9-1689-41bd-af50-ef825e838770" providerId="ADAL" clId="{F452BC9E-5BE8-4A0B-9F00-66A7219A31DE}" dt="2022-06-29T14:57:08.975" v="3202" actId="165"/>
          <ac:spMkLst>
            <pc:docMk/>
            <pc:sldMk cId="267651035" sldId="11672"/>
            <ac:spMk id="45" creationId="{DC019FA8-33DC-42B6-80B1-C432997375FC}"/>
          </ac:spMkLst>
        </pc:spChg>
        <pc:spChg chg="mod">
          <ac:chgData name="Reuben Issac Jacob" userId="a26d73c9-1689-41bd-af50-ef825e838770" providerId="ADAL" clId="{F452BC9E-5BE8-4A0B-9F00-66A7219A31DE}" dt="2022-06-29T14:57:08.975" v="3202" actId="165"/>
          <ac:spMkLst>
            <pc:docMk/>
            <pc:sldMk cId="267651035" sldId="11672"/>
            <ac:spMk id="46" creationId="{2DA6BAAD-22F8-4007-9AB6-543574A3D7E1}"/>
          </ac:spMkLst>
        </pc:spChg>
        <pc:spChg chg="mod">
          <ac:chgData name="Reuben Issac Jacob" userId="a26d73c9-1689-41bd-af50-ef825e838770" providerId="ADAL" clId="{F452BC9E-5BE8-4A0B-9F00-66A7219A31DE}" dt="2022-06-29T14:57:08.975" v="3202" actId="165"/>
          <ac:spMkLst>
            <pc:docMk/>
            <pc:sldMk cId="267651035" sldId="11672"/>
            <ac:spMk id="47" creationId="{DE7535BF-E580-4C7E-8AAC-619247970576}"/>
          </ac:spMkLst>
        </pc:spChg>
        <pc:spChg chg="mod">
          <ac:chgData name="Reuben Issac Jacob" userId="a26d73c9-1689-41bd-af50-ef825e838770" providerId="ADAL" clId="{F452BC9E-5BE8-4A0B-9F00-66A7219A31DE}" dt="2022-06-29T14:57:08.975" v="3202" actId="165"/>
          <ac:spMkLst>
            <pc:docMk/>
            <pc:sldMk cId="267651035" sldId="11672"/>
            <ac:spMk id="48" creationId="{C80F4642-51B2-428B-93B6-47795EE8D834}"/>
          </ac:spMkLst>
        </pc:spChg>
        <pc:spChg chg="mod">
          <ac:chgData name="Reuben Issac Jacob" userId="a26d73c9-1689-41bd-af50-ef825e838770" providerId="ADAL" clId="{F452BC9E-5BE8-4A0B-9F00-66A7219A31DE}" dt="2022-06-29T14:57:08.975" v="3202" actId="165"/>
          <ac:spMkLst>
            <pc:docMk/>
            <pc:sldMk cId="267651035" sldId="11672"/>
            <ac:spMk id="73" creationId="{DEC3C618-BF8B-431D-A89E-B9BC84BCEA11}"/>
          </ac:spMkLst>
        </pc:spChg>
        <pc:spChg chg="mod">
          <ac:chgData name="Reuben Issac Jacob" userId="a26d73c9-1689-41bd-af50-ef825e838770" providerId="ADAL" clId="{F452BC9E-5BE8-4A0B-9F00-66A7219A31DE}" dt="2022-06-29T14:57:08.975" v="3202" actId="165"/>
          <ac:spMkLst>
            <pc:docMk/>
            <pc:sldMk cId="267651035" sldId="11672"/>
            <ac:spMk id="74" creationId="{41A13939-28EC-4ADE-B797-4B394B807998}"/>
          </ac:spMkLst>
        </pc:spChg>
        <pc:spChg chg="mod">
          <ac:chgData name="Reuben Issac Jacob" userId="a26d73c9-1689-41bd-af50-ef825e838770" providerId="ADAL" clId="{F452BC9E-5BE8-4A0B-9F00-66A7219A31DE}" dt="2022-06-29T14:57:08.975" v="3202" actId="165"/>
          <ac:spMkLst>
            <pc:docMk/>
            <pc:sldMk cId="267651035" sldId="11672"/>
            <ac:spMk id="75" creationId="{0E5DBA93-8738-41E2-8A82-C2BC81B6F2C0}"/>
          </ac:spMkLst>
        </pc:spChg>
        <pc:spChg chg="mod">
          <ac:chgData name="Reuben Issac Jacob" userId="a26d73c9-1689-41bd-af50-ef825e838770" providerId="ADAL" clId="{F452BC9E-5BE8-4A0B-9F00-66A7219A31DE}" dt="2022-06-29T14:57:08.975" v="3202" actId="165"/>
          <ac:spMkLst>
            <pc:docMk/>
            <pc:sldMk cId="267651035" sldId="11672"/>
            <ac:spMk id="76" creationId="{F6A3B9E8-0932-458D-A159-677A0D843684}"/>
          </ac:spMkLst>
        </pc:spChg>
        <pc:spChg chg="mod">
          <ac:chgData name="Reuben Issac Jacob" userId="a26d73c9-1689-41bd-af50-ef825e838770" providerId="ADAL" clId="{F452BC9E-5BE8-4A0B-9F00-66A7219A31DE}" dt="2022-06-29T14:57:08.975" v="3202" actId="165"/>
          <ac:spMkLst>
            <pc:docMk/>
            <pc:sldMk cId="267651035" sldId="11672"/>
            <ac:spMk id="77" creationId="{9AE8E73B-7A62-49BF-B87A-58A3FF0327A5}"/>
          </ac:spMkLst>
        </pc:spChg>
        <pc:spChg chg="mod">
          <ac:chgData name="Reuben Issac Jacob" userId="a26d73c9-1689-41bd-af50-ef825e838770" providerId="ADAL" clId="{F452BC9E-5BE8-4A0B-9F00-66A7219A31DE}" dt="2022-06-29T14:57:08.975" v="3202" actId="165"/>
          <ac:spMkLst>
            <pc:docMk/>
            <pc:sldMk cId="267651035" sldId="11672"/>
            <ac:spMk id="78" creationId="{BDAD494D-F5F7-4B08-BC0A-F2E79D378CCC}"/>
          </ac:spMkLst>
        </pc:spChg>
        <pc:spChg chg="mod">
          <ac:chgData name="Reuben Issac Jacob" userId="a26d73c9-1689-41bd-af50-ef825e838770" providerId="ADAL" clId="{F452BC9E-5BE8-4A0B-9F00-66A7219A31DE}" dt="2022-06-29T14:57:08.975" v="3202" actId="165"/>
          <ac:spMkLst>
            <pc:docMk/>
            <pc:sldMk cId="267651035" sldId="11672"/>
            <ac:spMk id="79" creationId="{305B0F19-E7FF-4DE2-8562-7132434408EA}"/>
          </ac:spMkLst>
        </pc:spChg>
        <pc:spChg chg="mod">
          <ac:chgData name="Reuben Issac Jacob" userId="a26d73c9-1689-41bd-af50-ef825e838770" providerId="ADAL" clId="{F452BC9E-5BE8-4A0B-9F00-66A7219A31DE}" dt="2022-06-29T14:57:08.975" v="3202" actId="165"/>
          <ac:spMkLst>
            <pc:docMk/>
            <pc:sldMk cId="267651035" sldId="11672"/>
            <ac:spMk id="80" creationId="{BDAEF9DF-A664-4A6B-B0B4-428DB5676E42}"/>
          </ac:spMkLst>
        </pc:spChg>
        <pc:spChg chg="mod">
          <ac:chgData name="Reuben Issac Jacob" userId="a26d73c9-1689-41bd-af50-ef825e838770" providerId="ADAL" clId="{F452BC9E-5BE8-4A0B-9F00-66A7219A31DE}" dt="2022-06-29T14:57:08.975" v="3202" actId="165"/>
          <ac:spMkLst>
            <pc:docMk/>
            <pc:sldMk cId="267651035" sldId="11672"/>
            <ac:spMk id="81" creationId="{51D58FBC-8B32-43FC-B59F-FBD6B33B9170}"/>
          </ac:spMkLst>
        </pc:spChg>
        <pc:spChg chg="mod">
          <ac:chgData name="Reuben Issac Jacob" userId="a26d73c9-1689-41bd-af50-ef825e838770" providerId="ADAL" clId="{F452BC9E-5BE8-4A0B-9F00-66A7219A31DE}" dt="2022-06-29T14:57:08.975" v="3202" actId="165"/>
          <ac:spMkLst>
            <pc:docMk/>
            <pc:sldMk cId="267651035" sldId="11672"/>
            <ac:spMk id="82" creationId="{9F9E7332-196B-4433-B182-FDB37037CCE9}"/>
          </ac:spMkLst>
        </pc:spChg>
        <pc:spChg chg="mod">
          <ac:chgData name="Reuben Issac Jacob" userId="a26d73c9-1689-41bd-af50-ef825e838770" providerId="ADAL" clId="{F452BC9E-5BE8-4A0B-9F00-66A7219A31DE}" dt="2022-06-29T14:57:08.975" v="3202" actId="165"/>
          <ac:spMkLst>
            <pc:docMk/>
            <pc:sldMk cId="267651035" sldId="11672"/>
            <ac:spMk id="83" creationId="{9F052ABE-A418-40D3-886A-6A8EF7BDAC7A}"/>
          </ac:spMkLst>
        </pc:spChg>
        <pc:spChg chg="mod">
          <ac:chgData name="Reuben Issac Jacob" userId="a26d73c9-1689-41bd-af50-ef825e838770" providerId="ADAL" clId="{F452BC9E-5BE8-4A0B-9F00-66A7219A31DE}" dt="2022-06-29T14:57:08.975" v="3202" actId="165"/>
          <ac:spMkLst>
            <pc:docMk/>
            <pc:sldMk cId="267651035" sldId="11672"/>
            <ac:spMk id="84" creationId="{864319EB-555B-4CAE-B617-B49E6577C341}"/>
          </ac:spMkLst>
        </pc:spChg>
        <pc:spChg chg="mod">
          <ac:chgData name="Reuben Issac Jacob" userId="a26d73c9-1689-41bd-af50-ef825e838770" providerId="ADAL" clId="{F452BC9E-5BE8-4A0B-9F00-66A7219A31DE}" dt="2022-06-29T14:57:08.975" v="3202" actId="165"/>
          <ac:spMkLst>
            <pc:docMk/>
            <pc:sldMk cId="267651035" sldId="11672"/>
            <ac:spMk id="85" creationId="{2B7C6C55-9010-41E3-AD28-753D1DF55814}"/>
          </ac:spMkLst>
        </pc:spChg>
        <pc:spChg chg="mod">
          <ac:chgData name="Reuben Issac Jacob" userId="a26d73c9-1689-41bd-af50-ef825e838770" providerId="ADAL" clId="{F452BC9E-5BE8-4A0B-9F00-66A7219A31DE}" dt="2022-06-29T14:57:08.975" v="3202" actId="165"/>
          <ac:spMkLst>
            <pc:docMk/>
            <pc:sldMk cId="267651035" sldId="11672"/>
            <ac:spMk id="86" creationId="{ADA9C9C2-6053-409C-9A6F-2DFCBB871BD1}"/>
          </ac:spMkLst>
        </pc:spChg>
        <pc:spChg chg="mod">
          <ac:chgData name="Reuben Issac Jacob" userId="a26d73c9-1689-41bd-af50-ef825e838770" providerId="ADAL" clId="{F452BC9E-5BE8-4A0B-9F00-66A7219A31DE}" dt="2022-06-29T14:57:08.975" v="3202" actId="165"/>
          <ac:spMkLst>
            <pc:docMk/>
            <pc:sldMk cId="267651035" sldId="11672"/>
            <ac:spMk id="87" creationId="{C40DD90C-A7EE-4D0B-8F4C-1B42664DCCF2}"/>
          </ac:spMkLst>
        </pc:spChg>
        <pc:spChg chg="mod">
          <ac:chgData name="Reuben Issac Jacob" userId="a26d73c9-1689-41bd-af50-ef825e838770" providerId="ADAL" clId="{F452BC9E-5BE8-4A0B-9F00-66A7219A31DE}" dt="2022-06-29T14:57:08.975" v="3202" actId="165"/>
          <ac:spMkLst>
            <pc:docMk/>
            <pc:sldMk cId="267651035" sldId="11672"/>
            <ac:spMk id="88" creationId="{093D9A71-8C0E-430A-94BE-F040829D4DBA}"/>
          </ac:spMkLst>
        </pc:spChg>
        <pc:spChg chg="mod">
          <ac:chgData name="Reuben Issac Jacob" userId="a26d73c9-1689-41bd-af50-ef825e838770" providerId="ADAL" clId="{F452BC9E-5BE8-4A0B-9F00-66A7219A31DE}" dt="2022-06-29T14:57:08.975" v="3202" actId="165"/>
          <ac:spMkLst>
            <pc:docMk/>
            <pc:sldMk cId="267651035" sldId="11672"/>
            <ac:spMk id="89" creationId="{1E7B5B41-5081-429C-BEAC-183DF2A6643A}"/>
          </ac:spMkLst>
        </pc:spChg>
        <pc:spChg chg="add del mod">
          <ac:chgData name="Reuben Issac Jacob" userId="a26d73c9-1689-41bd-af50-ef825e838770" providerId="ADAL" clId="{F452BC9E-5BE8-4A0B-9F00-66A7219A31DE}" dt="2022-06-29T06:57:33.581" v="1385" actId="478"/>
          <ac:spMkLst>
            <pc:docMk/>
            <pc:sldMk cId="267651035" sldId="11672"/>
            <ac:spMk id="94" creationId="{C0F2E455-5533-1629-49A4-16A9672120EB}"/>
          </ac:spMkLst>
        </pc:spChg>
        <pc:spChg chg="mod">
          <ac:chgData name="Reuben Issac Jacob" userId="a26d73c9-1689-41bd-af50-ef825e838770" providerId="ADAL" clId="{F452BC9E-5BE8-4A0B-9F00-66A7219A31DE}" dt="2022-06-29T14:57:08.975" v="3202" actId="165"/>
          <ac:spMkLst>
            <pc:docMk/>
            <pc:sldMk cId="267651035" sldId="11672"/>
            <ac:spMk id="96" creationId="{1C8A27AC-EC25-45FA-AE45-817CE23C5AA4}"/>
          </ac:spMkLst>
        </pc:spChg>
        <pc:spChg chg="mod">
          <ac:chgData name="Reuben Issac Jacob" userId="a26d73c9-1689-41bd-af50-ef825e838770" providerId="ADAL" clId="{F452BC9E-5BE8-4A0B-9F00-66A7219A31DE}" dt="2022-06-29T14:57:08.975" v="3202" actId="165"/>
          <ac:spMkLst>
            <pc:docMk/>
            <pc:sldMk cId="267651035" sldId="11672"/>
            <ac:spMk id="97" creationId="{4F6A50EF-243D-4909-87F4-98AFEB9740D6}"/>
          </ac:spMkLst>
        </pc:spChg>
        <pc:spChg chg="mod">
          <ac:chgData name="Reuben Issac Jacob" userId="a26d73c9-1689-41bd-af50-ef825e838770" providerId="ADAL" clId="{F452BC9E-5BE8-4A0B-9F00-66A7219A31DE}" dt="2022-06-29T14:57:08.975" v="3202" actId="165"/>
          <ac:spMkLst>
            <pc:docMk/>
            <pc:sldMk cId="267651035" sldId="11672"/>
            <ac:spMk id="98" creationId="{AE5E3D61-5D28-4135-A063-DAEB4C373179}"/>
          </ac:spMkLst>
        </pc:spChg>
        <pc:spChg chg="mod">
          <ac:chgData name="Reuben Issac Jacob" userId="a26d73c9-1689-41bd-af50-ef825e838770" providerId="ADAL" clId="{F452BC9E-5BE8-4A0B-9F00-66A7219A31DE}" dt="2022-06-29T14:57:08.975" v="3202" actId="165"/>
          <ac:spMkLst>
            <pc:docMk/>
            <pc:sldMk cId="267651035" sldId="11672"/>
            <ac:spMk id="99" creationId="{D9A98E00-3748-441B-BFD1-FA8BD78CABF3}"/>
          </ac:spMkLst>
        </pc:spChg>
        <pc:spChg chg="mod">
          <ac:chgData name="Reuben Issac Jacob" userId="a26d73c9-1689-41bd-af50-ef825e838770" providerId="ADAL" clId="{F452BC9E-5BE8-4A0B-9F00-66A7219A31DE}" dt="2022-06-29T14:57:08.975" v="3202" actId="165"/>
          <ac:spMkLst>
            <pc:docMk/>
            <pc:sldMk cId="267651035" sldId="11672"/>
            <ac:spMk id="100" creationId="{0E1971CA-1DCD-413D-B7D6-FE662BA93009}"/>
          </ac:spMkLst>
        </pc:spChg>
        <pc:spChg chg="add mod topLvl">
          <ac:chgData name="Reuben Issac Jacob" userId="a26d73c9-1689-41bd-af50-ef825e838770" providerId="ADAL" clId="{F452BC9E-5BE8-4A0B-9F00-66A7219A31DE}" dt="2022-06-29T14:57:08.975" v="3202" actId="165"/>
          <ac:spMkLst>
            <pc:docMk/>
            <pc:sldMk cId="267651035" sldId="11672"/>
            <ac:spMk id="101" creationId="{6B79D1E9-5ABA-2B8E-E4D6-07F30A2F33E6}"/>
          </ac:spMkLst>
        </pc:spChg>
        <pc:spChg chg="add mod topLvl">
          <ac:chgData name="Reuben Issac Jacob" userId="a26d73c9-1689-41bd-af50-ef825e838770" providerId="ADAL" clId="{F452BC9E-5BE8-4A0B-9F00-66A7219A31DE}" dt="2022-06-29T14:57:08.975" v="3202" actId="165"/>
          <ac:spMkLst>
            <pc:docMk/>
            <pc:sldMk cId="267651035" sldId="11672"/>
            <ac:spMk id="102" creationId="{727A5E3F-41C4-13E2-1C02-68AA4B2F731E}"/>
          </ac:spMkLst>
        </pc:spChg>
        <pc:spChg chg="mod">
          <ac:chgData name="Reuben Issac Jacob" userId="a26d73c9-1689-41bd-af50-ef825e838770" providerId="ADAL" clId="{F452BC9E-5BE8-4A0B-9F00-66A7219A31DE}" dt="2022-06-29T14:57:08.975" v="3202" actId="165"/>
          <ac:spMkLst>
            <pc:docMk/>
            <pc:sldMk cId="267651035" sldId="11672"/>
            <ac:spMk id="103" creationId="{991A9CEB-A4DD-4E0E-AD97-BF2D6E515D24}"/>
          </ac:spMkLst>
        </pc:spChg>
        <pc:spChg chg="mod">
          <ac:chgData name="Reuben Issac Jacob" userId="a26d73c9-1689-41bd-af50-ef825e838770" providerId="ADAL" clId="{F452BC9E-5BE8-4A0B-9F00-66A7219A31DE}" dt="2022-06-29T14:57:08.975" v="3202" actId="165"/>
          <ac:spMkLst>
            <pc:docMk/>
            <pc:sldMk cId="267651035" sldId="11672"/>
            <ac:spMk id="104" creationId="{A039FADB-8CE7-40E8-A001-7A55E0656068}"/>
          </ac:spMkLst>
        </pc:spChg>
        <pc:spChg chg="mod">
          <ac:chgData name="Reuben Issac Jacob" userId="a26d73c9-1689-41bd-af50-ef825e838770" providerId="ADAL" clId="{F452BC9E-5BE8-4A0B-9F00-66A7219A31DE}" dt="2022-06-29T14:57:08.975" v="3202" actId="165"/>
          <ac:spMkLst>
            <pc:docMk/>
            <pc:sldMk cId="267651035" sldId="11672"/>
            <ac:spMk id="105" creationId="{3BFA90E5-87F1-432D-82D3-802C6CCEE43D}"/>
          </ac:spMkLst>
        </pc:spChg>
        <pc:spChg chg="mod">
          <ac:chgData name="Reuben Issac Jacob" userId="a26d73c9-1689-41bd-af50-ef825e838770" providerId="ADAL" clId="{F452BC9E-5BE8-4A0B-9F00-66A7219A31DE}" dt="2022-06-29T14:57:08.975" v="3202" actId="165"/>
          <ac:spMkLst>
            <pc:docMk/>
            <pc:sldMk cId="267651035" sldId="11672"/>
            <ac:spMk id="106" creationId="{9F466143-FE55-4FEA-8D10-CF844179B0A6}"/>
          </ac:spMkLst>
        </pc:spChg>
        <pc:spChg chg="mod">
          <ac:chgData name="Reuben Issac Jacob" userId="a26d73c9-1689-41bd-af50-ef825e838770" providerId="ADAL" clId="{F452BC9E-5BE8-4A0B-9F00-66A7219A31DE}" dt="2022-06-29T14:57:08.975" v="3202" actId="165"/>
          <ac:spMkLst>
            <pc:docMk/>
            <pc:sldMk cId="267651035" sldId="11672"/>
            <ac:spMk id="107" creationId="{D76D4933-9823-4D3E-88AA-40EA58A5853D}"/>
          </ac:spMkLst>
        </pc:spChg>
        <pc:spChg chg="mod">
          <ac:chgData name="Reuben Issac Jacob" userId="a26d73c9-1689-41bd-af50-ef825e838770" providerId="ADAL" clId="{F452BC9E-5BE8-4A0B-9F00-66A7219A31DE}" dt="2022-06-29T14:57:08.975" v="3202" actId="165"/>
          <ac:spMkLst>
            <pc:docMk/>
            <pc:sldMk cId="267651035" sldId="11672"/>
            <ac:spMk id="108" creationId="{96267E56-AB33-401A-9442-4881DD4DB4D4}"/>
          </ac:spMkLst>
        </pc:spChg>
        <pc:spChg chg="add mod topLvl">
          <ac:chgData name="Reuben Issac Jacob" userId="a26d73c9-1689-41bd-af50-ef825e838770" providerId="ADAL" clId="{F452BC9E-5BE8-4A0B-9F00-66A7219A31DE}" dt="2022-06-29T14:57:08.975" v="3202" actId="165"/>
          <ac:spMkLst>
            <pc:docMk/>
            <pc:sldMk cId="267651035" sldId="11672"/>
            <ac:spMk id="109" creationId="{C0B1658D-1F5C-0553-57F5-3BB382C423E4}"/>
          </ac:spMkLst>
        </pc:spChg>
        <pc:spChg chg="add mod topLvl">
          <ac:chgData name="Reuben Issac Jacob" userId="a26d73c9-1689-41bd-af50-ef825e838770" providerId="ADAL" clId="{F452BC9E-5BE8-4A0B-9F00-66A7219A31DE}" dt="2022-06-29T14:57:08.975" v="3202" actId="165"/>
          <ac:spMkLst>
            <pc:docMk/>
            <pc:sldMk cId="267651035" sldId="11672"/>
            <ac:spMk id="110" creationId="{125950E2-B5EA-4ACC-F659-EC8083E14FED}"/>
          </ac:spMkLst>
        </pc:spChg>
        <pc:spChg chg="mod">
          <ac:chgData name="Reuben Issac Jacob" userId="a26d73c9-1689-41bd-af50-ef825e838770" providerId="ADAL" clId="{F452BC9E-5BE8-4A0B-9F00-66A7219A31DE}" dt="2022-06-29T14:57:08.975" v="3202" actId="165"/>
          <ac:spMkLst>
            <pc:docMk/>
            <pc:sldMk cId="267651035" sldId="11672"/>
            <ac:spMk id="112" creationId="{98B50102-E755-4C66-BE90-53C862CC619A}"/>
          </ac:spMkLst>
        </pc:spChg>
        <pc:spChg chg="mod">
          <ac:chgData name="Reuben Issac Jacob" userId="a26d73c9-1689-41bd-af50-ef825e838770" providerId="ADAL" clId="{F452BC9E-5BE8-4A0B-9F00-66A7219A31DE}" dt="2022-06-29T14:57:08.975" v="3202" actId="165"/>
          <ac:spMkLst>
            <pc:docMk/>
            <pc:sldMk cId="267651035" sldId="11672"/>
            <ac:spMk id="113" creationId="{60F49E53-A204-4D59-B93F-29F0F5B03B37}"/>
          </ac:spMkLst>
        </pc:spChg>
        <pc:spChg chg="mod">
          <ac:chgData name="Reuben Issac Jacob" userId="a26d73c9-1689-41bd-af50-ef825e838770" providerId="ADAL" clId="{F452BC9E-5BE8-4A0B-9F00-66A7219A31DE}" dt="2022-06-29T14:57:08.975" v="3202" actId="165"/>
          <ac:spMkLst>
            <pc:docMk/>
            <pc:sldMk cId="267651035" sldId="11672"/>
            <ac:spMk id="114" creationId="{9E4D8031-18A7-4BA8-AC40-1804796B400C}"/>
          </ac:spMkLst>
        </pc:spChg>
        <pc:spChg chg="mod">
          <ac:chgData name="Reuben Issac Jacob" userId="a26d73c9-1689-41bd-af50-ef825e838770" providerId="ADAL" clId="{F452BC9E-5BE8-4A0B-9F00-66A7219A31DE}" dt="2022-06-29T14:57:08.975" v="3202" actId="165"/>
          <ac:spMkLst>
            <pc:docMk/>
            <pc:sldMk cId="267651035" sldId="11672"/>
            <ac:spMk id="115" creationId="{64A61E60-0842-41DE-8BEA-47A2BC8B6F30}"/>
          </ac:spMkLst>
        </pc:spChg>
        <pc:spChg chg="mod">
          <ac:chgData name="Reuben Issac Jacob" userId="a26d73c9-1689-41bd-af50-ef825e838770" providerId="ADAL" clId="{F452BC9E-5BE8-4A0B-9F00-66A7219A31DE}" dt="2022-06-29T14:57:08.975" v="3202" actId="165"/>
          <ac:spMkLst>
            <pc:docMk/>
            <pc:sldMk cId="267651035" sldId="11672"/>
            <ac:spMk id="116" creationId="{440BC0D5-E939-4C00-83DE-AF5B68D65ACB}"/>
          </ac:spMkLst>
        </pc:spChg>
        <pc:spChg chg="add mod ord topLvl">
          <ac:chgData name="Reuben Issac Jacob" userId="a26d73c9-1689-41bd-af50-ef825e838770" providerId="ADAL" clId="{F452BC9E-5BE8-4A0B-9F00-66A7219A31DE}" dt="2022-06-29T14:57:08.975" v="3202" actId="165"/>
          <ac:spMkLst>
            <pc:docMk/>
            <pc:sldMk cId="267651035" sldId="11672"/>
            <ac:spMk id="117" creationId="{7A9687DA-14FE-FFA1-452F-D4787D06C752}"/>
          </ac:spMkLst>
        </pc:spChg>
        <pc:grpChg chg="add del mod topLvl">
          <ac:chgData name="Reuben Issac Jacob" userId="a26d73c9-1689-41bd-af50-ef825e838770" providerId="ADAL" clId="{F452BC9E-5BE8-4A0B-9F00-66A7219A31DE}" dt="2022-06-29T13:37:56.128" v="1896" actId="165"/>
          <ac:grpSpMkLst>
            <pc:docMk/>
            <pc:sldMk cId="267651035" sldId="11672"/>
            <ac:grpSpMk id="5" creationId="{E49536E4-C83B-9361-B169-DAD48B81B112}"/>
          </ac:grpSpMkLst>
        </pc:grpChg>
        <pc:grpChg chg="add del mod topLvl">
          <ac:chgData name="Reuben Issac Jacob" userId="a26d73c9-1689-41bd-af50-ef825e838770" providerId="ADAL" clId="{F452BC9E-5BE8-4A0B-9F00-66A7219A31DE}" dt="2022-06-29T13:37:56.128" v="1896" actId="165"/>
          <ac:grpSpMkLst>
            <pc:docMk/>
            <pc:sldMk cId="267651035" sldId="11672"/>
            <ac:grpSpMk id="6" creationId="{4204BCDA-C541-85CD-944D-6EB9CE678429}"/>
          </ac:grpSpMkLst>
        </pc:grpChg>
        <pc:grpChg chg="add del mod">
          <ac:chgData name="Reuben Issac Jacob" userId="a26d73c9-1689-41bd-af50-ef825e838770" providerId="ADAL" clId="{F452BC9E-5BE8-4A0B-9F00-66A7219A31DE}" dt="2022-06-29T13:37:51.701" v="1895" actId="165"/>
          <ac:grpSpMkLst>
            <pc:docMk/>
            <pc:sldMk cId="267651035" sldId="11672"/>
            <ac:grpSpMk id="7" creationId="{BA3F04FC-0885-422B-455E-EE9C17A76853}"/>
          </ac:grpSpMkLst>
        </pc:grpChg>
        <pc:grpChg chg="add del mod">
          <ac:chgData name="Reuben Issac Jacob" userId="a26d73c9-1689-41bd-af50-ef825e838770" providerId="ADAL" clId="{F452BC9E-5BE8-4A0B-9F00-66A7219A31DE}" dt="2022-06-29T13:37:51.701" v="1895" actId="165"/>
          <ac:grpSpMkLst>
            <pc:docMk/>
            <pc:sldMk cId="267651035" sldId="11672"/>
            <ac:grpSpMk id="8" creationId="{5F791A6F-D4E2-DB98-5BAD-769798AE1F5B}"/>
          </ac:grpSpMkLst>
        </pc:grpChg>
        <pc:grpChg chg="mod topLvl">
          <ac:chgData name="Reuben Issac Jacob" userId="a26d73c9-1689-41bd-af50-ef825e838770" providerId="ADAL" clId="{F452BC9E-5BE8-4A0B-9F00-66A7219A31DE}" dt="2022-06-29T14:57:08.975" v="3202" actId="165"/>
          <ac:grpSpMkLst>
            <pc:docMk/>
            <pc:sldMk cId="267651035" sldId="11672"/>
            <ac:grpSpMk id="10" creationId="{0346CEF8-B162-4C7C-A79E-FDFD7B852FC1}"/>
          </ac:grpSpMkLst>
        </pc:grpChg>
        <pc:grpChg chg="add del mod topLvl">
          <ac:chgData name="Reuben Issac Jacob" userId="a26d73c9-1689-41bd-af50-ef825e838770" providerId="ADAL" clId="{F452BC9E-5BE8-4A0B-9F00-66A7219A31DE}" dt="2022-06-29T13:37:56.128" v="1896" actId="165"/>
          <ac:grpSpMkLst>
            <pc:docMk/>
            <pc:sldMk cId="267651035" sldId="11672"/>
            <ac:grpSpMk id="13" creationId="{AD62DE51-F971-2DE4-A47C-F1A0E5F91B58}"/>
          </ac:grpSpMkLst>
        </pc:grpChg>
        <pc:grpChg chg="add del mod">
          <ac:chgData name="Reuben Issac Jacob" userId="a26d73c9-1689-41bd-af50-ef825e838770" providerId="ADAL" clId="{F452BC9E-5BE8-4A0B-9F00-66A7219A31DE}" dt="2022-06-29T13:37:51.701" v="1895" actId="165"/>
          <ac:grpSpMkLst>
            <pc:docMk/>
            <pc:sldMk cId="267651035" sldId="11672"/>
            <ac:grpSpMk id="14" creationId="{D86B98CA-6AE2-698B-021D-46216E40AA0B}"/>
          </ac:grpSpMkLst>
        </pc:grpChg>
        <pc:grpChg chg="add del mod topLvl">
          <ac:chgData name="Reuben Issac Jacob" userId="a26d73c9-1689-41bd-af50-ef825e838770" providerId="ADAL" clId="{F452BC9E-5BE8-4A0B-9F00-66A7219A31DE}" dt="2022-06-29T13:37:56.128" v="1896" actId="165"/>
          <ac:grpSpMkLst>
            <pc:docMk/>
            <pc:sldMk cId="267651035" sldId="11672"/>
            <ac:grpSpMk id="19" creationId="{31CDB725-0304-3075-F9AC-50B4D545B2D8}"/>
          </ac:grpSpMkLst>
        </pc:grpChg>
        <pc:grpChg chg="add del mod">
          <ac:chgData name="Reuben Issac Jacob" userId="a26d73c9-1689-41bd-af50-ef825e838770" providerId="ADAL" clId="{F452BC9E-5BE8-4A0B-9F00-66A7219A31DE}" dt="2022-06-29T13:37:51.701" v="1895" actId="165"/>
          <ac:grpSpMkLst>
            <pc:docMk/>
            <pc:sldMk cId="267651035" sldId="11672"/>
            <ac:grpSpMk id="20" creationId="{85CD89AF-5188-E2D9-6FC4-7085EE95E82F}"/>
          </ac:grpSpMkLst>
        </pc:grpChg>
        <pc:grpChg chg="mod topLvl">
          <ac:chgData name="Reuben Issac Jacob" userId="a26d73c9-1689-41bd-af50-ef825e838770" providerId="ADAL" clId="{F452BC9E-5BE8-4A0B-9F00-66A7219A31DE}" dt="2022-06-29T14:57:08.975" v="3202" actId="165"/>
          <ac:grpSpMkLst>
            <pc:docMk/>
            <pc:sldMk cId="267651035" sldId="11672"/>
            <ac:grpSpMk id="21" creationId="{F83A878E-9B94-48ED-98A1-F11D70250F22}"/>
          </ac:grpSpMkLst>
        </pc:grpChg>
        <pc:grpChg chg="mod topLvl">
          <ac:chgData name="Reuben Issac Jacob" userId="a26d73c9-1689-41bd-af50-ef825e838770" providerId="ADAL" clId="{F452BC9E-5BE8-4A0B-9F00-66A7219A31DE}" dt="2022-06-29T14:57:08.975" v="3202" actId="165"/>
          <ac:grpSpMkLst>
            <pc:docMk/>
            <pc:sldMk cId="267651035" sldId="11672"/>
            <ac:grpSpMk id="27" creationId="{0010306A-66A4-413C-B80E-62614FD83D69}"/>
          </ac:grpSpMkLst>
        </pc:grpChg>
        <pc:grpChg chg="add del mod topLvl">
          <ac:chgData name="Reuben Issac Jacob" userId="a26d73c9-1689-41bd-af50-ef825e838770" providerId="ADAL" clId="{F452BC9E-5BE8-4A0B-9F00-66A7219A31DE}" dt="2022-06-29T13:37:56.128" v="1896" actId="165"/>
          <ac:grpSpMkLst>
            <pc:docMk/>
            <pc:sldMk cId="267651035" sldId="11672"/>
            <ac:grpSpMk id="35" creationId="{2F9302CB-AD24-07C4-4813-089E3FEFE0C2}"/>
          </ac:grpSpMkLst>
        </pc:grpChg>
        <pc:grpChg chg="add del mod">
          <ac:chgData name="Reuben Issac Jacob" userId="a26d73c9-1689-41bd-af50-ef825e838770" providerId="ADAL" clId="{F452BC9E-5BE8-4A0B-9F00-66A7219A31DE}" dt="2022-06-29T13:37:51.701" v="1895" actId="165"/>
          <ac:grpSpMkLst>
            <pc:docMk/>
            <pc:sldMk cId="267651035" sldId="11672"/>
            <ac:grpSpMk id="49" creationId="{91EF10DB-2712-336D-EE84-EA7EF1B4FBE0}"/>
          </ac:grpSpMkLst>
        </pc:grpChg>
        <pc:grpChg chg="add del mod ord topLvl">
          <ac:chgData name="Reuben Issac Jacob" userId="a26d73c9-1689-41bd-af50-ef825e838770" providerId="ADAL" clId="{F452BC9E-5BE8-4A0B-9F00-66A7219A31DE}" dt="2022-06-29T13:37:56.128" v="1896" actId="165"/>
          <ac:grpSpMkLst>
            <pc:docMk/>
            <pc:sldMk cId="267651035" sldId="11672"/>
            <ac:grpSpMk id="50" creationId="{537297BF-789C-152E-6E05-B2E0AD0CAAB5}"/>
          </ac:grpSpMkLst>
        </pc:grpChg>
        <pc:grpChg chg="add del mod">
          <ac:chgData name="Reuben Issac Jacob" userId="a26d73c9-1689-41bd-af50-ef825e838770" providerId="ADAL" clId="{F452BC9E-5BE8-4A0B-9F00-66A7219A31DE}" dt="2022-06-29T13:37:51.701" v="1895" actId="165"/>
          <ac:grpSpMkLst>
            <pc:docMk/>
            <pc:sldMk cId="267651035" sldId="11672"/>
            <ac:grpSpMk id="51" creationId="{75DF624C-F8A5-D91C-391B-32BC7844125E}"/>
          </ac:grpSpMkLst>
        </pc:grpChg>
        <pc:grpChg chg="add mod topLvl">
          <ac:chgData name="Reuben Issac Jacob" userId="a26d73c9-1689-41bd-af50-ef825e838770" providerId="ADAL" clId="{F452BC9E-5BE8-4A0B-9F00-66A7219A31DE}" dt="2022-06-29T14:57:08.975" v="3202" actId="165"/>
          <ac:grpSpMkLst>
            <pc:docMk/>
            <pc:sldMk cId="267651035" sldId="11672"/>
            <ac:grpSpMk id="52" creationId="{6BC975B5-2EE9-4B64-5D27-F55638B077CE}"/>
          </ac:grpSpMkLst>
        </pc:grpChg>
        <pc:grpChg chg="add mod topLvl">
          <ac:chgData name="Reuben Issac Jacob" userId="a26d73c9-1689-41bd-af50-ef825e838770" providerId="ADAL" clId="{F452BC9E-5BE8-4A0B-9F00-66A7219A31DE}" dt="2022-06-29T14:57:08.975" v="3202" actId="165"/>
          <ac:grpSpMkLst>
            <pc:docMk/>
            <pc:sldMk cId="267651035" sldId="11672"/>
            <ac:grpSpMk id="53" creationId="{5931910C-4C78-D582-3F2D-5973CD92F5B7}"/>
          </ac:grpSpMkLst>
        </pc:grpChg>
        <pc:grpChg chg="add mod topLvl">
          <ac:chgData name="Reuben Issac Jacob" userId="a26d73c9-1689-41bd-af50-ef825e838770" providerId="ADAL" clId="{F452BC9E-5BE8-4A0B-9F00-66A7219A31DE}" dt="2022-06-29T14:57:08.975" v="3202" actId="165"/>
          <ac:grpSpMkLst>
            <pc:docMk/>
            <pc:sldMk cId="267651035" sldId="11672"/>
            <ac:grpSpMk id="54" creationId="{5427A5B0-3119-E089-A2AB-439F0E1B735F}"/>
          </ac:grpSpMkLst>
        </pc:grpChg>
        <pc:grpChg chg="add mod topLvl">
          <ac:chgData name="Reuben Issac Jacob" userId="a26d73c9-1689-41bd-af50-ef825e838770" providerId="ADAL" clId="{F452BC9E-5BE8-4A0B-9F00-66A7219A31DE}" dt="2022-06-29T14:57:08.975" v="3202" actId="165"/>
          <ac:grpSpMkLst>
            <pc:docMk/>
            <pc:sldMk cId="267651035" sldId="11672"/>
            <ac:grpSpMk id="55" creationId="{0B35ADDF-BBFB-BDD9-334E-289E078717C3}"/>
          </ac:grpSpMkLst>
        </pc:grpChg>
        <pc:grpChg chg="add mod topLvl">
          <ac:chgData name="Reuben Issac Jacob" userId="a26d73c9-1689-41bd-af50-ef825e838770" providerId="ADAL" clId="{F452BC9E-5BE8-4A0B-9F00-66A7219A31DE}" dt="2022-06-29T14:57:08.975" v="3202" actId="165"/>
          <ac:grpSpMkLst>
            <pc:docMk/>
            <pc:sldMk cId="267651035" sldId="11672"/>
            <ac:grpSpMk id="56" creationId="{D51F0324-E278-E243-188E-83077BA9BE8A}"/>
          </ac:grpSpMkLst>
        </pc:grpChg>
        <pc:grpChg chg="add mod topLvl">
          <ac:chgData name="Reuben Issac Jacob" userId="a26d73c9-1689-41bd-af50-ef825e838770" providerId="ADAL" clId="{F452BC9E-5BE8-4A0B-9F00-66A7219A31DE}" dt="2022-06-29T14:57:08.975" v="3202" actId="165"/>
          <ac:grpSpMkLst>
            <pc:docMk/>
            <pc:sldMk cId="267651035" sldId="11672"/>
            <ac:grpSpMk id="57" creationId="{C15C1202-7F7A-FAAF-F47F-3C45CECD9455}"/>
          </ac:grpSpMkLst>
        </pc:grpChg>
        <pc:grpChg chg="add del mod">
          <ac:chgData name="Reuben Issac Jacob" userId="a26d73c9-1689-41bd-af50-ef825e838770" providerId="ADAL" clId="{F452BC9E-5BE8-4A0B-9F00-66A7219A31DE}" dt="2022-06-29T14:57:08.975" v="3202" actId="165"/>
          <ac:grpSpMkLst>
            <pc:docMk/>
            <pc:sldMk cId="267651035" sldId="11672"/>
            <ac:grpSpMk id="58" creationId="{EFC1B3BF-7E88-D9E9-F9E7-BBE09850843C}"/>
          </ac:grpSpMkLst>
        </pc:grpChg>
        <pc:grpChg chg="add mod">
          <ac:chgData name="Reuben Issac Jacob" userId="a26d73c9-1689-41bd-af50-ef825e838770" providerId="ADAL" clId="{F452BC9E-5BE8-4A0B-9F00-66A7219A31DE}" dt="2022-06-29T20:17:10.149" v="3610" actId="164"/>
          <ac:grpSpMkLst>
            <pc:docMk/>
            <pc:sldMk cId="267651035" sldId="11672"/>
            <ac:grpSpMk id="59" creationId="{B732F5BA-FF85-5116-7AAF-A4351FD24CAC}"/>
          </ac:grpSpMkLst>
        </pc:grpChg>
        <pc:grpChg chg="mod topLvl">
          <ac:chgData name="Reuben Issac Jacob" userId="a26d73c9-1689-41bd-af50-ef825e838770" providerId="ADAL" clId="{F452BC9E-5BE8-4A0B-9F00-66A7219A31DE}" dt="2022-06-29T20:17:10.149" v="3610" actId="164"/>
          <ac:grpSpMkLst>
            <pc:docMk/>
            <pc:sldMk cId="267651035" sldId="11672"/>
            <ac:grpSpMk id="72" creationId="{91B6DF98-7C16-413C-AC9E-10454D6E6498}"/>
          </ac:grpSpMkLst>
        </pc:grpChg>
        <pc:grpChg chg="mod topLvl">
          <ac:chgData name="Reuben Issac Jacob" userId="a26d73c9-1689-41bd-af50-ef825e838770" providerId="ADAL" clId="{F452BC9E-5BE8-4A0B-9F00-66A7219A31DE}" dt="2022-06-29T14:57:08.975" v="3202" actId="165"/>
          <ac:grpSpMkLst>
            <pc:docMk/>
            <pc:sldMk cId="267651035" sldId="11672"/>
            <ac:grpSpMk id="95" creationId="{043E8E25-230A-4518-B5BB-4A3B2918800C}"/>
          </ac:grpSpMkLst>
        </pc:grpChg>
        <pc:grpChg chg="mod">
          <ac:chgData name="Reuben Issac Jacob" userId="a26d73c9-1689-41bd-af50-ef825e838770" providerId="ADAL" clId="{F452BC9E-5BE8-4A0B-9F00-66A7219A31DE}" dt="2022-06-29T14:57:08.975" v="3202" actId="165"/>
          <ac:grpSpMkLst>
            <pc:docMk/>
            <pc:sldMk cId="267651035" sldId="11672"/>
            <ac:grpSpMk id="111" creationId="{08749F17-F076-412B-8D3C-006088537175}"/>
          </ac:grpSpMkLst>
        </pc:grpChg>
        <pc:picChg chg="del">
          <ac:chgData name="Reuben Issac Jacob" userId="a26d73c9-1689-41bd-af50-ef825e838770" providerId="ADAL" clId="{F452BC9E-5BE8-4A0B-9F00-66A7219A31DE}" dt="2022-06-29T06:18:21.150" v="1045" actId="478"/>
          <ac:picMkLst>
            <pc:docMk/>
            <pc:sldMk cId="267651035" sldId="11672"/>
            <ac:picMk id="9" creationId="{D789A77A-AA83-4933-8A5C-9072F252AC85}"/>
          </ac:picMkLst>
        </pc:picChg>
        <pc:picChg chg="mod topLvl">
          <ac:chgData name="Reuben Issac Jacob" userId="a26d73c9-1689-41bd-af50-ef825e838770" providerId="ADAL" clId="{F452BC9E-5BE8-4A0B-9F00-66A7219A31DE}" dt="2022-06-29T14:57:08.975" v="3202" actId="165"/>
          <ac:picMkLst>
            <pc:docMk/>
            <pc:sldMk cId="267651035" sldId="11672"/>
            <ac:picMk id="71" creationId="{9A566F20-B42C-4511-AF0B-1A331D45A0C5}"/>
          </ac:picMkLst>
        </pc:picChg>
      </pc:sldChg>
      <pc:sldChg chg="modSp del mod modClrScheme chgLayout">
        <pc:chgData name="Reuben Issac Jacob" userId="a26d73c9-1689-41bd-af50-ef825e838770" providerId="ADAL" clId="{F452BC9E-5BE8-4A0B-9F00-66A7219A31DE}" dt="2022-06-29T13:31:36.906" v="1824" actId="47"/>
        <pc:sldMkLst>
          <pc:docMk/>
          <pc:sldMk cId="1412725519" sldId="2076136779"/>
        </pc:sldMkLst>
        <pc:spChg chg="mod ord">
          <ac:chgData name="Reuben Issac Jacob" userId="a26d73c9-1689-41bd-af50-ef825e838770" providerId="ADAL" clId="{F452BC9E-5BE8-4A0B-9F00-66A7219A31DE}" dt="2022-06-29T13:26:19.141" v="1774" actId="27636"/>
          <ac:spMkLst>
            <pc:docMk/>
            <pc:sldMk cId="1412725519" sldId="2076136779"/>
            <ac:spMk id="2" creationId="{BED66F06-30BB-44A6-87BC-C93D1AC479C8}"/>
          </ac:spMkLst>
        </pc:spChg>
        <pc:spChg chg="mod ord">
          <ac:chgData name="Reuben Issac Jacob" userId="a26d73c9-1689-41bd-af50-ef825e838770" providerId="ADAL" clId="{F452BC9E-5BE8-4A0B-9F00-66A7219A31DE}" dt="2022-06-29T13:26:19.103" v="1773" actId="700"/>
          <ac:spMkLst>
            <pc:docMk/>
            <pc:sldMk cId="1412725519" sldId="2076136779"/>
            <ac:spMk id="4" creationId="{D0320905-8BB6-4842-9AC0-6EFE43E4BF6B}"/>
          </ac:spMkLst>
        </pc:spChg>
      </pc:sldChg>
      <pc:sldChg chg="addSp delSp modSp mod modAnim">
        <pc:chgData name="Reuben Issac Jacob" userId="a26d73c9-1689-41bd-af50-ef825e838770" providerId="ADAL" clId="{F452BC9E-5BE8-4A0B-9F00-66A7219A31DE}" dt="2022-06-29T20:28:47.841" v="3724"/>
        <pc:sldMkLst>
          <pc:docMk/>
          <pc:sldMk cId="3050563501" sldId="2076137326"/>
        </pc:sldMkLst>
        <pc:spChg chg="del">
          <ac:chgData name="Reuben Issac Jacob" userId="a26d73c9-1689-41bd-af50-ef825e838770" providerId="ADAL" clId="{F452BC9E-5BE8-4A0B-9F00-66A7219A31DE}" dt="2022-06-29T13:25:34.248" v="1769" actId="478"/>
          <ac:spMkLst>
            <pc:docMk/>
            <pc:sldMk cId="3050563501" sldId="2076137326"/>
            <ac:spMk id="4" creationId="{4FB2AD46-0FB9-45AC-BC35-314E569D2482}"/>
          </ac:spMkLst>
        </pc:spChg>
        <pc:spChg chg="add mod">
          <ac:chgData name="Reuben Issac Jacob" userId="a26d73c9-1689-41bd-af50-ef825e838770" providerId="ADAL" clId="{F452BC9E-5BE8-4A0B-9F00-66A7219A31DE}" dt="2022-06-29T13:20:56.348" v="1705" actId="20577"/>
          <ac:spMkLst>
            <pc:docMk/>
            <pc:sldMk cId="3050563501" sldId="2076137326"/>
            <ac:spMk id="5" creationId="{F8D7B108-A837-7CD9-02BA-2131187B820E}"/>
          </ac:spMkLst>
        </pc:spChg>
        <pc:spChg chg="add mod">
          <ac:chgData name="Reuben Issac Jacob" userId="a26d73c9-1689-41bd-af50-ef825e838770" providerId="ADAL" clId="{F452BC9E-5BE8-4A0B-9F00-66A7219A31DE}" dt="2022-06-29T13:24:45.706" v="1759" actId="164"/>
          <ac:spMkLst>
            <pc:docMk/>
            <pc:sldMk cId="3050563501" sldId="2076137326"/>
            <ac:spMk id="12" creationId="{FCCE99BE-3BF5-E595-5CF0-C6B9823BE87F}"/>
          </ac:spMkLst>
        </pc:spChg>
        <pc:spChg chg="add mod">
          <ac:chgData name="Reuben Issac Jacob" userId="a26d73c9-1689-41bd-af50-ef825e838770" providerId="ADAL" clId="{F452BC9E-5BE8-4A0B-9F00-66A7219A31DE}" dt="2022-06-29T13:24:45.706" v="1759" actId="164"/>
          <ac:spMkLst>
            <pc:docMk/>
            <pc:sldMk cId="3050563501" sldId="2076137326"/>
            <ac:spMk id="24" creationId="{09703889-A3A7-33D1-C6F7-8AD77AAF460C}"/>
          </ac:spMkLst>
        </pc:spChg>
        <pc:spChg chg="del">
          <ac:chgData name="Reuben Issac Jacob" userId="a26d73c9-1689-41bd-af50-ef825e838770" providerId="ADAL" clId="{F452BC9E-5BE8-4A0B-9F00-66A7219A31DE}" dt="2022-06-29T13:20:37.171" v="1699" actId="478"/>
          <ac:spMkLst>
            <pc:docMk/>
            <pc:sldMk cId="3050563501" sldId="2076137326"/>
            <ac:spMk id="48" creationId="{94FB2540-626B-4B11-B517-47894DDEEC8A}"/>
          </ac:spMkLst>
        </pc:spChg>
        <pc:spChg chg="del">
          <ac:chgData name="Reuben Issac Jacob" userId="a26d73c9-1689-41bd-af50-ef825e838770" providerId="ADAL" clId="{F452BC9E-5BE8-4A0B-9F00-66A7219A31DE}" dt="2022-06-29T13:25:33.099" v="1768" actId="478"/>
          <ac:spMkLst>
            <pc:docMk/>
            <pc:sldMk cId="3050563501" sldId="2076137326"/>
            <ac:spMk id="127" creationId="{FEDCBC21-7BDE-403C-AC31-265333E653E4}"/>
          </ac:spMkLst>
        </pc:spChg>
        <pc:grpChg chg="mod">
          <ac:chgData name="Reuben Issac Jacob" userId="a26d73c9-1689-41bd-af50-ef825e838770" providerId="ADAL" clId="{F452BC9E-5BE8-4A0B-9F00-66A7219A31DE}" dt="2022-06-29T13:25:49.560" v="1771" actId="408"/>
          <ac:grpSpMkLst>
            <pc:docMk/>
            <pc:sldMk cId="3050563501" sldId="2076137326"/>
            <ac:grpSpMk id="2" creationId="{E5B39B43-FB6D-4469-8EEC-FB001B8001FF}"/>
          </ac:grpSpMkLst>
        </pc:grpChg>
        <pc:grpChg chg="mod">
          <ac:chgData name="Reuben Issac Jacob" userId="a26d73c9-1689-41bd-af50-ef825e838770" providerId="ADAL" clId="{F452BC9E-5BE8-4A0B-9F00-66A7219A31DE}" dt="2022-06-29T13:25:56.877" v="1772" actId="1076"/>
          <ac:grpSpMkLst>
            <pc:docMk/>
            <pc:sldMk cId="3050563501" sldId="2076137326"/>
            <ac:grpSpMk id="6" creationId="{F6234252-F699-4CE0-955D-97D3E2F3BE36}"/>
          </ac:grpSpMkLst>
        </pc:grpChg>
        <pc:grpChg chg="mod">
          <ac:chgData name="Reuben Issac Jacob" userId="a26d73c9-1689-41bd-af50-ef825e838770" providerId="ADAL" clId="{F452BC9E-5BE8-4A0B-9F00-66A7219A31DE}" dt="2022-06-29T13:25:49.560" v="1771" actId="408"/>
          <ac:grpSpMkLst>
            <pc:docMk/>
            <pc:sldMk cId="3050563501" sldId="2076137326"/>
            <ac:grpSpMk id="7" creationId="{FD22557D-8264-4AD4-B4FF-A5CEBD6B7E18}"/>
          </ac:grpSpMkLst>
        </pc:grpChg>
        <pc:grpChg chg="mod">
          <ac:chgData name="Reuben Issac Jacob" userId="a26d73c9-1689-41bd-af50-ef825e838770" providerId="ADAL" clId="{F452BC9E-5BE8-4A0B-9F00-66A7219A31DE}" dt="2022-06-29T13:25:49.560" v="1771" actId="408"/>
          <ac:grpSpMkLst>
            <pc:docMk/>
            <pc:sldMk cId="3050563501" sldId="2076137326"/>
            <ac:grpSpMk id="9" creationId="{328B6A1C-F554-4BB0-8A6E-A5F9F0D5EBF8}"/>
          </ac:grpSpMkLst>
        </pc:grpChg>
        <pc:grpChg chg="add del mod">
          <ac:chgData name="Reuben Issac Jacob" userId="a26d73c9-1689-41bd-af50-ef825e838770" providerId="ADAL" clId="{F452BC9E-5BE8-4A0B-9F00-66A7219A31DE}" dt="2022-06-29T13:25:24.924" v="1765" actId="478"/>
          <ac:grpSpMkLst>
            <pc:docMk/>
            <pc:sldMk cId="3050563501" sldId="2076137326"/>
            <ac:grpSpMk id="13" creationId="{126B6458-4A03-9F49-6A90-4F2A1CD3B708}"/>
          </ac:grpSpMkLst>
        </pc:grpChg>
        <pc:picChg chg="add mod">
          <ac:chgData name="Reuben Issac Jacob" userId="a26d73c9-1689-41bd-af50-ef825e838770" providerId="ADAL" clId="{F452BC9E-5BE8-4A0B-9F00-66A7219A31DE}" dt="2022-06-29T13:24:45.706" v="1759" actId="164"/>
          <ac:picMkLst>
            <pc:docMk/>
            <pc:sldMk cId="3050563501" sldId="2076137326"/>
            <ac:picMk id="11" creationId="{B2800E0E-3D1C-902C-1E69-6586F67562C8}"/>
          </ac:picMkLst>
        </pc:picChg>
        <pc:picChg chg="add mod">
          <ac:chgData name="Reuben Issac Jacob" userId="a26d73c9-1689-41bd-af50-ef825e838770" providerId="ADAL" clId="{F452BC9E-5BE8-4A0B-9F00-66A7219A31DE}" dt="2022-06-29T13:25:49.560" v="1771" actId="408"/>
          <ac:picMkLst>
            <pc:docMk/>
            <pc:sldMk cId="3050563501" sldId="2076137326"/>
            <ac:picMk id="15" creationId="{DB45B4D0-187C-2830-C4BE-CCF06D798630}"/>
          </ac:picMkLst>
        </pc:picChg>
        <pc:picChg chg="mod">
          <ac:chgData name="Reuben Issac Jacob" userId="a26d73c9-1689-41bd-af50-ef825e838770" providerId="ADAL" clId="{F452BC9E-5BE8-4A0B-9F00-66A7219A31DE}" dt="2022-06-29T13:25:56.877" v="1772" actId="1076"/>
          <ac:picMkLst>
            <pc:docMk/>
            <pc:sldMk cId="3050563501" sldId="2076137326"/>
            <ac:picMk id="97" creationId="{ECA582B9-A3E8-489F-BA9C-A9F371674224}"/>
          </ac:picMkLst>
        </pc:picChg>
        <pc:picChg chg="mod">
          <ac:chgData name="Reuben Issac Jacob" userId="a26d73c9-1689-41bd-af50-ef825e838770" providerId="ADAL" clId="{F452BC9E-5BE8-4A0B-9F00-66A7219A31DE}" dt="2022-06-29T13:25:49.560" v="1771" actId="408"/>
          <ac:picMkLst>
            <pc:docMk/>
            <pc:sldMk cId="3050563501" sldId="2076137326"/>
            <ac:picMk id="128" creationId="{D759A4F6-68E0-47B8-8753-3B86070A6EC1}"/>
          </ac:picMkLst>
        </pc:picChg>
        <pc:picChg chg="mod">
          <ac:chgData name="Reuben Issac Jacob" userId="a26d73c9-1689-41bd-af50-ef825e838770" providerId="ADAL" clId="{F452BC9E-5BE8-4A0B-9F00-66A7219A31DE}" dt="2022-06-29T13:25:56.877" v="1772" actId="1076"/>
          <ac:picMkLst>
            <pc:docMk/>
            <pc:sldMk cId="3050563501" sldId="2076137326"/>
            <ac:picMk id="34820" creationId="{7A20604D-7B1A-4F8D-8A51-4557FEFEE51D}"/>
          </ac:picMkLst>
        </pc:picChg>
        <pc:picChg chg="mod">
          <ac:chgData name="Reuben Issac Jacob" userId="a26d73c9-1689-41bd-af50-ef825e838770" providerId="ADAL" clId="{F452BC9E-5BE8-4A0B-9F00-66A7219A31DE}" dt="2022-06-29T13:25:49.560" v="1771" actId="408"/>
          <ac:picMkLst>
            <pc:docMk/>
            <pc:sldMk cId="3050563501" sldId="2076137326"/>
            <ac:picMk id="34822" creationId="{4F5F0D61-9E54-48E7-8696-D35196F1A067}"/>
          </ac:picMkLst>
        </pc:picChg>
        <pc:picChg chg="del mod">
          <ac:chgData name="Reuben Issac Jacob" userId="a26d73c9-1689-41bd-af50-ef825e838770" providerId="ADAL" clId="{F452BC9E-5BE8-4A0B-9F00-66A7219A31DE}" dt="2022-06-29T13:24:40.941" v="1758" actId="478"/>
          <ac:picMkLst>
            <pc:docMk/>
            <pc:sldMk cId="3050563501" sldId="2076137326"/>
            <ac:picMk id="34826" creationId="{BB24DCBB-2280-49B6-9100-5E14BAD3B4D2}"/>
          </ac:picMkLst>
        </pc:picChg>
      </pc:sldChg>
      <pc:sldChg chg="addSp delSp modSp mod modAnim">
        <pc:chgData name="Reuben Issac Jacob" userId="a26d73c9-1689-41bd-af50-ef825e838770" providerId="ADAL" clId="{F452BC9E-5BE8-4A0B-9F00-66A7219A31DE}" dt="2022-06-29T20:47:03.150" v="3888"/>
        <pc:sldMkLst>
          <pc:docMk/>
          <pc:sldMk cId="2827947631" sldId="2076137345"/>
        </pc:sldMkLst>
        <pc:spChg chg="add del mod">
          <ac:chgData name="Reuben Issac Jacob" userId="a26d73c9-1689-41bd-af50-ef825e838770" providerId="ADAL" clId="{F452BC9E-5BE8-4A0B-9F00-66A7219A31DE}" dt="2022-06-29T07:14:09.523" v="1636" actId="478"/>
          <ac:spMkLst>
            <pc:docMk/>
            <pc:sldMk cId="2827947631" sldId="2076137345"/>
            <ac:spMk id="2" creationId="{B51699C9-95D9-CA95-9579-3161CDCC689D}"/>
          </ac:spMkLst>
        </pc:spChg>
        <pc:spChg chg="add mod">
          <ac:chgData name="Reuben Issac Jacob" userId="a26d73c9-1689-41bd-af50-ef825e838770" providerId="ADAL" clId="{F452BC9E-5BE8-4A0B-9F00-66A7219A31DE}" dt="2022-06-29T07:16:31.543" v="1692" actId="313"/>
          <ac:spMkLst>
            <pc:docMk/>
            <pc:sldMk cId="2827947631" sldId="2076137345"/>
            <ac:spMk id="4" creationId="{A74BA9DD-4FE8-3DD4-BAF2-A0E08A3FB416}"/>
          </ac:spMkLst>
        </pc:spChg>
        <pc:spChg chg="add del">
          <ac:chgData name="Reuben Issac Jacob" userId="a26d73c9-1689-41bd-af50-ef825e838770" providerId="ADAL" clId="{F452BC9E-5BE8-4A0B-9F00-66A7219A31DE}" dt="2022-06-29T07:14:28.997" v="1639" actId="478"/>
          <ac:spMkLst>
            <pc:docMk/>
            <pc:sldMk cId="2827947631" sldId="2076137345"/>
            <ac:spMk id="28" creationId="{DD616E94-9A74-BF4B-940E-213F6136F603}"/>
          </ac:spMkLst>
        </pc:spChg>
        <pc:spChg chg="add del">
          <ac:chgData name="Reuben Issac Jacob" userId="a26d73c9-1689-41bd-af50-ef825e838770" providerId="ADAL" clId="{F452BC9E-5BE8-4A0B-9F00-66A7219A31DE}" dt="2022-06-29T07:14:28.997" v="1639" actId="478"/>
          <ac:spMkLst>
            <pc:docMk/>
            <pc:sldMk cId="2827947631" sldId="2076137345"/>
            <ac:spMk id="29" creationId="{9EAE7D18-F4A3-724C-9542-04A4638A3F99}"/>
          </ac:spMkLst>
        </pc:spChg>
        <pc:spChg chg="add del">
          <ac:chgData name="Reuben Issac Jacob" userId="a26d73c9-1689-41bd-af50-ef825e838770" providerId="ADAL" clId="{F452BC9E-5BE8-4A0B-9F00-66A7219A31DE}" dt="2022-06-29T07:14:18.046" v="1637" actId="478"/>
          <ac:spMkLst>
            <pc:docMk/>
            <pc:sldMk cId="2827947631" sldId="2076137345"/>
            <ac:spMk id="32" creationId="{0E35B232-1061-4ECF-939E-AAB1979C2E50}"/>
          </ac:spMkLst>
        </pc:spChg>
        <pc:spChg chg="mod">
          <ac:chgData name="Reuben Issac Jacob" userId="a26d73c9-1689-41bd-af50-ef825e838770" providerId="ADAL" clId="{F452BC9E-5BE8-4A0B-9F00-66A7219A31DE}" dt="2022-06-29T13:20:10.595" v="1697" actId="207"/>
          <ac:spMkLst>
            <pc:docMk/>
            <pc:sldMk cId="2827947631" sldId="2076137345"/>
            <ac:spMk id="33" creationId="{C54DB952-4FDF-47B3-A92B-8E3D241A396A}"/>
          </ac:spMkLst>
        </pc:spChg>
        <pc:spChg chg="mod">
          <ac:chgData name="Reuben Issac Jacob" userId="a26d73c9-1689-41bd-af50-ef825e838770" providerId="ADAL" clId="{F452BC9E-5BE8-4A0B-9F00-66A7219A31DE}" dt="2022-06-29T20:27:53.080" v="3713" actId="164"/>
          <ac:spMkLst>
            <pc:docMk/>
            <pc:sldMk cId="2827947631" sldId="2076137345"/>
            <ac:spMk id="49" creationId="{1C4AF4CA-A44A-5341-9CF5-0E6E92519A96}"/>
          </ac:spMkLst>
        </pc:spChg>
        <pc:spChg chg="mod">
          <ac:chgData name="Reuben Issac Jacob" userId="a26d73c9-1689-41bd-af50-ef825e838770" providerId="ADAL" clId="{F452BC9E-5BE8-4A0B-9F00-66A7219A31DE}" dt="2022-06-29T13:20:06.859" v="1696" actId="207"/>
          <ac:spMkLst>
            <pc:docMk/>
            <pc:sldMk cId="2827947631" sldId="2076137345"/>
            <ac:spMk id="50" creationId="{4A365B65-9C1F-9246-B6D3-18022A4C7CE0}"/>
          </ac:spMkLst>
        </pc:spChg>
        <pc:spChg chg="mod">
          <ac:chgData name="Reuben Issac Jacob" userId="a26d73c9-1689-41bd-af50-ef825e838770" providerId="ADAL" clId="{F452BC9E-5BE8-4A0B-9F00-66A7219A31DE}" dt="2022-06-29T13:20:14.233" v="1698" actId="207"/>
          <ac:spMkLst>
            <pc:docMk/>
            <pc:sldMk cId="2827947631" sldId="2076137345"/>
            <ac:spMk id="52" creationId="{5725F542-E70F-AA41-B242-07DCB3B51E3D}"/>
          </ac:spMkLst>
        </pc:spChg>
        <pc:spChg chg="add del">
          <ac:chgData name="Reuben Issac Jacob" userId="a26d73c9-1689-41bd-af50-ef825e838770" providerId="ADAL" clId="{F452BC9E-5BE8-4A0B-9F00-66A7219A31DE}" dt="2022-06-29T07:14:28.997" v="1639" actId="478"/>
          <ac:spMkLst>
            <pc:docMk/>
            <pc:sldMk cId="2827947631" sldId="2076137345"/>
            <ac:spMk id="53" creationId="{9AB805D5-6A90-9E4F-8535-6B227F75BA7D}"/>
          </ac:spMkLst>
        </pc:spChg>
        <pc:grpChg chg="add mod">
          <ac:chgData name="Reuben Issac Jacob" userId="a26d73c9-1689-41bd-af50-ef825e838770" providerId="ADAL" clId="{F452BC9E-5BE8-4A0B-9F00-66A7219A31DE}" dt="2022-06-29T20:27:53.080" v="3713" actId="164"/>
          <ac:grpSpMkLst>
            <pc:docMk/>
            <pc:sldMk cId="2827947631" sldId="2076137345"/>
            <ac:grpSpMk id="5" creationId="{4F6DA177-4DE3-1B04-2E6D-6C7D7449833D}"/>
          </ac:grpSpMkLst>
        </pc:grpChg>
        <pc:picChg chg="mod">
          <ac:chgData name="Reuben Issac Jacob" userId="a26d73c9-1689-41bd-af50-ef825e838770" providerId="ADAL" clId="{F452BC9E-5BE8-4A0B-9F00-66A7219A31DE}" dt="2022-06-29T20:27:53.080" v="3713" actId="164"/>
          <ac:picMkLst>
            <pc:docMk/>
            <pc:sldMk cId="2827947631" sldId="2076137345"/>
            <ac:picMk id="48" creationId="{149C124D-609C-624B-B4D9-FBF55282F2FB}"/>
          </ac:picMkLst>
        </pc:picChg>
      </pc:sldChg>
      <pc:sldChg chg="modAnim">
        <pc:chgData name="Reuben Issac Jacob" userId="a26d73c9-1689-41bd-af50-ef825e838770" providerId="ADAL" clId="{F452BC9E-5BE8-4A0B-9F00-66A7219A31DE}" dt="2022-06-29T20:12:49.552" v="3562"/>
        <pc:sldMkLst>
          <pc:docMk/>
          <pc:sldMk cId="3149725342" sldId="2147468607"/>
        </pc:sldMkLst>
      </pc:sldChg>
      <pc:sldChg chg="modSp mod modAnim">
        <pc:chgData name="Reuben Issac Jacob" userId="a26d73c9-1689-41bd-af50-ef825e838770" providerId="ADAL" clId="{F452BC9E-5BE8-4A0B-9F00-66A7219A31DE}" dt="2022-06-29T19:49:02.513" v="3308"/>
        <pc:sldMkLst>
          <pc:docMk/>
          <pc:sldMk cId="307894445" sldId="2147469593"/>
        </pc:sldMkLst>
        <pc:spChg chg="mod">
          <ac:chgData name="Reuben Issac Jacob" userId="a26d73c9-1689-41bd-af50-ef825e838770" providerId="ADAL" clId="{F452BC9E-5BE8-4A0B-9F00-66A7219A31DE}" dt="2022-06-29T04:53:15.387" v="264" actId="207"/>
          <ac:spMkLst>
            <pc:docMk/>
            <pc:sldMk cId="307894445" sldId="2147469593"/>
            <ac:spMk id="18" creationId="{F7674E5F-BF5A-498F-043D-8CFD2965F5B0}"/>
          </ac:spMkLst>
        </pc:spChg>
        <pc:spChg chg="mod">
          <ac:chgData name="Reuben Issac Jacob" userId="a26d73c9-1689-41bd-af50-ef825e838770" providerId="ADAL" clId="{F452BC9E-5BE8-4A0B-9F00-66A7219A31DE}" dt="2022-06-29T04:52:54.744" v="262" actId="207"/>
          <ac:spMkLst>
            <pc:docMk/>
            <pc:sldMk cId="307894445" sldId="2147469593"/>
            <ac:spMk id="21" creationId="{6C2F7BD8-EBBC-8391-E6BA-B507FABEF61C}"/>
          </ac:spMkLst>
        </pc:spChg>
        <pc:spChg chg="mod">
          <ac:chgData name="Reuben Issac Jacob" userId="a26d73c9-1689-41bd-af50-ef825e838770" providerId="ADAL" clId="{F452BC9E-5BE8-4A0B-9F00-66A7219A31DE}" dt="2022-06-29T04:52:39.475" v="260" actId="207"/>
          <ac:spMkLst>
            <pc:docMk/>
            <pc:sldMk cId="307894445" sldId="2147469593"/>
            <ac:spMk id="45" creationId="{420FF0DB-99BC-D4E6-EC54-C649E54EE11A}"/>
          </ac:spMkLst>
        </pc:spChg>
        <pc:spChg chg="mod">
          <ac:chgData name="Reuben Issac Jacob" userId="a26d73c9-1689-41bd-af50-ef825e838770" providerId="ADAL" clId="{F452BC9E-5BE8-4A0B-9F00-66A7219A31DE}" dt="2022-06-29T04:51:02.852" v="243" actId="207"/>
          <ac:spMkLst>
            <pc:docMk/>
            <pc:sldMk cId="307894445" sldId="2147469593"/>
            <ac:spMk id="54" creationId="{CB8D755E-020C-070C-4CE5-F287E8760ACE}"/>
          </ac:spMkLst>
        </pc:spChg>
        <pc:grpChg chg="mod">
          <ac:chgData name="Reuben Issac Jacob" userId="a26d73c9-1689-41bd-af50-ef825e838770" providerId="ADAL" clId="{F452BC9E-5BE8-4A0B-9F00-66A7219A31DE}" dt="2022-06-29T04:47:28.349" v="234" actId="207"/>
          <ac:grpSpMkLst>
            <pc:docMk/>
            <pc:sldMk cId="307894445" sldId="2147469593"/>
            <ac:grpSpMk id="53" creationId="{DA6A34E3-DF70-D523-807A-D4444AACCBF7}"/>
          </ac:grpSpMkLst>
        </pc:grpChg>
        <pc:picChg chg="mod">
          <ac:chgData name="Reuben Issac Jacob" userId="a26d73c9-1689-41bd-af50-ef825e838770" providerId="ADAL" clId="{F452BC9E-5BE8-4A0B-9F00-66A7219A31DE}" dt="2022-06-29T04:47:28.349" v="234" actId="207"/>
          <ac:picMkLst>
            <pc:docMk/>
            <pc:sldMk cId="307894445" sldId="2147469593"/>
            <ac:picMk id="55" creationId="{E8C87A89-7E13-35DA-E6BB-4EAEC5C94F50}"/>
          </ac:picMkLst>
        </pc:picChg>
      </pc:sldChg>
      <pc:sldChg chg="addSp delSp modSp mod modClrScheme modAnim chgLayout">
        <pc:chgData name="Reuben Issac Jacob" userId="a26d73c9-1689-41bd-af50-ef825e838770" providerId="ADAL" clId="{F452BC9E-5BE8-4A0B-9F00-66A7219A31DE}" dt="2022-06-29T20:45:33.591" v="3885"/>
        <pc:sldMkLst>
          <pc:docMk/>
          <pc:sldMk cId="3671410135" sldId="2147469594"/>
        </pc:sldMkLst>
        <pc:spChg chg="add del mod ord">
          <ac:chgData name="Reuben Issac Jacob" userId="a26d73c9-1689-41bd-af50-ef825e838770" providerId="ADAL" clId="{F452BC9E-5BE8-4A0B-9F00-66A7219A31DE}" dt="2022-06-29T04:39:35.745" v="135" actId="478"/>
          <ac:spMkLst>
            <pc:docMk/>
            <pc:sldMk cId="3671410135" sldId="2147469594"/>
            <ac:spMk id="2" creationId="{FAC9C0A0-072D-1E3A-D3FE-D8E0E7F3EF9C}"/>
          </ac:spMkLst>
        </pc:spChg>
        <pc:spChg chg="mod ord">
          <ac:chgData name="Reuben Issac Jacob" userId="a26d73c9-1689-41bd-af50-ef825e838770" providerId="ADAL" clId="{F452BC9E-5BE8-4A0B-9F00-66A7219A31DE}" dt="2022-06-29T04:38:54.752" v="126" actId="700"/>
          <ac:spMkLst>
            <pc:docMk/>
            <pc:sldMk cId="3671410135" sldId="2147469594"/>
            <ac:spMk id="4" creationId="{447A5405-D91A-70BD-C6F5-4C95E7523A18}"/>
          </ac:spMkLst>
        </pc:spChg>
        <pc:spChg chg="mod ord">
          <ac:chgData name="Reuben Issac Jacob" userId="a26d73c9-1689-41bd-af50-ef825e838770" providerId="ADAL" clId="{F452BC9E-5BE8-4A0B-9F00-66A7219A31DE}" dt="2022-06-29T14:54:02.067" v="3180" actId="403"/>
          <ac:spMkLst>
            <pc:docMk/>
            <pc:sldMk cId="3671410135" sldId="2147469594"/>
            <ac:spMk id="5" creationId="{885FFBA3-7486-B77C-F47C-9E03FBAC196D}"/>
          </ac:spMkLst>
        </pc:spChg>
        <pc:picChg chg="add del mod">
          <ac:chgData name="Reuben Issac Jacob" userId="a26d73c9-1689-41bd-af50-ef825e838770" providerId="ADAL" clId="{F452BC9E-5BE8-4A0B-9F00-66A7219A31DE}" dt="2022-06-29T04:39:42.872" v="137" actId="14861"/>
          <ac:picMkLst>
            <pc:docMk/>
            <pc:sldMk cId="3671410135" sldId="2147469594"/>
            <ac:picMk id="3" creationId="{404966F4-E740-0AB8-93A7-CA8824B53444}"/>
          </ac:picMkLst>
        </pc:picChg>
      </pc:sldChg>
      <pc:sldChg chg="addSp delSp modSp mod modTransition modClrScheme chgLayout">
        <pc:chgData name="Reuben Issac Jacob" userId="a26d73c9-1689-41bd-af50-ef825e838770" providerId="ADAL" clId="{F452BC9E-5BE8-4A0B-9F00-66A7219A31DE}" dt="2022-06-29T20:31:47.493" v="3761"/>
        <pc:sldMkLst>
          <pc:docMk/>
          <pc:sldMk cId="3799475860" sldId="2147469600"/>
        </pc:sldMkLst>
        <pc:spChg chg="add del mod ord">
          <ac:chgData name="Reuben Issac Jacob" userId="a26d73c9-1689-41bd-af50-ef825e838770" providerId="ADAL" clId="{F452BC9E-5BE8-4A0B-9F00-66A7219A31DE}" dt="2022-06-29T08:31:19.333" v="1694" actId="478"/>
          <ac:spMkLst>
            <pc:docMk/>
            <pc:sldMk cId="3799475860" sldId="2147469600"/>
            <ac:spMk id="2" creationId="{6125708A-E1E9-BC12-C975-7FB81171ECD6}"/>
          </ac:spMkLst>
        </pc:spChg>
        <pc:spChg chg="mod ord">
          <ac:chgData name="Reuben Issac Jacob" userId="a26d73c9-1689-41bd-af50-ef825e838770" providerId="ADAL" clId="{F452BC9E-5BE8-4A0B-9F00-66A7219A31DE}" dt="2022-06-29T08:31:13.238" v="1693" actId="700"/>
          <ac:spMkLst>
            <pc:docMk/>
            <pc:sldMk cId="3799475860" sldId="2147469600"/>
            <ac:spMk id="3" creationId="{80EC007E-D483-2EB8-FD4C-28781FF8A0AC}"/>
          </ac:spMkLst>
        </pc:spChg>
        <pc:spChg chg="del mod ord">
          <ac:chgData name="Reuben Issac Jacob" userId="a26d73c9-1689-41bd-af50-ef825e838770" providerId="ADAL" clId="{F452BC9E-5BE8-4A0B-9F00-66A7219A31DE}" dt="2022-06-29T08:31:13.238" v="1693" actId="700"/>
          <ac:spMkLst>
            <pc:docMk/>
            <pc:sldMk cId="3799475860" sldId="2147469600"/>
            <ac:spMk id="4" creationId="{78A93F1D-1761-BDD1-0329-1BBF70FB31C6}"/>
          </ac:spMkLst>
        </pc:spChg>
      </pc:sldChg>
      <pc:sldChg chg="addSp delSp modSp mod modClrScheme chgLayout">
        <pc:chgData name="Reuben Issac Jacob" userId="a26d73c9-1689-41bd-af50-ef825e838770" providerId="ADAL" clId="{F452BC9E-5BE8-4A0B-9F00-66A7219A31DE}" dt="2022-06-29T13:42:45.633" v="1935" actId="478"/>
        <pc:sldMkLst>
          <pc:docMk/>
          <pc:sldMk cId="2586040291" sldId="2147469605"/>
        </pc:sldMkLst>
        <pc:spChg chg="add del mod ord">
          <ac:chgData name="Reuben Issac Jacob" userId="a26d73c9-1689-41bd-af50-ef825e838770" providerId="ADAL" clId="{F452BC9E-5BE8-4A0B-9F00-66A7219A31DE}" dt="2022-06-29T13:42:45.633" v="1935" actId="478"/>
          <ac:spMkLst>
            <pc:docMk/>
            <pc:sldMk cId="2586040291" sldId="2147469605"/>
            <ac:spMk id="2" creationId="{677BC04B-6B4A-65FF-7D36-63751460CCCE}"/>
          </ac:spMkLst>
        </pc:spChg>
        <pc:spChg chg="mod ord">
          <ac:chgData name="Reuben Issac Jacob" userId="a26d73c9-1689-41bd-af50-ef825e838770" providerId="ADAL" clId="{F452BC9E-5BE8-4A0B-9F00-66A7219A31DE}" dt="2022-06-29T13:42:42.478" v="1934" actId="700"/>
          <ac:spMkLst>
            <pc:docMk/>
            <pc:sldMk cId="2586040291" sldId="2147469605"/>
            <ac:spMk id="3" creationId="{80EC007E-D483-2EB8-FD4C-28781FF8A0AC}"/>
          </ac:spMkLst>
        </pc:spChg>
        <pc:spChg chg="del mod ord">
          <ac:chgData name="Reuben Issac Jacob" userId="a26d73c9-1689-41bd-af50-ef825e838770" providerId="ADAL" clId="{F452BC9E-5BE8-4A0B-9F00-66A7219A31DE}" dt="2022-06-29T13:42:42.478" v="1934" actId="700"/>
          <ac:spMkLst>
            <pc:docMk/>
            <pc:sldMk cId="2586040291" sldId="2147469605"/>
            <ac:spMk id="4" creationId="{78A93F1D-1761-BDD1-0329-1BBF70FB31C6}"/>
          </ac:spMkLst>
        </pc:spChg>
      </pc:sldChg>
      <pc:sldChg chg="addSp delSp modSp mod modClrScheme modAnim chgLayout">
        <pc:chgData name="Reuben Issac Jacob" userId="a26d73c9-1689-41bd-af50-ef825e838770" providerId="ADAL" clId="{F452BC9E-5BE8-4A0B-9F00-66A7219A31DE}" dt="2022-06-29T20:51:08.415" v="3904" actId="700"/>
        <pc:sldMkLst>
          <pc:docMk/>
          <pc:sldMk cId="1117014756" sldId="2147469609"/>
        </pc:sldMkLst>
        <pc:spChg chg="mod ord">
          <ac:chgData name="Reuben Issac Jacob" userId="a26d73c9-1689-41bd-af50-ef825e838770" providerId="ADAL" clId="{F452BC9E-5BE8-4A0B-9F00-66A7219A31DE}" dt="2022-06-29T20:51:08.415" v="3904" actId="700"/>
          <ac:spMkLst>
            <pc:docMk/>
            <pc:sldMk cId="1117014756" sldId="2147469609"/>
            <ac:spMk id="2" creationId="{E75AA307-FFB4-61C0-9625-C40AD7AE3A44}"/>
          </ac:spMkLst>
        </pc:spChg>
        <pc:spChg chg="mod ord">
          <ac:chgData name="Reuben Issac Jacob" userId="a26d73c9-1689-41bd-af50-ef825e838770" providerId="ADAL" clId="{F452BC9E-5BE8-4A0B-9F00-66A7219A31DE}" dt="2022-06-29T20:51:08.415" v="3904" actId="700"/>
          <ac:spMkLst>
            <pc:docMk/>
            <pc:sldMk cId="1117014756" sldId="2147469609"/>
            <ac:spMk id="3" creationId="{5813D571-3500-471D-92AD-1D09387D5B23}"/>
          </ac:spMkLst>
        </pc:spChg>
        <pc:spChg chg="del mod ord">
          <ac:chgData name="Reuben Issac Jacob" userId="a26d73c9-1689-41bd-af50-ef825e838770" providerId="ADAL" clId="{F452BC9E-5BE8-4A0B-9F00-66A7219A31DE}" dt="2022-06-29T13:46:51.473" v="1980" actId="478"/>
          <ac:spMkLst>
            <pc:docMk/>
            <pc:sldMk cId="1117014756" sldId="2147469609"/>
            <ac:spMk id="4" creationId="{D4A8C686-B8F8-246E-A8B0-58598616C6CB}"/>
          </ac:spMkLst>
        </pc:spChg>
        <pc:spChg chg="add del mod ord">
          <ac:chgData name="Reuben Issac Jacob" userId="a26d73c9-1689-41bd-af50-ef825e838770" providerId="ADAL" clId="{F452BC9E-5BE8-4A0B-9F00-66A7219A31DE}" dt="2022-06-29T20:51:08.415" v="3904" actId="700"/>
          <ac:spMkLst>
            <pc:docMk/>
            <pc:sldMk cId="1117014756" sldId="2147469609"/>
            <ac:spMk id="5" creationId="{3354B262-3143-AAC4-2CBC-54B1B8199941}"/>
          </ac:spMkLst>
        </pc:spChg>
      </pc:sldChg>
      <pc:sldChg chg="modTransition modAnim">
        <pc:chgData name="Reuben Issac Jacob" userId="a26d73c9-1689-41bd-af50-ef825e838770" providerId="ADAL" clId="{F452BC9E-5BE8-4A0B-9F00-66A7219A31DE}" dt="2022-06-29T20:43:04.587" v="3873"/>
        <pc:sldMkLst>
          <pc:docMk/>
          <pc:sldMk cId="3725804100" sldId="2147469616"/>
        </pc:sldMkLst>
      </pc:sldChg>
      <pc:sldChg chg="addSp delSp modSp mod modTransition modAnim modCm">
        <pc:chgData name="Reuben Issac Jacob" userId="a26d73c9-1689-41bd-af50-ef825e838770" providerId="ADAL" clId="{F452BC9E-5BE8-4A0B-9F00-66A7219A31DE}" dt="2022-06-29T20:43:30.656" v="3876"/>
        <pc:sldMkLst>
          <pc:docMk/>
          <pc:sldMk cId="4229963047" sldId="2147469617"/>
        </pc:sldMkLst>
        <pc:spChg chg="del">
          <ac:chgData name="Reuben Issac Jacob" userId="a26d73c9-1689-41bd-af50-ef825e838770" providerId="ADAL" clId="{F452BC9E-5BE8-4A0B-9F00-66A7219A31DE}" dt="2022-06-29T04:29:38.039" v="0" actId="478"/>
          <ac:spMkLst>
            <pc:docMk/>
            <pc:sldMk cId="4229963047" sldId="2147469617"/>
            <ac:spMk id="6" creationId="{CBF34873-A3B9-F104-E9F3-9993E32D1909}"/>
          </ac:spMkLst>
        </pc:spChg>
        <pc:spChg chg="del">
          <ac:chgData name="Reuben Issac Jacob" userId="a26d73c9-1689-41bd-af50-ef825e838770" providerId="ADAL" clId="{F452BC9E-5BE8-4A0B-9F00-66A7219A31DE}" dt="2022-06-29T04:29:38.039" v="0" actId="478"/>
          <ac:spMkLst>
            <pc:docMk/>
            <pc:sldMk cId="4229963047" sldId="2147469617"/>
            <ac:spMk id="7" creationId="{F7151996-3637-1E34-AF40-F3DED72F3E3A}"/>
          </ac:spMkLst>
        </pc:spChg>
        <pc:spChg chg="del">
          <ac:chgData name="Reuben Issac Jacob" userId="a26d73c9-1689-41bd-af50-ef825e838770" providerId="ADAL" clId="{F452BC9E-5BE8-4A0B-9F00-66A7219A31DE}" dt="2022-06-29T04:29:38.039" v="0" actId="478"/>
          <ac:spMkLst>
            <pc:docMk/>
            <pc:sldMk cId="4229963047" sldId="2147469617"/>
            <ac:spMk id="8" creationId="{DE666A2F-A972-A729-5692-EAAED0E64737}"/>
          </ac:spMkLst>
        </pc:spChg>
        <pc:spChg chg="add mod">
          <ac:chgData name="Reuben Issac Jacob" userId="a26d73c9-1689-41bd-af50-ef825e838770" providerId="ADAL" clId="{F452BC9E-5BE8-4A0B-9F00-66A7219A31DE}" dt="2022-06-29T04:29:43.375" v="3" actId="404"/>
          <ac:spMkLst>
            <pc:docMk/>
            <pc:sldMk cId="4229963047" sldId="2147469617"/>
            <ac:spMk id="9" creationId="{C961AE50-873E-7F1C-7E39-BC03E886AFA6}"/>
          </ac:spMkLst>
        </pc:spChg>
        <pc:spChg chg="add mod">
          <ac:chgData name="Reuben Issac Jacob" userId="a26d73c9-1689-41bd-af50-ef825e838770" providerId="ADAL" clId="{F452BC9E-5BE8-4A0B-9F00-66A7219A31DE}" dt="2022-06-29T04:29:43.375" v="3" actId="404"/>
          <ac:spMkLst>
            <pc:docMk/>
            <pc:sldMk cId="4229963047" sldId="2147469617"/>
            <ac:spMk id="10" creationId="{40A39FA2-799B-99C0-C23D-3B09F867A543}"/>
          </ac:spMkLst>
        </pc:spChg>
        <pc:spChg chg="add mod">
          <ac:chgData name="Reuben Issac Jacob" userId="a26d73c9-1689-41bd-af50-ef825e838770" providerId="ADAL" clId="{F452BC9E-5BE8-4A0B-9F00-66A7219A31DE}" dt="2022-06-29T04:29:43.375" v="3" actId="404"/>
          <ac:spMkLst>
            <pc:docMk/>
            <pc:sldMk cId="4229963047" sldId="2147469617"/>
            <ac:spMk id="11" creationId="{BEA2AB63-DD8C-28DF-100E-DCE4FBEDFF18}"/>
          </ac:spMkLst>
        </pc:spChg>
        <pc:spChg chg="add mod">
          <ac:chgData name="Reuben Issac Jacob" userId="a26d73c9-1689-41bd-af50-ef825e838770" providerId="ADAL" clId="{F452BC9E-5BE8-4A0B-9F00-66A7219A31DE}" dt="2022-06-29T04:29:43.375" v="3" actId="404"/>
          <ac:spMkLst>
            <pc:docMk/>
            <pc:sldMk cId="4229963047" sldId="2147469617"/>
            <ac:spMk id="12" creationId="{BE4619E5-458D-818D-1A57-65762513B902}"/>
          </ac:spMkLst>
        </pc:spChg>
        <pc:spChg chg="add mod">
          <ac:chgData name="Reuben Issac Jacob" userId="a26d73c9-1689-41bd-af50-ef825e838770" providerId="ADAL" clId="{F452BC9E-5BE8-4A0B-9F00-66A7219A31DE}" dt="2022-06-29T04:29:43.375" v="3" actId="404"/>
          <ac:spMkLst>
            <pc:docMk/>
            <pc:sldMk cId="4229963047" sldId="2147469617"/>
            <ac:spMk id="13" creationId="{C1E368B6-CF1B-5C6A-A55F-73B9C17BF54D}"/>
          </ac:spMkLst>
        </pc:spChg>
        <pc:spChg chg="add mod">
          <ac:chgData name="Reuben Issac Jacob" userId="a26d73c9-1689-41bd-af50-ef825e838770" providerId="ADAL" clId="{F452BC9E-5BE8-4A0B-9F00-66A7219A31DE}" dt="2022-06-29T04:29:43.375" v="3" actId="404"/>
          <ac:spMkLst>
            <pc:docMk/>
            <pc:sldMk cId="4229963047" sldId="2147469617"/>
            <ac:spMk id="14" creationId="{CD087E6E-003D-59C3-BA05-ADAE4B314813}"/>
          </ac:spMkLst>
        </pc:spChg>
        <pc:cxnChg chg="add mod">
          <ac:chgData name="Reuben Issac Jacob" userId="a26d73c9-1689-41bd-af50-ef825e838770" providerId="ADAL" clId="{F452BC9E-5BE8-4A0B-9F00-66A7219A31DE}" dt="2022-06-29T04:29:38.840" v="2"/>
          <ac:cxnSpMkLst>
            <pc:docMk/>
            <pc:sldMk cId="4229963047" sldId="2147469617"/>
            <ac:cxnSpMk id="15" creationId="{1EF56612-A546-11DA-B1E7-38342C86753E}"/>
          </ac:cxnSpMkLst>
        </pc:cxnChg>
        <pc:cxnChg chg="add mod">
          <ac:chgData name="Reuben Issac Jacob" userId="a26d73c9-1689-41bd-af50-ef825e838770" providerId="ADAL" clId="{F452BC9E-5BE8-4A0B-9F00-66A7219A31DE}" dt="2022-06-29T04:29:38.840" v="2"/>
          <ac:cxnSpMkLst>
            <pc:docMk/>
            <pc:sldMk cId="4229963047" sldId="2147469617"/>
            <ac:cxnSpMk id="16" creationId="{EA537AC5-1A43-95D5-26EF-5714BC09CD55}"/>
          </ac:cxnSpMkLst>
        </pc:cxnChg>
        <pc:cxnChg chg="add mod">
          <ac:chgData name="Reuben Issac Jacob" userId="a26d73c9-1689-41bd-af50-ef825e838770" providerId="ADAL" clId="{F452BC9E-5BE8-4A0B-9F00-66A7219A31DE}" dt="2022-06-29T04:29:38.840" v="2"/>
          <ac:cxnSpMkLst>
            <pc:docMk/>
            <pc:sldMk cId="4229963047" sldId="2147469617"/>
            <ac:cxnSpMk id="17" creationId="{0E11851D-2C99-DB2D-C2CC-A005945D33B3}"/>
          </ac:cxnSpMkLst>
        </pc:cxnChg>
      </pc:sldChg>
      <pc:sldChg chg="modAnim">
        <pc:chgData name="Reuben Issac Jacob" userId="a26d73c9-1689-41bd-af50-ef825e838770" providerId="ADAL" clId="{F452BC9E-5BE8-4A0B-9F00-66A7219A31DE}" dt="2022-06-29T20:43:47.825" v="3877"/>
        <pc:sldMkLst>
          <pc:docMk/>
          <pc:sldMk cId="2857144471" sldId="2147469620"/>
        </pc:sldMkLst>
      </pc:sldChg>
      <pc:sldChg chg="addSp delSp modSp mod modClrScheme chgLayout">
        <pc:chgData name="Reuben Issac Jacob" userId="a26d73c9-1689-41bd-af50-ef825e838770" providerId="ADAL" clId="{F452BC9E-5BE8-4A0B-9F00-66A7219A31DE}" dt="2022-06-30T14:39:03.303" v="4070" actId="700"/>
        <pc:sldMkLst>
          <pc:docMk/>
          <pc:sldMk cId="4017702559" sldId="2147469667"/>
        </pc:sldMkLst>
        <pc:spChg chg="mod ord">
          <ac:chgData name="Reuben Issac Jacob" userId="a26d73c9-1689-41bd-af50-ef825e838770" providerId="ADAL" clId="{F452BC9E-5BE8-4A0B-9F00-66A7219A31DE}" dt="2022-06-30T14:39:03.303" v="4070" actId="700"/>
          <ac:spMkLst>
            <pc:docMk/>
            <pc:sldMk cId="4017702559" sldId="2147469667"/>
            <ac:spMk id="2" creationId="{A2EDDD47-2518-F47B-F5DD-7A3A42BB7475}"/>
          </ac:spMkLst>
        </pc:spChg>
        <pc:spChg chg="del mod ord">
          <ac:chgData name="Reuben Issac Jacob" userId="a26d73c9-1689-41bd-af50-ef825e838770" providerId="ADAL" clId="{F452BC9E-5BE8-4A0B-9F00-66A7219A31DE}" dt="2022-06-30T14:33:34.994" v="3908" actId="478"/>
          <ac:spMkLst>
            <pc:docMk/>
            <pc:sldMk cId="4017702559" sldId="2147469667"/>
            <ac:spMk id="3" creationId="{13F2FAFC-CAF7-4190-C7A7-40881695B175}"/>
          </ac:spMkLst>
        </pc:spChg>
        <pc:spChg chg="add del mod">
          <ac:chgData name="Reuben Issac Jacob" userId="a26d73c9-1689-41bd-af50-ef825e838770" providerId="ADAL" clId="{F452BC9E-5BE8-4A0B-9F00-66A7219A31DE}" dt="2022-06-30T14:36:05.699" v="3983" actId="478"/>
          <ac:spMkLst>
            <pc:docMk/>
            <pc:sldMk cId="4017702559" sldId="2147469667"/>
            <ac:spMk id="4" creationId="{09143500-4C10-5505-134D-C9B78B9CEF09}"/>
          </ac:spMkLst>
        </pc:spChg>
        <pc:spChg chg="add del mod">
          <ac:chgData name="Reuben Issac Jacob" userId="a26d73c9-1689-41bd-af50-ef825e838770" providerId="ADAL" clId="{F452BC9E-5BE8-4A0B-9F00-66A7219A31DE}" dt="2022-06-30T14:38:29.875" v="4060" actId="478"/>
          <ac:spMkLst>
            <pc:docMk/>
            <pc:sldMk cId="4017702559" sldId="2147469667"/>
            <ac:spMk id="5" creationId="{44272255-E733-0435-E840-08CBC4854D6C}"/>
          </ac:spMkLst>
        </pc:spChg>
        <pc:spChg chg="add del mod">
          <ac:chgData name="Reuben Issac Jacob" userId="a26d73c9-1689-41bd-af50-ef825e838770" providerId="ADAL" clId="{F452BC9E-5BE8-4A0B-9F00-66A7219A31DE}" dt="2022-06-30T14:38:51.092" v="4068"/>
          <ac:spMkLst>
            <pc:docMk/>
            <pc:sldMk cId="4017702559" sldId="2147469667"/>
            <ac:spMk id="6" creationId="{1FFD0D60-B77E-4482-D845-30150F6ECE5B}"/>
          </ac:spMkLst>
        </pc:spChg>
        <pc:spChg chg="add del mod ord">
          <ac:chgData name="Reuben Issac Jacob" userId="a26d73c9-1689-41bd-af50-ef825e838770" providerId="ADAL" clId="{F452BC9E-5BE8-4A0B-9F00-66A7219A31DE}" dt="2022-06-30T14:39:03.303" v="4070" actId="700"/>
          <ac:spMkLst>
            <pc:docMk/>
            <pc:sldMk cId="4017702559" sldId="2147469667"/>
            <ac:spMk id="7" creationId="{40609874-4E47-A663-DAEF-C3B1C5F5B958}"/>
          </ac:spMkLst>
        </pc:spChg>
      </pc:sldChg>
      <pc:sldChg chg="addSp delSp modSp mod modAnim">
        <pc:chgData name="Reuben Issac Jacob" userId="a26d73c9-1689-41bd-af50-ef825e838770" providerId="ADAL" clId="{F452BC9E-5BE8-4A0B-9F00-66A7219A31DE}" dt="2022-06-29T20:46:38.710" v="3887" actId="478"/>
        <pc:sldMkLst>
          <pc:docMk/>
          <pc:sldMk cId="2454618038" sldId="2147470023"/>
        </pc:sldMkLst>
        <pc:spChg chg="del">
          <ac:chgData name="Reuben Issac Jacob" userId="a26d73c9-1689-41bd-af50-ef825e838770" providerId="ADAL" clId="{F452BC9E-5BE8-4A0B-9F00-66A7219A31DE}" dt="2022-06-29T05:40:43.636" v="784" actId="478"/>
          <ac:spMkLst>
            <pc:docMk/>
            <pc:sldMk cId="2454618038" sldId="2147470023"/>
            <ac:spMk id="2" creationId="{E2594403-DB69-49BE-BBA8-4D72115A5000}"/>
          </ac:spMkLst>
        </pc:spChg>
        <pc:spChg chg="add mod">
          <ac:chgData name="Reuben Issac Jacob" userId="a26d73c9-1689-41bd-af50-ef825e838770" providerId="ADAL" clId="{F452BC9E-5BE8-4A0B-9F00-66A7219A31DE}" dt="2022-06-29T05:41:00.335" v="788"/>
          <ac:spMkLst>
            <pc:docMk/>
            <pc:sldMk cId="2454618038" sldId="2147470023"/>
            <ac:spMk id="4" creationId="{561B1760-E2FC-7A5F-BF32-323A73117999}"/>
          </ac:spMkLst>
        </pc:spChg>
        <pc:spChg chg="del">
          <ac:chgData name="Reuben Issac Jacob" userId="a26d73c9-1689-41bd-af50-ef825e838770" providerId="ADAL" clId="{F452BC9E-5BE8-4A0B-9F00-66A7219A31DE}" dt="2022-06-29T05:41:09.502" v="789" actId="478"/>
          <ac:spMkLst>
            <pc:docMk/>
            <pc:sldMk cId="2454618038" sldId="2147470023"/>
            <ac:spMk id="13" creationId="{FC79FBD8-EE95-4196-9674-2EE1C1F1442F}"/>
          </ac:spMkLst>
        </pc:spChg>
        <pc:spChg chg="mod">
          <ac:chgData name="Reuben Issac Jacob" userId="a26d73c9-1689-41bd-af50-ef825e838770" providerId="ADAL" clId="{F452BC9E-5BE8-4A0B-9F00-66A7219A31DE}" dt="2022-06-29T05:44:14.128" v="830" actId="1076"/>
          <ac:spMkLst>
            <pc:docMk/>
            <pc:sldMk cId="2454618038" sldId="2147470023"/>
            <ac:spMk id="17" creationId="{700511AC-75F1-4DF5-8D4B-33FACA2D3292}"/>
          </ac:spMkLst>
        </pc:spChg>
        <pc:spChg chg="mod">
          <ac:chgData name="Reuben Issac Jacob" userId="a26d73c9-1689-41bd-af50-ef825e838770" providerId="ADAL" clId="{F452BC9E-5BE8-4A0B-9F00-66A7219A31DE}" dt="2022-06-29T05:44:14.128" v="830" actId="1076"/>
          <ac:spMkLst>
            <pc:docMk/>
            <pc:sldMk cId="2454618038" sldId="2147470023"/>
            <ac:spMk id="19" creationId="{11A787F9-987D-4D9C-9EB1-B0957D0CE538}"/>
          </ac:spMkLst>
        </pc:spChg>
        <pc:spChg chg="mod">
          <ac:chgData name="Reuben Issac Jacob" userId="a26d73c9-1689-41bd-af50-ef825e838770" providerId="ADAL" clId="{F452BC9E-5BE8-4A0B-9F00-66A7219A31DE}" dt="2022-06-29T05:43:32.604" v="822" actId="1076"/>
          <ac:spMkLst>
            <pc:docMk/>
            <pc:sldMk cId="2454618038" sldId="2147470023"/>
            <ac:spMk id="21" creationId="{044E03C5-0F0F-4212-A17B-4FDADD313CF0}"/>
          </ac:spMkLst>
        </pc:spChg>
        <pc:spChg chg="mod">
          <ac:chgData name="Reuben Issac Jacob" userId="a26d73c9-1689-41bd-af50-ef825e838770" providerId="ADAL" clId="{F452BC9E-5BE8-4A0B-9F00-66A7219A31DE}" dt="2022-06-29T05:43:26.584" v="821" actId="1076"/>
          <ac:spMkLst>
            <pc:docMk/>
            <pc:sldMk cId="2454618038" sldId="2147470023"/>
            <ac:spMk id="25" creationId="{DDB52218-AA03-4E64-A070-1CBBCD237393}"/>
          </ac:spMkLst>
        </pc:spChg>
        <pc:spChg chg="del">
          <ac:chgData name="Reuben Issac Jacob" userId="a26d73c9-1689-41bd-af50-ef825e838770" providerId="ADAL" clId="{F452BC9E-5BE8-4A0B-9F00-66A7219A31DE}" dt="2022-06-29T05:40:44.732" v="785" actId="478"/>
          <ac:spMkLst>
            <pc:docMk/>
            <pc:sldMk cId="2454618038" sldId="2147470023"/>
            <ac:spMk id="30" creationId="{8FEE0B3D-D0D6-41DA-82EE-4316E7225214}"/>
          </ac:spMkLst>
        </pc:spChg>
        <pc:spChg chg="mod">
          <ac:chgData name="Reuben Issac Jacob" userId="a26d73c9-1689-41bd-af50-ef825e838770" providerId="ADAL" clId="{F452BC9E-5BE8-4A0B-9F00-66A7219A31DE}" dt="2022-06-29T05:43:26.584" v="821" actId="1076"/>
          <ac:spMkLst>
            <pc:docMk/>
            <pc:sldMk cId="2454618038" sldId="2147470023"/>
            <ac:spMk id="55" creationId="{33EDB47E-F37F-4368-9AF4-6D35660BE92C}"/>
          </ac:spMkLst>
        </pc:spChg>
        <pc:grpChg chg="add mod">
          <ac:chgData name="Reuben Issac Jacob" userId="a26d73c9-1689-41bd-af50-ef825e838770" providerId="ADAL" clId="{F452BC9E-5BE8-4A0B-9F00-66A7219A31DE}" dt="2022-06-29T05:43:32.604" v="822" actId="1076"/>
          <ac:grpSpMkLst>
            <pc:docMk/>
            <pc:sldMk cId="2454618038" sldId="2147470023"/>
            <ac:grpSpMk id="5" creationId="{678E6242-1627-FC20-07B7-E75B2724BD2D}"/>
          </ac:grpSpMkLst>
        </pc:grpChg>
        <pc:grpChg chg="add mod">
          <ac:chgData name="Reuben Issac Jacob" userId="a26d73c9-1689-41bd-af50-ef825e838770" providerId="ADAL" clId="{F452BC9E-5BE8-4A0B-9F00-66A7219A31DE}" dt="2022-06-29T05:43:26.584" v="821" actId="1076"/>
          <ac:grpSpMkLst>
            <pc:docMk/>
            <pc:sldMk cId="2454618038" sldId="2147470023"/>
            <ac:grpSpMk id="6" creationId="{678C55D5-CCC8-2DDD-7199-C17009A7B230}"/>
          </ac:grpSpMkLst>
        </pc:grpChg>
        <pc:grpChg chg="add mod">
          <ac:chgData name="Reuben Issac Jacob" userId="a26d73c9-1689-41bd-af50-ef825e838770" providerId="ADAL" clId="{F452BC9E-5BE8-4A0B-9F00-66A7219A31DE}" dt="2022-06-29T05:43:26.584" v="821" actId="1076"/>
          <ac:grpSpMkLst>
            <pc:docMk/>
            <pc:sldMk cId="2454618038" sldId="2147470023"/>
            <ac:grpSpMk id="7" creationId="{2AF1D9A4-4B43-AFC3-7AF0-BDB183B80D94}"/>
          </ac:grpSpMkLst>
        </pc:grpChg>
        <pc:grpChg chg="add mod">
          <ac:chgData name="Reuben Issac Jacob" userId="a26d73c9-1689-41bd-af50-ef825e838770" providerId="ADAL" clId="{F452BC9E-5BE8-4A0B-9F00-66A7219A31DE}" dt="2022-06-29T05:42:55.380" v="814" actId="164"/>
          <ac:grpSpMkLst>
            <pc:docMk/>
            <pc:sldMk cId="2454618038" sldId="2147470023"/>
            <ac:grpSpMk id="12" creationId="{29C6B066-A7D7-391C-B849-95051765AC6B}"/>
          </ac:grpSpMkLst>
        </pc:grpChg>
        <pc:grpChg chg="add del mod">
          <ac:chgData name="Reuben Issac Jacob" userId="a26d73c9-1689-41bd-af50-ef825e838770" providerId="ADAL" clId="{F452BC9E-5BE8-4A0B-9F00-66A7219A31DE}" dt="2022-06-29T05:43:47.111" v="826" actId="165"/>
          <ac:grpSpMkLst>
            <pc:docMk/>
            <pc:sldMk cId="2454618038" sldId="2147470023"/>
            <ac:grpSpMk id="14" creationId="{68658B40-C8DF-4CDF-AFAD-AAB23AEE1968}"/>
          </ac:grpSpMkLst>
        </pc:grpChg>
        <pc:grpChg chg="del">
          <ac:chgData name="Reuben Issac Jacob" userId="a26d73c9-1689-41bd-af50-ef825e838770" providerId="ADAL" clId="{F452BC9E-5BE8-4A0B-9F00-66A7219A31DE}" dt="2022-06-29T20:46:38.710" v="3887" actId="478"/>
          <ac:grpSpMkLst>
            <pc:docMk/>
            <pc:sldMk cId="2454618038" sldId="2147470023"/>
            <ac:grpSpMk id="24" creationId="{724F6DB4-D552-4039-8FFD-6474146311A0}"/>
          </ac:grpSpMkLst>
        </pc:grpChg>
        <pc:grpChg chg="mod">
          <ac:chgData name="Reuben Issac Jacob" userId="a26d73c9-1689-41bd-af50-ef825e838770" providerId="ADAL" clId="{F452BC9E-5BE8-4A0B-9F00-66A7219A31DE}" dt="2022-06-29T05:43:26.584" v="821" actId="1076"/>
          <ac:grpSpMkLst>
            <pc:docMk/>
            <pc:sldMk cId="2454618038" sldId="2147470023"/>
            <ac:grpSpMk id="36" creationId="{03785061-5D21-44D1-B691-1F852A57C4A6}"/>
          </ac:grpSpMkLst>
        </pc:grpChg>
        <pc:picChg chg="del">
          <ac:chgData name="Reuben Issac Jacob" userId="a26d73c9-1689-41bd-af50-ef825e838770" providerId="ADAL" clId="{F452BC9E-5BE8-4A0B-9F00-66A7219A31DE}" dt="2022-06-29T20:46:38.710" v="3887" actId="478"/>
          <ac:picMkLst>
            <pc:docMk/>
            <pc:sldMk cId="2454618038" sldId="2147470023"/>
            <ac:picMk id="23" creationId="{66E7CF6E-602A-40B3-BC34-C08CAC27CCF2}"/>
          </ac:picMkLst>
        </pc:picChg>
        <pc:picChg chg="mod">
          <ac:chgData name="Reuben Issac Jacob" userId="a26d73c9-1689-41bd-af50-ef825e838770" providerId="ADAL" clId="{F452BC9E-5BE8-4A0B-9F00-66A7219A31DE}" dt="2022-06-29T05:43:26.584" v="821" actId="1076"/>
          <ac:picMkLst>
            <pc:docMk/>
            <pc:sldMk cId="2454618038" sldId="2147470023"/>
            <ac:picMk id="28" creationId="{ECEBE252-E364-4E7D-BAEC-43F47CC2C6EE}"/>
          </ac:picMkLst>
        </pc:picChg>
        <pc:picChg chg="del">
          <ac:chgData name="Reuben Issac Jacob" userId="a26d73c9-1689-41bd-af50-ef825e838770" providerId="ADAL" clId="{F452BC9E-5BE8-4A0B-9F00-66A7219A31DE}" dt="2022-06-29T05:40:36.481" v="783" actId="478"/>
          <ac:picMkLst>
            <pc:docMk/>
            <pc:sldMk cId="2454618038" sldId="2147470023"/>
            <ac:picMk id="38" creationId="{0FC84521-CC24-498C-873F-0EFB7248DBF9}"/>
          </ac:picMkLst>
        </pc:picChg>
        <pc:picChg chg="mod">
          <ac:chgData name="Reuben Issac Jacob" userId="a26d73c9-1689-41bd-af50-ef825e838770" providerId="ADAL" clId="{F452BC9E-5BE8-4A0B-9F00-66A7219A31DE}" dt="2022-06-29T05:43:26.584" v="821" actId="1076"/>
          <ac:picMkLst>
            <pc:docMk/>
            <pc:sldMk cId="2454618038" sldId="2147470023"/>
            <ac:picMk id="51" creationId="{5F3E30BA-4659-4316-B7B8-1FDCA5DB68CF}"/>
          </ac:picMkLst>
        </pc:picChg>
        <pc:picChg chg="mod">
          <ac:chgData name="Reuben Issac Jacob" userId="a26d73c9-1689-41bd-af50-ef825e838770" providerId="ADAL" clId="{F452BC9E-5BE8-4A0B-9F00-66A7219A31DE}" dt="2022-06-29T05:43:26.584" v="821" actId="1076"/>
          <ac:picMkLst>
            <pc:docMk/>
            <pc:sldMk cId="2454618038" sldId="2147470023"/>
            <ac:picMk id="52" creationId="{B0C79B0F-8421-42CC-9803-6EDD1BF67C67}"/>
          </ac:picMkLst>
        </pc:picChg>
        <pc:picChg chg="mod">
          <ac:chgData name="Reuben Issac Jacob" userId="a26d73c9-1689-41bd-af50-ef825e838770" providerId="ADAL" clId="{F452BC9E-5BE8-4A0B-9F00-66A7219A31DE}" dt="2022-06-29T05:43:26.584" v="821" actId="1076"/>
          <ac:picMkLst>
            <pc:docMk/>
            <pc:sldMk cId="2454618038" sldId="2147470023"/>
            <ac:picMk id="53" creationId="{1DB1B8FE-B1AB-44D6-B9E0-E49F3F6D87EE}"/>
          </ac:picMkLst>
        </pc:picChg>
        <pc:picChg chg="mod">
          <ac:chgData name="Reuben Issac Jacob" userId="a26d73c9-1689-41bd-af50-ef825e838770" providerId="ADAL" clId="{F452BC9E-5BE8-4A0B-9F00-66A7219A31DE}" dt="2022-06-29T05:43:32.604" v="822" actId="1076"/>
          <ac:picMkLst>
            <pc:docMk/>
            <pc:sldMk cId="2454618038" sldId="2147470023"/>
            <ac:picMk id="6148" creationId="{85BCE707-8AB6-49D2-AF37-D0F479D27967}"/>
          </ac:picMkLst>
        </pc:picChg>
        <pc:cxnChg chg="mod topLvl">
          <ac:chgData name="Reuben Issac Jacob" userId="a26d73c9-1689-41bd-af50-ef825e838770" providerId="ADAL" clId="{F452BC9E-5BE8-4A0B-9F00-66A7219A31DE}" dt="2022-06-29T05:43:56.877" v="827" actId="408"/>
          <ac:cxnSpMkLst>
            <pc:docMk/>
            <pc:sldMk cId="2454618038" sldId="2147470023"/>
            <ac:cxnSpMk id="10" creationId="{06A57F66-DBCB-45BB-8361-ABEE78831BFA}"/>
          </ac:cxnSpMkLst>
        </pc:cxnChg>
        <pc:cxnChg chg="mod topLvl">
          <ac:chgData name="Reuben Issac Jacob" userId="a26d73c9-1689-41bd-af50-ef825e838770" providerId="ADAL" clId="{F452BC9E-5BE8-4A0B-9F00-66A7219A31DE}" dt="2022-06-29T05:43:47.111" v="826" actId="165"/>
          <ac:cxnSpMkLst>
            <pc:docMk/>
            <pc:sldMk cId="2454618038" sldId="2147470023"/>
            <ac:cxnSpMk id="33" creationId="{7B2825BB-27B4-439B-99ED-44F938C6DFDB}"/>
          </ac:cxnSpMkLst>
        </pc:cxnChg>
      </pc:sldChg>
      <pc:sldChg chg="addSp delSp modSp mod delAnim modAnim">
        <pc:chgData name="Reuben Issac Jacob" userId="a26d73c9-1689-41bd-af50-ef825e838770" providerId="ADAL" clId="{F452BC9E-5BE8-4A0B-9F00-66A7219A31DE}" dt="2022-06-29T20:45:44.155" v="3886"/>
        <pc:sldMkLst>
          <pc:docMk/>
          <pc:sldMk cId="1038962183" sldId="2147470184"/>
        </pc:sldMkLst>
        <pc:spChg chg="add mod">
          <ac:chgData name="Reuben Issac Jacob" userId="a26d73c9-1689-41bd-af50-ef825e838770" providerId="ADAL" clId="{F452BC9E-5BE8-4A0B-9F00-66A7219A31DE}" dt="2022-06-29T04:40:10.389" v="141"/>
          <ac:spMkLst>
            <pc:docMk/>
            <pc:sldMk cId="1038962183" sldId="2147470184"/>
            <ac:spMk id="3" creationId="{B2BE23C9-2E71-0FA2-FCF1-06056C4E77B1}"/>
          </ac:spMkLst>
        </pc:spChg>
        <pc:spChg chg="mod">
          <ac:chgData name="Reuben Issac Jacob" userId="a26d73c9-1689-41bd-af50-ef825e838770" providerId="ADAL" clId="{F452BC9E-5BE8-4A0B-9F00-66A7219A31DE}" dt="2022-06-29T05:38:38.101" v="776" actId="1076"/>
          <ac:spMkLst>
            <pc:docMk/>
            <pc:sldMk cId="1038962183" sldId="2147470184"/>
            <ac:spMk id="12" creationId="{488A6809-67B7-4FD0-A255-C938E0882764}"/>
          </ac:spMkLst>
        </pc:spChg>
        <pc:spChg chg="del">
          <ac:chgData name="Reuben Issac Jacob" userId="a26d73c9-1689-41bd-af50-ef825e838770" providerId="ADAL" clId="{F452BC9E-5BE8-4A0B-9F00-66A7219A31DE}" dt="2022-06-29T04:40:05.585" v="139" actId="478"/>
          <ac:spMkLst>
            <pc:docMk/>
            <pc:sldMk cId="1038962183" sldId="2147470184"/>
            <ac:spMk id="14" creationId="{E9D835F7-FE59-4D41-ACDE-8B123E9F315B}"/>
          </ac:spMkLst>
        </pc:spChg>
        <pc:spChg chg="mod">
          <ac:chgData name="Reuben Issac Jacob" userId="a26d73c9-1689-41bd-af50-ef825e838770" providerId="ADAL" clId="{F452BC9E-5BE8-4A0B-9F00-66A7219A31DE}" dt="2022-06-29T04:44:28.495" v="215" actId="2711"/>
          <ac:spMkLst>
            <pc:docMk/>
            <pc:sldMk cId="1038962183" sldId="2147470184"/>
            <ac:spMk id="22" creationId="{B067B45C-1B9E-4189-A86E-8D9058D48519}"/>
          </ac:spMkLst>
        </pc:spChg>
        <pc:spChg chg="mod">
          <ac:chgData name="Reuben Issac Jacob" userId="a26d73c9-1689-41bd-af50-ef825e838770" providerId="ADAL" clId="{F452BC9E-5BE8-4A0B-9F00-66A7219A31DE}" dt="2022-06-29T04:44:36.168" v="216" actId="2711"/>
          <ac:spMkLst>
            <pc:docMk/>
            <pc:sldMk cId="1038962183" sldId="2147470184"/>
            <ac:spMk id="23" creationId="{4D4BB0DC-7FF5-4641-943D-8D6BA03107BC}"/>
          </ac:spMkLst>
        </pc:spChg>
        <pc:spChg chg="mod">
          <ac:chgData name="Reuben Issac Jacob" userId="a26d73c9-1689-41bd-af50-ef825e838770" providerId="ADAL" clId="{F452BC9E-5BE8-4A0B-9F00-66A7219A31DE}" dt="2022-06-29T04:41:49.739" v="189" actId="12789"/>
          <ac:spMkLst>
            <pc:docMk/>
            <pc:sldMk cId="1038962183" sldId="2147470184"/>
            <ac:spMk id="35" creationId="{0A57F3E4-090E-4B5B-87C4-6D6084DEA3A8}"/>
          </ac:spMkLst>
        </pc:spChg>
        <pc:spChg chg="mod">
          <ac:chgData name="Reuben Issac Jacob" userId="a26d73c9-1689-41bd-af50-ef825e838770" providerId="ADAL" clId="{F452BC9E-5BE8-4A0B-9F00-66A7219A31DE}" dt="2022-06-29T05:37:55.275" v="769" actId="207"/>
          <ac:spMkLst>
            <pc:docMk/>
            <pc:sldMk cId="1038962183" sldId="2147470184"/>
            <ac:spMk id="36" creationId="{492D2A3F-BDD8-4778-AF19-61BAFA5899C6}"/>
          </ac:spMkLst>
        </pc:spChg>
        <pc:spChg chg="mod">
          <ac:chgData name="Reuben Issac Jacob" userId="a26d73c9-1689-41bd-af50-ef825e838770" providerId="ADAL" clId="{F452BC9E-5BE8-4A0B-9F00-66A7219A31DE}" dt="2022-06-29T04:41:49.739" v="189" actId="12789"/>
          <ac:spMkLst>
            <pc:docMk/>
            <pc:sldMk cId="1038962183" sldId="2147470184"/>
            <ac:spMk id="37" creationId="{F6DC337C-0B50-453A-B91C-A37A54A67A24}"/>
          </ac:spMkLst>
        </pc:spChg>
        <pc:spChg chg="mod">
          <ac:chgData name="Reuben Issac Jacob" userId="a26d73c9-1689-41bd-af50-ef825e838770" providerId="ADAL" clId="{F452BC9E-5BE8-4A0B-9F00-66A7219A31DE}" dt="2022-06-29T04:41:49.739" v="189" actId="12789"/>
          <ac:spMkLst>
            <pc:docMk/>
            <pc:sldMk cId="1038962183" sldId="2147470184"/>
            <ac:spMk id="38" creationId="{48BC8BE9-F239-4FD4-B96B-D8AA63943F74}"/>
          </ac:spMkLst>
        </pc:spChg>
        <pc:spChg chg="mod">
          <ac:chgData name="Reuben Issac Jacob" userId="a26d73c9-1689-41bd-af50-ef825e838770" providerId="ADAL" clId="{F452BC9E-5BE8-4A0B-9F00-66A7219A31DE}" dt="2022-06-29T04:41:49.739" v="189" actId="12789"/>
          <ac:spMkLst>
            <pc:docMk/>
            <pc:sldMk cId="1038962183" sldId="2147470184"/>
            <ac:spMk id="39" creationId="{F0CC75D3-C331-480D-995E-3112BDC6824F}"/>
          </ac:spMkLst>
        </pc:spChg>
        <pc:spChg chg="mod">
          <ac:chgData name="Reuben Issac Jacob" userId="a26d73c9-1689-41bd-af50-ef825e838770" providerId="ADAL" clId="{F452BC9E-5BE8-4A0B-9F00-66A7219A31DE}" dt="2022-06-29T04:41:49.739" v="189" actId="12789"/>
          <ac:spMkLst>
            <pc:docMk/>
            <pc:sldMk cId="1038962183" sldId="2147470184"/>
            <ac:spMk id="40" creationId="{8EB72829-36F9-46EE-AE71-C008A2746356}"/>
          </ac:spMkLst>
        </pc:spChg>
        <pc:spChg chg="mod">
          <ac:chgData name="Reuben Issac Jacob" userId="a26d73c9-1689-41bd-af50-ef825e838770" providerId="ADAL" clId="{F452BC9E-5BE8-4A0B-9F00-66A7219A31DE}" dt="2022-06-29T04:41:49.739" v="189" actId="12789"/>
          <ac:spMkLst>
            <pc:docMk/>
            <pc:sldMk cId="1038962183" sldId="2147470184"/>
            <ac:spMk id="41" creationId="{E5DF2BDB-C1B3-4570-8B04-07D61769DFC7}"/>
          </ac:spMkLst>
        </pc:spChg>
        <pc:spChg chg="mod">
          <ac:chgData name="Reuben Issac Jacob" userId="a26d73c9-1689-41bd-af50-ef825e838770" providerId="ADAL" clId="{F452BC9E-5BE8-4A0B-9F00-66A7219A31DE}" dt="2022-06-29T04:41:49.739" v="189" actId="12789"/>
          <ac:spMkLst>
            <pc:docMk/>
            <pc:sldMk cId="1038962183" sldId="2147470184"/>
            <ac:spMk id="42" creationId="{778EA793-F9D8-4F25-8DC6-75E4CD3F21A9}"/>
          </ac:spMkLst>
        </pc:spChg>
        <pc:spChg chg="mod">
          <ac:chgData name="Reuben Issac Jacob" userId="a26d73c9-1689-41bd-af50-ef825e838770" providerId="ADAL" clId="{F452BC9E-5BE8-4A0B-9F00-66A7219A31DE}" dt="2022-06-29T04:41:49.739" v="189" actId="12789"/>
          <ac:spMkLst>
            <pc:docMk/>
            <pc:sldMk cId="1038962183" sldId="2147470184"/>
            <ac:spMk id="43" creationId="{6342B032-EA6C-4977-A4B6-763DBDBE07C1}"/>
          </ac:spMkLst>
        </pc:spChg>
        <pc:spChg chg="mod">
          <ac:chgData name="Reuben Issac Jacob" userId="a26d73c9-1689-41bd-af50-ef825e838770" providerId="ADAL" clId="{F452BC9E-5BE8-4A0B-9F00-66A7219A31DE}" dt="2022-06-29T04:41:49.739" v="189" actId="12789"/>
          <ac:spMkLst>
            <pc:docMk/>
            <pc:sldMk cId="1038962183" sldId="2147470184"/>
            <ac:spMk id="44" creationId="{3EB76548-90AC-487F-A9A4-8427F89C9A39}"/>
          </ac:spMkLst>
        </pc:spChg>
        <pc:spChg chg="mod">
          <ac:chgData name="Reuben Issac Jacob" userId="a26d73c9-1689-41bd-af50-ef825e838770" providerId="ADAL" clId="{F452BC9E-5BE8-4A0B-9F00-66A7219A31DE}" dt="2022-06-29T04:41:49.739" v="189" actId="12789"/>
          <ac:spMkLst>
            <pc:docMk/>
            <pc:sldMk cId="1038962183" sldId="2147470184"/>
            <ac:spMk id="45" creationId="{9025D55B-3F42-4708-8ADB-824C79A24135}"/>
          </ac:spMkLst>
        </pc:spChg>
        <pc:spChg chg="mod">
          <ac:chgData name="Reuben Issac Jacob" userId="a26d73c9-1689-41bd-af50-ef825e838770" providerId="ADAL" clId="{F452BC9E-5BE8-4A0B-9F00-66A7219A31DE}" dt="2022-06-29T04:41:49.739" v="189" actId="12789"/>
          <ac:spMkLst>
            <pc:docMk/>
            <pc:sldMk cId="1038962183" sldId="2147470184"/>
            <ac:spMk id="46" creationId="{C278688A-36E0-4CFA-A590-840B6C8AD020}"/>
          </ac:spMkLst>
        </pc:spChg>
        <pc:spChg chg="mod">
          <ac:chgData name="Reuben Issac Jacob" userId="a26d73c9-1689-41bd-af50-ef825e838770" providerId="ADAL" clId="{F452BC9E-5BE8-4A0B-9F00-66A7219A31DE}" dt="2022-06-29T04:41:49.739" v="189" actId="12789"/>
          <ac:spMkLst>
            <pc:docMk/>
            <pc:sldMk cId="1038962183" sldId="2147470184"/>
            <ac:spMk id="47" creationId="{48678C07-4CC2-4110-9692-FB677D5FD11E}"/>
          </ac:spMkLst>
        </pc:spChg>
        <pc:spChg chg="mod">
          <ac:chgData name="Reuben Issac Jacob" userId="a26d73c9-1689-41bd-af50-ef825e838770" providerId="ADAL" clId="{F452BC9E-5BE8-4A0B-9F00-66A7219A31DE}" dt="2022-06-29T04:41:49.739" v="189" actId="12789"/>
          <ac:spMkLst>
            <pc:docMk/>
            <pc:sldMk cId="1038962183" sldId="2147470184"/>
            <ac:spMk id="48" creationId="{A0476DDF-E6C4-4632-9E27-62F5FD8D5E9E}"/>
          </ac:spMkLst>
        </pc:spChg>
        <pc:spChg chg="mod">
          <ac:chgData name="Reuben Issac Jacob" userId="a26d73c9-1689-41bd-af50-ef825e838770" providerId="ADAL" clId="{F452BC9E-5BE8-4A0B-9F00-66A7219A31DE}" dt="2022-06-29T04:41:49.739" v="189" actId="12789"/>
          <ac:spMkLst>
            <pc:docMk/>
            <pc:sldMk cId="1038962183" sldId="2147470184"/>
            <ac:spMk id="49" creationId="{D81F06D7-A9CD-4FCF-8169-E61D7BDC28AF}"/>
          </ac:spMkLst>
        </pc:spChg>
        <pc:spChg chg="mod">
          <ac:chgData name="Reuben Issac Jacob" userId="a26d73c9-1689-41bd-af50-ef825e838770" providerId="ADAL" clId="{F452BC9E-5BE8-4A0B-9F00-66A7219A31DE}" dt="2022-06-29T04:41:49.739" v="189" actId="12789"/>
          <ac:spMkLst>
            <pc:docMk/>
            <pc:sldMk cId="1038962183" sldId="2147470184"/>
            <ac:spMk id="50" creationId="{3E69BDAF-4336-4CBE-8F21-A9662B74D654}"/>
          </ac:spMkLst>
        </pc:spChg>
        <pc:spChg chg="mod">
          <ac:chgData name="Reuben Issac Jacob" userId="a26d73c9-1689-41bd-af50-ef825e838770" providerId="ADAL" clId="{F452BC9E-5BE8-4A0B-9F00-66A7219A31DE}" dt="2022-06-29T05:38:06.198" v="771" actId="207"/>
          <ac:spMkLst>
            <pc:docMk/>
            <pc:sldMk cId="1038962183" sldId="2147470184"/>
            <ac:spMk id="51" creationId="{02AF2F6C-8FD7-4BF8-9B24-440BED3FA2C5}"/>
          </ac:spMkLst>
        </pc:spChg>
        <pc:spChg chg="mod">
          <ac:chgData name="Reuben Issac Jacob" userId="a26d73c9-1689-41bd-af50-ef825e838770" providerId="ADAL" clId="{F452BC9E-5BE8-4A0B-9F00-66A7219A31DE}" dt="2022-06-29T05:38:01.055" v="770" actId="207"/>
          <ac:spMkLst>
            <pc:docMk/>
            <pc:sldMk cId="1038962183" sldId="2147470184"/>
            <ac:spMk id="52" creationId="{A4CBD18F-441A-4C27-8A10-E9BD22CC1271}"/>
          </ac:spMkLst>
        </pc:spChg>
        <pc:spChg chg="mod">
          <ac:chgData name="Reuben Issac Jacob" userId="a26d73c9-1689-41bd-af50-ef825e838770" providerId="ADAL" clId="{F452BC9E-5BE8-4A0B-9F00-66A7219A31DE}" dt="2022-06-29T05:38:19.081" v="772" actId="207"/>
          <ac:spMkLst>
            <pc:docMk/>
            <pc:sldMk cId="1038962183" sldId="2147470184"/>
            <ac:spMk id="53" creationId="{888A6A2F-D95C-4895-B866-9E7F7C280FCA}"/>
          </ac:spMkLst>
        </pc:spChg>
        <pc:spChg chg="mod">
          <ac:chgData name="Reuben Issac Jacob" userId="a26d73c9-1689-41bd-af50-ef825e838770" providerId="ADAL" clId="{F452BC9E-5BE8-4A0B-9F00-66A7219A31DE}" dt="2022-06-29T05:39:32.647" v="780" actId="207"/>
          <ac:spMkLst>
            <pc:docMk/>
            <pc:sldMk cId="1038962183" sldId="2147470184"/>
            <ac:spMk id="54" creationId="{5A893374-30A3-4A22-8A97-5303C96024E6}"/>
          </ac:spMkLst>
        </pc:spChg>
        <pc:spChg chg="mod">
          <ac:chgData name="Reuben Issac Jacob" userId="a26d73c9-1689-41bd-af50-ef825e838770" providerId="ADAL" clId="{F452BC9E-5BE8-4A0B-9F00-66A7219A31DE}" dt="2022-06-29T04:41:49.739" v="189" actId="12789"/>
          <ac:spMkLst>
            <pc:docMk/>
            <pc:sldMk cId="1038962183" sldId="2147470184"/>
            <ac:spMk id="55" creationId="{81A60990-B7AC-45F5-9C52-DAF2976E07DF}"/>
          </ac:spMkLst>
        </pc:spChg>
        <pc:spChg chg="del">
          <ac:chgData name="Reuben Issac Jacob" userId="a26d73c9-1689-41bd-af50-ef825e838770" providerId="ADAL" clId="{F452BC9E-5BE8-4A0B-9F00-66A7219A31DE}" dt="2022-06-29T04:40:06.973" v="140" actId="478"/>
          <ac:spMkLst>
            <pc:docMk/>
            <pc:sldMk cId="1038962183" sldId="2147470184"/>
            <ac:spMk id="66" creationId="{421B7E0B-E3EF-4661-A7DD-3CB028331FEE}"/>
          </ac:spMkLst>
        </pc:spChg>
        <pc:spChg chg="mod">
          <ac:chgData name="Reuben Issac Jacob" userId="a26d73c9-1689-41bd-af50-ef825e838770" providerId="ADAL" clId="{F452BC9E-5BE8-4A0B-9F00-66A7219A31DE}" dt="2022-06-29T04:41:49.739" v="189" actId="12789"/>
          <ac:spMkLst>
            <pc:docMk/>
            <pc:sldMk cId="1038962183" sldId="2147470184"/>
            <ac:spMk id="74" creationId="{1C0A80AC-0E6B-4122-8F2D-97C11FF90003}"/>
          </ac:spMkLst>
        </pc:spChg>
        <pc:spChg chg="mod">
          <ac:chgData name="Reuben Issac Jacob" userId="a26d73c9-1689-41bd-af50-ef825e838770" providerId="ADAL" clId="{F452BC9E-5BE8-4A0B-9F00-66A7219A31DE}" dt="2022-06-29T04:41:49.739" v="189" actId="12789"/>
          <ac:spMkLst>
            <pc:docMk/>
            <pc:sldMk cId="1038962183" sldId="2147470184"/>
            <ac:spMk id="75" creationId="{17E3BC53-BF33-4BC6-8ABB-9B4D3E097AA8}"/>
          </ac:spMkLst>
        </pc:spChg>
        <pc:spChg chg="mod">
          <ac:chgData name="Reuben Issac Jacob" userId="a26d73c9-1689-41bd-af50-ef825e838770" providerId="ADAL" clId="{F452BC9E-5BE8-4A0B-9F00-66A7219A31DE}" dt="2022-06-29T04:41:49.739" v="189" actId="12789"/>
          <ac:spMkLst>
            <pc:docMk/>
            <pc:sldMk cId="1038962183" sldId="2147470184"/>
            <ac:spMk id="76" creationId="{70352267-66EF-439B-B2BC-E3238DC6C2E7}"/>
          </ac:spMkLst>
        </pc:spChg>
        <pc:spChg chg="mod">
          <ac:chgData name="Reuben Issac Jacob" userId="a26d73c9-1689-41bd-af50-ef825e838770" providerId="ADAL" clId="{F452BC9E-5BE8-4A0B-9F00-66A7219A31DE}" dt="2022-06-29T04:41:49.739" v="189" actId="12789"/>
          <ac:spMkLst>
            <pc:docMk/>
            <pc:sldMk cId="1038962183" sldId="2147470184"/>
            <ac:spMk id="77" creationId="{421B6D89-4E53-4887-A59A-0C1F71F5CD3C}"/>
          </ac:spMkLst>
        </pc:spChg>
        <pc:spChg chg="mod">
          <ac:chgData name="Reuben Issac Jacob" userId="a26d73c9-1689-41bd-af50-ef825e838770" providerId="ADAL" clId="{F452BC9E-5BE8-4A0B-9F00-66A7219A31DE}" dt="2022-06-29T04:41:49.739" v="189" actId="12789"/>
          <ac:spMkLst>
            <pc:docMk/>
            <pc:sldMk cId="1038962183" sldId="2147470184"/>
            <ac:spMk id="78" creationId="{56D041BE-8DE9-422A-8207-4A594D96F4AD}"/>
          </ac:spMkLst>
        </pc:spChg>
        <pc:spChg chg="mod">
          <ac:chgData name="Reuben Issac Jacob" userId="a26d73c9-1689-41bd-af50-ef825e838770" providerId="ADAL" clId="{F452BC9E-5BE8-4A0B-9F00-66A7219A31DE}" dt="2022-06-29T04:41:49.739" v="189" actId="12789"/>
          <ac:spMkLst>
            <pc:docMk/>
            <pc:sldMk cId="1038962183" sldId="2147470184"/>
            <ac:spMk id="79" creationId="{1B9B160B-3B24-4FCB-8692-F2E3800737EE}"/>
          </ac:spMkLst>
        </pc:spChg>
        <pc:spChg chg="mod">
          <ac:chgData name="Reuben Issac Jacob" userId="a26d73c9-1689-41bd-af50-ef825e838770" providerId="ADAL" clId="{F452BC9E-5BE8-4A0B-9F00-66A7219A31DE}" dt="2022-06-29T04:41:49.739" v="189" actId="12789"/>
          <ac:spMkLst>
            <pc:docMk/>
            <pc:sldMk cId="1038962183" sldId="2147470184"/>
            <ac:spMk id="80" creationId="{BBD68869-068E-4477-8A1F-4A9F499B1B30}"/>
          </ac:spMkLst>
        </pc:spChg>
        <pc:spChg chg="mod">
          <ac:chgData name="Reuben Issac Jacob" userId="a26d73c9-1689-41bd-af50-ef825e838770" providerId="ADAL" clId="{F452BC9E-5BE8-4A0B-9F00-66A7219A31DE}" dt="2022-06-29T04:41:49.739" v="189" actId="12789"/>
          <ac:spMkLst>
            <pc:docMk/>
            <pc:sldMk cId="1038962183" sldId="2147470184"/>
            <ac:spMk id="81" creationId="{A665A361-FA8C-48F7-9BB6-A6600D9FAF90}"/>
          </ac:spMkLst>
        </pc:spChg>
        <pc:spChg chg="mod">
          <ac:chgData name="Reuben Issac Jacob" userId="a26d73c9-1689-41bd-af50-ef825e838770" providerId="ADAL" clId="{F452BC9E-5BE8-4A0B-9F00-66A7219A31DE}" dt="2022-06-29T04:41:49.739" v="189" actId="12789"/>
          <ac:spMkLst>
            <pc:docMk/>
            <pc:sldMk cId="1038962183" sldId="2147470184"/>
            <ac:spMk id="82" creationId="{53BCF912-599F-4F7B-9596-92CDE8BBFFA4}"/>
          </ac:spMkLst>
        </pc:spChg>
        <pc:spChg chg="mod">
          <ac:chgData name="Reuben Issac Jacob" userId="a26d73c9-1689-41bd-af50-ef825e838770" providerId="ADAL" clId="{F452BC9E-5BE8-4A0B-9F00-66A7219A31DE}" dt="2022-06-29T04:41:49.739" v="189" actId="12789"/>
          <ac:spMkLst>
            <pc:docMk/>
            <pc:sldMk cId="1038962183" sldId="2147470184"/>
            <ac:spMk id="83" creationId="{DFB584EB-EBBA-410D-A910-23B0FA96893A}"/>
          </ac:spMkLst>
        </pc:spChg>
        <pc:spChg chg="mod">
          <ac:chgData name="Reuben Issac Jacob" userId="a26d73c9-1689-41bd-af50-ef825e838770" providerId="ADAL" clId="{F452BC9E-5BE8-4A0B-9F00-66A7219A31DE}" dt="2022-06-29T04:41:49.739" v="189" actId="12789"/>
          <ac:spMkLst>
            <pc:docMk/>
            <pc:sldMk cId="1038962183" sldId="2147470184"/>
            <ac:spMk id="84" creationId="{F971B62D-2575-4437-847C-DD506838F68D}"/>
          </ac:spMkLst>
        </pc:spChg>
        <pc:spChg chg="mod">
          <ac:chgData name="Reuben Issac Jacob" userId="a26d73c9-1689-41bd-af50-ef825e838770" providerId="ADAL" clId="{F452BC9E-5BE8-4A0B-9F00-66A7219A31DE}" dt="2022-06-29T04:41:49.739" v="189" actId="12789"/>
          <ac:spMkLst>
            <pc:docMk/>
            <pc:sldMk cId="1038962183" sldId="2147470184"/>
            <ac:spMk id="85" creationId="{6FFF415F-EC00-445F-85DB-F409E7D8DAD2}"/>
          </ac:spMkLst>
        </pc:spChg>
        <pc:spChg chg="mod">
          <ac:chgData name="Reuben Issac Jacob" userId="a26d73c9-1689-41bd-af50-ef825e838770" providerId="ADAL" clId="{F452BC9E-5BE8-4A0B-9F00-66A7219A31DE}" dt="2022-06-29T04:41:49.739" v="189" actId="12789"/>
          <ac:spMkLst>
            <pc:docMk/>
            <pc:sldMk cId="1038962183" sldId="2147470184"/>
            <ac:spMk id="86" creationId="{83B0A760-4617-44CF-8ED0-76EF48CC8FFA}"/>
          </ac:spMkLst>
        </pc:spChg>
        <pc:spChg chg="mod">
          <ac:chgData name="Reuben Issac Jacob" userId="a26d73c9-1689-41bd-af50-ef825e838770" providerId="ADAL" clId="{F452BC9E-5BE8-4A0B-9F00-66A7219A31DE}" dt="2022-06-29T04:41:49.739" v="189" actId="12789"/>
          <ac:spMkLst>
            <pc:docMk/>
            <pc:sldMk cId="1038962183" sldId="2147470184"/>
            <ac:spMk id="87" creationId="{A792C1F2-EFE7-4DBA-8C80-E495C16D4A3E}"/>
          </ac:spMkLst>
        </pc:spChg>
        <pc:spChg chg="mod">
          <ac:chgData name="Reuben Issac Jacob" userId="a26d73c9-1689-41bd-af50-ef825e838770" providerId="ADAL" clId="{F452BC9E-5BE8-4A0B-9F00-66A7219A31DE}" dt="2022-06-29T04:41:49.739" v="189" actId="12789"/>
          <ac:spMkLst>
            <pc:docMk/>
            <pc:sldMk cId="1038962183" sldId="2147470184"/>
            <ac:spMk id="88" creationId="{A27CAC16-694D-4918-8D3E-5CED7FE78BC8}"/>
          </ac:spMkLst>
        </pc:spChg>
        <pc:spChg chg="mod">
          <ac:chgData name="Reuben Issac Jacob" userId="a26d73c9-1689-41bd-af50-ef825e838770" providerId="ADAL" clId="{F452BC9E-5BE8-4A0B-9F00-66A7219A31DE}" dt="2022-06-29T04:41:49.739" v="189" actId="12789"/>
          <ac:spMkLst>
            <pc:docMk/>
            <pc:sldMk cId="1038962183" sldId="2147470184"/>
            <ac:spMk id="89" creationId="{90A75BD2-E8F0-4834-AD8F-43B2578EC039}"/>
          </ac:spMkLst>
        </pc:spChg>
        <pc:spChg chg="mod">
          <ac:chgData name="Reuben Issac Jacob" userId="a26d73c9-1689-41bd-af50-ef825e838770" providerId="ADAL" clId="{F452BC9E-5BE8-4A0B-9F00-66A7219A31DE}" dt="2022-06-29T04:41:49.739" v="189" actId="12789"/>
          <ac:spMkLst>
            <pc:docMk/>
            <pc:sldMk cId="1038962183" sldId="2147470184"/>
            <ac:spMk id="90" creationId="{E995AE7F-906C-432B-9934-66E4D2222518}"/>
          </ac:spMkLst>
        </pc:spChg>
        <pc:grpChg chg="mod">
          <ac:chgData name="Reuben Issac Jacob" userId="a26d73c9-1689-41bd-af50-ef825e838770" providerId="ADAL" clId="{F452BC9E-5BE8-4A0B-9F00-66A7219A31DE}" dt="2022-06-29T04:41:49.739" v="189" actId="12789"/>
          <ac:grpSpMkLst>
            <pc:docMk/>
            <pc:sldMk cId="1038962183" sldId="2147470184"/>
            <ac:grpSpMk id="6" creationId="{AE82C453-F336-4453-8C87-CB6DB82D4646}"/>
          </ac:grpSpMkLst>
        </pc:grpChg>
        <pc:grpChg chg="mod">
          <ac:chgData name="Reuben Issac Jacob" userId="a26d73c9-1689-41bd-af50-ef825e838770" providerId="ADAL" clId="{F452BC9E-5BE8-4A0B-9F00-66A7219A31DE}" dt="2022-06-29T04:41:49.739" v="189" actId="12789"/>
          <ac:grpSpMkLst>
            <pc:docMk/>
            <pc:sldMk cId="1038962183" sldId="2147470184"/>
            <ac:grpSpMk id="7" creationId="{60EC79D2-59BE-4684-AEE3-8FB3D51CF00F}"/>
          </ac:grpSpMkLst>
        </pc:grpChg>
        <pc:grpChg chg="mod">
          <ac:chgData name="Reuben Issac Jacob" userId="a26d73c9-1689-41bd-af50-ef825e838770" providerId="ADAL" clId="{F452BC9E-5BE8-4A0B-9F00-66A7219A31DE}" dt="2022-06-29T04:41:49.739" v="189" actId="12789"/>
          <ac:grpSpMkLst>
            <pc:docMk/>
            <pc:sldMk cId="1038962183" sldId="2147470184"/>
            <ac:grpSpMk id="34" creationId="{D0477CC8-46EA-4171-9F11-7D55A1AB8FCE}"/>
          </ac:grpSpMkLst>
        </pc:grpChg>
        <pc:grpChg chg="del">
          <ac:chgData name="Reuben Issac Jacob" userId="a26d73c9-1689-41bd-af50-ef825e838770" providerId="ADAL" clId="{F452BC9E-5BE8-4A0B-9F00-66A7219A31DE}" dt="2022-06-29T05:18:31.088" v="615" actId="478"/>
          <ac:grpSpMkLst>
            <pc:docMk/>
            <pc:sldMk cId="1038962183" sldId="2147470184"/>
            <ac:grpSpMk id="61" creationId="{9CE71BCD-6619-4E97-909F-846F36F92512}"/>
          </ac:grpSpMkLst>
        </pc:grpChg>
        <pc:grpChg chg="mod">
          <ac:chgData name="Reuben Issac Jacob" userId="a26d73c9-1689-41bd-af50-ef825e838770" providerId="ADAL" clId="{F452BC9E-5BE8-4A0B-9F00-66A7219A31DE}" dt="2022-06-29T04:41:49.739" v="189" actId="12789"/>
          <ac:grpSpMkLst>
            <pc:docMk/>
            <pc:sldMk cId="1038962183" sldId="2147470184"/>
            <ac:grpSpMk id="73" creationId="{C688EDBD-E206-4BF0-98FB-164C60CA2CA8}"/>
          </ac:grpSpMkLst>
        </pc:grpChg>
        <pc:picChg chg="del">
          <ac:chgData name="Reuben Issac Jacob" userId="a26d73c9-1689-41bd-af50-ef825e838770" providerId="ADAL" clId="{F452BC9E-5BE8-4A0B-9F00-66A7219A31DE}" dt="2022-06-29T04:39:59.223" v="138" actId="478"/>
          <ac:picMkLst>
            <pc:docMk/>
            <pc:sldMk cId="1038962183" sldId="2147470184"/>
            <ac:picMk id="5" creationId="{9C83AD29-F958-4EB9-AD1C-17DD552C9F7A}"/>
          </ac:picMkLst>
        </pc:picChg>
        <pc:picChg chg="del">
          <ac:chgData name="Reuben Issac Jacob" userId="a26d73c9-1689-41bd-af50-ef825e838770" providerId="ADAL" clId="{F452BC9E-5BE8-4A0B-9F00-66A7219A31DE}" dt="2022-06-29T05:18:31.088" v="615" actId="478"/>
          <ac:picMkLst>
            <pc:docMk/>
            <pc:sldMk cId="1038962183" sldId="2147470184"/>
            <ac:picMk id="56" creationId="{D99903C7-C181-423A-9D31-C3CF0C3FCF74}"/>
          </ac:picMkLst>
        </pc:picChg>
      </pc:sldChg>
      <pc:sldChg chg="addSp delSp modSp mod modClrScheme delAnim modAnim chgLayout">
        <pc:chgData name="Reuben Issac Jacob" userId="a26d73c9-1689-41bd-af50-ef825e838770" providerId="ADAL" clId="{F452BC9E-5BE8-4A0B-9F00-66A7219A31DE}" dt="2022-06-29T14:54:21.313" v="3181" actId="122"/>
        <pc:sldMkLst>
          <pc:docMk/>
          <pc:sldMk cId="2526638429" sldId="2147470185"/>
        </pc:sldMkLst>
        <pc:spChg chg="add mod ord">
          <ac:chgData name="Reuben Issac Jacob" userId="a26d73c9-1689-41bd-af50-ef825e838770" providerId="ADAL" clId="{F452BC9E-5BE8-4A0B-9F00-66A7219A31DE}" dt="2022-06-29T04:42:20.035" v="196" actId="20577"/>
          <ac:spMkLst>
            <pc:docMk/>
            <pc:sldMk cId="2526638429" sldId="2147470185"/>
            <ac:spMk id="2" creationId="{EB02D97D-205C-7F12-F873-E7D031DF6CC8}"/>
          </ac:spMkLst>
        </pc:spChg>
        <pc:spChg chg="del">
          <ac:chgData name="Reuben Issac Jacob" userId="a26d73c9-1689-41bd-af50-ef825e838770" providerId="ADAL" clId="{F452BC9E-5BE8-4A0B-9F00-66A7219A31DE}" dt="2022-06-29T04:42:16.427" v="194" actId="478"/>
          <ac:spMkLst>
            <pc:docMk/>
            <pc:sldMk cId="2526638429" sldId="2147470185"/>
            <ac:spMk id="12" creationId="{488A6809-67B7-4FD0-A255-C938E0882764}"/>
          </ac:spMkLst>
        </pc:spChg>
        <pc:spChg chg="mod topLvl">
          <ac:chgData name="Reuben Issac Jacob" userId="a26d73c9-1689-41bd-af50-ef825e838770" providerId="ADAL" clId="{F452BC9E-5BE8-4A0B-9F00-66A7219A31DE}" dt="2022-06-29T05:01:32.843" v="375" actId="1035"/>
          <ac:spMkLst>
            <pc:docMk/>
            <pc:sldMk cId="2526638429" sldId="2147470185"/>
            <ac:spMk id="22" creationId="{B067B45C-1B9E-4189-A86E-8D9058D48519}"/>
          </ac:spMkLst>
        </pc:spChg>
        <pc:spChg chg="mod topLvl">
          <ac:chgData name="Reuben Issac Jacob" userId="a26d73c9-1689-41bd-af50-ef825e838770" providerId="ADAL" clId="{F452BC9E-5BE8-4A0B-9F00-66A7219A31DE}" dt="2022-06-29T05:01:32.843" v="375" actId="1035"/>
          <ac:spMkLst>
            <pc:docMk/>
            <pc:sldMk cId="2526638429" sldId="2147470185"/>
            <ac:spMk id="23" creationId="{4D4BB0DC-7FF5-4641-943D-8D6BA03107BC}"/>
          </ac:spMkLst>
        </pc:spChg>
        <pc:spChg chg="mod">
          <ac:chgData name="Reuben Issac Jacob" userId="a26d73c9-1689-41bd-af50-ef825e838770" providerId="ADAL" clId="{F452BC9E-5BE8-4A0B-9F00-66A7219A31DE}" dt="2022-06-29T05:01:32.843" v="375" actId="1035"/>
          <ac:spMkLst>
            <pc:docMk/>
            <pc:sldMk cId="2526638429" sldId="2147470185"/>
            <ac:spMk id="35" creationId="{0A57F3E4-090E-4B5B-87C4-6D6084DEA3A8}"/>
          </ac:spMkLst>
        </pc:spChg>
        <pc:spChg chg="mod">
          <ac:chgData name="Reuben Issac Jacob" userId="a26d73c9-1689-41bd-af50-ef825e838770" providerId="ADAL" clId="{F452BC9E-5BE8-4A0B-9F00-66A7219A31DE}" dt="2022-06-29T05:01:32.843" v="375" actId="1035"/>
          <ac:spMkLst>
            <pc:docMk/>
            <pc:sldMk cId="2526638429" sldId="2147470185"/>
            <ac:spMk id="36" creationId="{492D2A3F-BDD8-4778-AF19-61BAFA5899C6}"/>
          </ac:spMkLst>
        </pc:spChg>
        <pc:spChg chg="mod">
          <ac:chgData name="Reuben Issac Jacob" userId="a26d73c9-1689-41bd-af50-ef825e838770" providerId="ADAL" clId="{F452BC9E-5BE8-4A0B-9F00-66A7219A31DE}" dt="2022-06-29T05:01:32.843" v="375" actId="1035"/>
          <ac:spMkLst>
            <pc:docMk/>
            <pc:sldMk cId="2526638429" sldId="2147470185"/>
            <ac:spMk id="37" creationId="{F6DC337C-0B50-453A-B91C-A37A54A67A24}"/>
          </ac:spMkLst>
        </pc:spChg>
        <pc:spChg chg="mod">
          <ac:chgData name="Reuben Issac Jacob" userId="a26d73c9-1689-41bd-af50-ef825e838770" providerId="ADAL" clId="{F452BC9E-5BE8-4A0B-9F00-66A7219A31DE}" dt="2022-06-29T05:01:32.843" v="375" actId="1035"/>
          <ac:spMkLst>
            <pc:docMk/>
            <pc:sldMk cId="2526638429" sldId="2147470185"/>
            <ac:spMk id="38" creationId="{48BC8BE9-F239-4FD4-B96B-D8AA63943F74}"/>
          </ac:spMkLst>
        </pc:spChg>
        <pc:spChg chg="mod">
          <ac:chgData name="Reuben Issac Jacob" userId="a26d73c9-1689-41bd-af50-ef825e838770" providerId="ADAL" clId="{F452BC9E-5BE8-4A0B-9F00-66A7219A31DE}" dt="2022-06-29T05:01:32.843" v="375" actId="1035"/>
          <ac:spMkLst>
            <pc:docMk/>
            <pc:sldMk cId="2526638429" sldId="2147470185"/>
            <ac:spMk id="39" creationId="{F0CC75D3-C331-480D-995E-3112BDC6824F}"/>
          </ac:spMkLst>
        </pc:spChg>
        <pc:spChg chg="mod">
          <ac:chgData name="Reuben Issac Jacob" userId="a26d73c9-1689-41bd-af50-ef825e838770" providerId="ADAL" clId="{F452BC9E-5BE8-4A0B-9F00-66A7219A31DE}" dt="2022-06-29T05:01:32.843" v="375" actId="1035"/>
          <ac:spMkLst>
            <pc:docMk/>
            <pc:sldMk cId="2526638429" sldId="2147470185"/>
            <ac:spMk id="40" creationId="{8EB72829-36F9-46EE-AE71-C008A2746356}"/>
          </ac:spMkLst>
        </pc:spChg>
        <pc:spChg chg="mod">
          <ac:chgData name="Reuben Issac Jacob" userId="a26d73c9-1689-41bd-af50-ef825e838770" providerId="ADAL" clId="{F452BC9E-5BE8-4A0B-9F00-66A7219A31DE}" dt="2022-06-29T05:01:32.843" v="375" actId="1035"/>
          <ac:spMkLst>
            <pc:docMk/>
            <pc:sldMk cId="2526638429" sldId="2147470185"/>
            <ac:spMk id="41" creationId="{E5DF2BDB-C1B3-4570-8B04-07D61769DFC7}"/>
          </ac:spMkLst>
        </pc:spChg>
        <pc:spChg chg="mod">
          <ac:chgData name="Reuben Issac Jacob" userId="a26d73c9-1689-41bd-af50-ef825e838770" providerId="ADAL" clId="{F452BC9E-5BE8-4A0B-9F00-66A7219A31DE}" dt="2022-06-29T05:01:32.843" v="375" actId="1035"/>
          <ac:spMkLst>
            <pc:docMk/>
            <pc:sldMk cId="2526638429" sldId="2147470185"/>
            <ac:spMk id="42" creationId="{778EA793-F9D8-4F25-8DC6-75E4CD3F21A9}"/>
          </ac:spMkLst>
        </pc:spChg>
        <pc:spChg chg="mod">
          <ac:chgData name="Reuben Issac Jacob" userId="a26d73c9-1689-41bd-af50-ef825e838770" providerId="ADAL" clId="{F452BC9E-5BE8-4A0B-9F00-66A7219A31DE}" dt="2022-06-29T05:01:32.843" v="375" actId="1035"/>
          <ac:spMkLst>
            <pc:docMk/>
            <pc:sldMk cId="2526638429" sldId="2147470185"/>
            <ac:spMk id="43" creationId="{6342B032-EA6C-4977-A4B6-763DBDBE07C1}"/>
          </ac:spMkLst>
        </pc:spChg>
        <pc:spChg chg="mod">
          <ac:chgData name="Reuben Issac Jacob" userId="a26d73c9-1689-41bd-af50-ef825e838770" providerId="ADAL" clId="{F452BC9E-5BE8-4A0B-9F00-66A7219A31DE}" dt="2022-06-29T05:01:32.843" v="375" actId="1035"/>
          <ac:spMkLst>
            <pc:docMk/>
            <pc:sldMk cId="2526638429" sldId="2147470185"/>
            <ac:spMk id="44" creationId="{3EB76548-90AC-487F-A9A4-8427F89C9A39}"/>
          </ac:spMkLst>
        </pc:spChg>
        <pc:spChg chg="mod">
          <ac:chgData name="Reuben Issac Jacob" userId="a26d73c9-1689-41bd-af50-ef825e838770" providerId="ADAL" clId="{F452BC9E-5BE8-4A0B-9F00-66A7219A31DE}" dt="2022-06-29T05:01:32.843" v="375" actId="1035"/>
          <ac:spMkLst>
            <pc:docMk/>
            <pc:sldMk cId="2526638429" sldId="2147470185"/>
            <ac:spMk id="45" creationId="{9025D55B-3F42-4708-8ADB-824C79A24135}"/>
          </ac:spMkLst>
        </pc:spChg>
        <pc:spChg chg="mod">
          <ac:chgData name="Reuben Issac Jacob" userId="a26d73c9-1689-41bd-af50-ef825e838770" providerId="ADAL" clId="{F452BC9E-5BE8-4A0B-9F00-66A7219A31DE}" dt="2022-06-29T05:01:32.843" v="375" actId="1035"/>
          <ac:spMkLst>
            <pc:docMk/>
            <pc:sldMk cId="2526638429" sldId="2147470185"/>
            <ac:spMk id="46" creationId="{C278688A-36E0-4CFA-A590-840B6C8AD020}"/>
          </ac:spMkLst>
        </pc:spChg>
        <pc:spChg chg="mod">
          <ac:chgData name="Reuben Issac Jacob" userId="a26d73c9-1689-41bd-af50-ef825e838770" providerId="ADAL" clId="{F452BC9E-5BE8-4A0B-9F00-66A7219A31DE}" dt="2022-06-29T05:01:32.843" v="375" actId="1035"/>
          <ac:spMkLst>
            <pc:docMk/>
            <pc:sldMk cId="2526638429" sldId="2147470185"/>
            <ac:spMk id="47" creationId="{48678C07-4CC2-4110-9692-FB677D5FD11E}"/>
          </ac:spMkLst>
        </pc:spChg>
        <pc:spChg chg="mod">
          <ac:chgData name="Reuben Issac Jacob" userId="a26d73c9-1689-41bd-af50-ef825e838770" providerId="ADAL" clId="{F452BC9E-5BE8-4A0B-9F00-66A7219A31DE}" dt="2022-06-29T05:01:32.843" v="375" actId="1035"/>
          <ac:spMkLst>
            <pc:docMk/>
            <pc:sldMk cId="2526638429" sldId="2147470185"/>
            <ac:spMk id="48" creationId="{A0476DDF-E6C4-4632-9E27-62F5FD8D5E9E}"/>
          </ac:spMkLst>
        </pc:spChg>
        <pc:spChg chg="mod">
          <ac:chgData name="Reuben Issac Jacob" userId="a26d73c9-1689-41bd-af50-ef825e838770" providerId="ADAL" clId="{F452BC9E-5BE8-4A0B-9F00-66A7219A31DE}" dt="2022-06-29T05:01:32.843" v="375" actId="1035"/>
          <ac:spMkLst>
            <pc:docMk/>
            <pc:sldMk cId="2526638429" sldId="2147470185"/>
            <ac:spMk id="49" creationId="{D81F06D7-A9CD-4FCF-8169-E61D7BDC28AF}"/>
          </ac:spMkLst>
        </pc:spChg>
        <pc:spChg chg="mod">
          <ac:chgData name="Reuben Issac Jacob" userId="a26d73c9-1689-41bd-af50-ef825e838770" providerId="ADAL" clId="{F452BC9E-5BE8-4A0B-9F00-66A7219A31DE}" dt="2022-06-29T05:01:32.843" v="375" actId="1035"/>
          <ac:spMkLst>
            <pc:docMk/>
            <pc:sldMk cId="2526638429" sldId="2147470185"/>
            <ac:spMk id="50" creationId="{3E69BDAF-4336-4CBE-8F21-A9662B74D654}"/>
          </ac:spMkLst>
        </pc:spChg>
        <pc:spChg chg="mod">
          <ac:chgData name="Reuben Issac Jacob" userId="a26d73c9-1689-41bd-af50-ef825e838770" providerId="ADAL" clId="{F452BC9E-5BE8-4A0B-9F00-66A7219A31DE}" dt="2022-06-29T05:01:32.843" v="375" actId="1035"/>
          <ac:spMkLst>
            <pc:docMk/>
            <pc:sldMk cId="2526638429" sldId="2147470185"/>
            <ac:spMk id="51" creationId="{02AF2F6C-8FD7-4BF8-9B24-440BED3FA2C5}"/>
          </ac:spMkLst>
        </pc:spChg>
        <pc:spChg chg="mod">
          <ac:chgData name="Reuben Issac Jacob" userId="a26d73c9-1689-41bd-af50-ef825e838770" providerId="ADAL" clId="{F452BC9E-5BE8-4A0B-9F00-66A7219A31DE}" dt="2022-06-29T05:01:32.843" v="375" actId="1035"/>
          <ac:spMkLst>
            <pc:docMk/>
            <pc:sldMk cId="2526638429" sldId="2147470185"/>
            <ac:spMk id="52" creationId="{A4CBD18F-441A-4C27-8A10-E9BD22CC1271}"/>
          </ac:spMkLst>
        </pc:spChg>
        <pc:spChg chg="mod">
          <ac:chgData name="Reuben Issac Jacob" userId="a26d73c9-1689-41bd-af50-ef825e838770" providerId="ADAL" clId="{F452BC9E-5BE8-4A0B-9F00-66A7219A31DE}" dt="2022-06-29T05:01:32.843" v="375" actId="1035"/>
          <ac:spMkLst>
            <pc:docMk/>
            <pc:sldMk cId="2526638429" sldId="2147470185"/>
            <ac:spMk id="53" creationId="{888A6A2F-D95C-4895-B866-9E7F7C280FCA}"/>
          </ac:spMkLst>
        </pc:spChg>
        <pc:spChg chg="mod topLvl">
          <ac:chgData name="Reuben Issac Jacob" userId="a26d73c9-1689-41bd-af50-ef825e838770" providerId="ADAL" clId="{F452BC9E-5BE8-4A0B-9F00-66A7219A31DE}" dt="2022-06-29T05:01:32.843" v="375" actId="1035"/>
          <ac:spMkLst>
            <pc:docMk/>
            <pc:sldMk cId="2526638429" sldId="2147470185"/>
            <ac:spMk id="54" creationId="{5A893374-30A3-4A22-8A97-5303C96024E6}"/>
          </ac:spMkLst>
        </pc:spChg>
        <pc:spChg chg="mod topLvl">
          <ac:chgData name="Reuben Issac Jacob" userId="a26d73c9-1689-41bd-af50-ef825e838770" providerId="ADAL" clId="{F452BC9E-5BE8-4A0B-9F00-66A7219A31DE}" dt="2022-06-29T05:01:32.843" v="375" actId="1035"/>
          <ac:spMkLst>
            <pc:docMk/>
            <pc:sldMk cId="2526638429" sldId="2147470185"/>
            <ac:spMk id="55" creationId="{81A60990-B7AC-45F5-9C52-DAF2976E07DF}"/>
          </ac:spMkLst>
        </pc:spChg>
        <pc:spChg chg="mod topLvl">
          <ac:chgData name="Reuben Issac Jacob" userId="a26d73c9-1689-41bd-af50-ef825e838770" providerId="ADAL" clId="{F452BC9E-5BE8-4A0B-9F00-66A7219A31DE}" dt="2022-06-29T05:02:03.108" v="381" actId="12788"/>
          <ac:spMkLst>
            <pc:docMk/>
            <pc:sldMk cId="2526638429" sldId="2147470185"/>
            <ac:spMk id="56" creationId="{9D00D43C-DAF9-45C3-ADEC-D7A5541E73E9}"/>
          </ac:spMkLst>
        </pc:spChg>
        <pc:spChg chg="mod">
          <ac:chgData name="Reuben Issac Jacob" userId="a26d73c9-1689-41bd-af50-ef825e838770" providerId="ADAL" clId="{F452BC9E-5BE8-4A0B-9F00-66A7219A31DE}" dt="2022-06-29T05:01:32.843" v="375" actId="1035"/>
          <ac:spMkLst>
            <pc:docMk/>
            <pc:sldMk cId="2526638429" sldId="2147470185"/>
            <ac:spMk id="57" creationId="{F47CEA79-2E39-43B6-B1C0-9506905947FC}"/>
          </ac:spMkLst>
        </pc:spChg>
        <pc:spChg chg="mod">
          <ac:chgData name="Reuben Issac Jacob" userId="a26d73c9-1689-41bd-af50-ef825e838770" providerId="ADAL" clId="{F452BC9E-5BE8-4A0B-9F00-66A7219A31DE}" dt="2022-06-29T05:01:32.843" v="375" actId="1035"/>
          <ac:spMkLst>
            <pc:docMk/>
            <pc:sldMk cId="2526638429" sldId="2147470185"/>
            <ac:spMk id="58" creationId="{8B60A422-3C3F-47C3-B3CE-B2E350F5B96D}"/>
          </ac:spMkLst>
        </pc:spChg>
        <pc:spChg chg="mod topLvl">
          <ac:chgData name="Reuben Issac Jacob" userId="a26d73c9-1689-41bd-af50-ef825e838770" providerId="ADAL" clId="{F452BC9E-5BE8-4A0B-9F00-66A7219A31DE}" dt="2022-06-29T14:54:21.313" v="3181" actId="122"/>
          <ac:spMkLst>
            <pc:docMk/>
            <pc:sldMk cId="2526638429" sldId="2147470185"/>
            <ac:spMk id="59" creationId="{4D48D050-A1B6-4818-9481-04E0CE45F0B9}"/>
          </ac:spMkLst>
        </pc:spChg>
        <pc:spChg chg="mod">
          <ac:chgData name="Reuben Issac Jacob" userId="a26d73c9-1689-41bd-af50-ef825e838770" providerId="ADAL" clId="{F452BC9E-5BE8-4A0B-9F00-66A7219A31DE}" dt="2022-06-29T05:01:56.846" v="380" actId="165"/>
          <ac:spMkLst>
            <pc:docMk/>
            <pc:sldMk cId="2526638429" sldId="2147470185"/>
            <ac:spMk id="61" creationId="{725E0EAD-CA8F-4F63-8D29-2E74981C783D}"/>
          </ac:spMkLst>
        </pc:spChg>
        <pc:spChg chg="mod">
          <ac:chgData name="Reuben Issac Jacob" userId="a26d73c9-1689-41bd-af50-ef825e838770" providerId="ADAL" clId="{F452BC9E-5BE8-4A0B-9F00-66A7219A31DE}" dt="2022-06-29T05:01:56.846" v="380" actId="165"/>
          <ac:spMkLst>
            <pc:docMk/>
            <pc:sldMk cId="2526638429" sldId="2147470185"/>
            <ac:spMk id="62" creationId="{C463E5E5-50F1-40B9-A71E-2BFE02A634E1}"/>
          </ac:spMkLst>
        </pc:spChg>
        <pc:spChg chg="mod">
          <ac:chgData name="Reuben Issac Jacob" userId="a26d73c9-1689-41bd-af50-ef825e838770" providerId="ADAL" clId="{F452BC9E-5BE8-4A0B-9F00-66A7219A31DE}" dt="2022-06-29T05:01:56.846" v="380" actId="165"/>
          <ac:spMkLst>
            <pc:docMk/>
            <pc:sldMk cId="2526638429" sldId="2147470185"/>
            <ac:spMk id="63" creationId="{BD050DBB-A611-4A6D-9FA9-A158C6D8593D}"/>
          </ac:spMkLst>
        </pc:spChg>
        <pc:spChg chg="mod">
          <ac:chgData name="Reuben Issac Jacob" userId="a26d73c9-1689-41bd-af50-ef825e838770" providerId="ADAL" clId="{F452BC9E-5BE8-4A0B-9F00-66A7219A31DE}" dt="2022-06-29T05:01:56.846" v="380" actId="165"/>
          <ac:spMkLst>
            <pc:docMk/>
            <pc:sldMk cId="2526638429" sldId="2147470185"/>
            <ac:spMk id="64" creationId="{A1A0B7BF-DADE-4DF8-8F99-40AC97AE575A}"/>
          </ac:spMkLst>
        </pc:spChg>
        <pc:spChg chg="mod">
          <ac:chgData name="Reuben Issac Jacob" userId="a26d73c9-1689-41bd-af50-ef825e838770" providerId="ADAL" clId="{F452BC9E-5BE8-4A0B-9F00-66A7219A31DE}" dt="2022-06-29T05:01:56.846" v="380" actId="165"/>
          <ac:spMkLst>
            <pc:docMk/>
            <pc:sldMk cId="2526638429" sldId="2147470185"/>
            <ac:spMk id="65" creationId="{4025755C-460D-4271-9D9D-1F38DFCE78FD}"/>
          </ac:spMkLst>
        </pc:spChg>
        <pc:spChg chg="mod">
          <ac:chgData name="Reuben Issac Jacob" userId="a26d73c9-1689-41bd-af50-ef825e838770" providerId="ADAL" clId="{F452BC9E-5BE8-4A0B-9F00-66A7219A31DE}" dt="2022-06-29T05:01:56.846" v="380" actId="165"/>
          <ac:spMkLst>
            <pc:docMk/>
            <pc:sldMk cId="2526638429" sldId="2147470185"/>
            <ac:spMk id="66" creationId="{A8F35D87-525F-45B3-931B-6C6F7D32ECD5}"/>
          </ac:spMkLst>
        </pc:spChg>
        <pc:spChg chg="mod">
          <ac:chgData name="Reuben Issac Jacob" userId="a26d73c9-1689-41bd-af50-ef825e838770" providerId="ADAL" clId="{F452BC9E-5BE8-4A0B-9F00-66A7219A31DE}" dt="2022-06-29T05:01:56.846" v="380" actId="165"/>
          <ac:spMkLst>
            <pc:docMk/>
            <pc:sldMk cId="2526638429" sldId="2147470185"/>
            <ac:spMk id="67" creationId="{B225A367-05B1-4C6D-94F6-6031A066ED27}"/>
          </ac:spMkLst>
        </pc:spChg>
        <pc:spChg chg="add del mod ord">
          <ac:chgData name="Reuben Issac Jacob" userId="a26d73c9-1689-41bd-af50-ef825e838770" providerId="ADAL" clId="{F452BC9E-5BE8-4A0B-9F00-66A7219A31DE}" dt="2022-06-29T05:01:45.911" v="379" actId="478"/>
          <ac:spMkLst>
            <pc:docMk/>
            <pc:sldMk cId="2526638429" sldId="2147470185"/>
            <ac:spMk id="70" creationId="{035F2863-ED33-380B-3BB0-FF47680C8622}"/>
          </ac:spMkLst>
        </pc:spChg>
        <pc:spChg chg="mod">
          <ac:chgData name="Reuben Issac Jacob" userId="a26d73c9-1689-41bd-af50-ef825e838770" providerId="ADAL" clId="{F452BC9E-5BE8-4A0B-9F00-66A7219A31DE}" dt="2022-06-29T05:01:32.843" v="375" actId="1035"/>
          <ac:spMkLst>
            <pc:docMk/>
            <pc:sldMk cId="2526638429" sldId="2147470185"/>
            <ac:spMk id="74" creationId="{1C0A80AC-0E6B-4122-8F2D-97C11FF90003}"/>
          </ac:spMkLst>
        </pc:spChg>
        <pc:spChg chg="mod">
          <ac:chgData name="Reuben Issac Jacob" userId="a26d73c9-1689-41bd-af50-ef825e838770" providerId="ADAL" clId="{F452BC9E-5BE8-4A0B-9F00-66A7219A31DE}" dt="2022-06-29T05:01:32.843" v="375" actId="1035"/>
          <ac:spMkLst>
            <pc:docMk/>
            <pc:sldMk cId="2526638429" sldId="2147470185"/>
            <ac:spMk id="75" creationId="{17E3BC53-BF33-4BC6-8ABB-9B4D3E097AA8}"/>
          </ac:spMkLst>
        </pc:spChg>
        <pc:spChg chg="mod">
          <ac:chgData name="Reuben Issac Jacob" userId="a26d73c9-1689-41bd-af50-ef825e838770" providerId="ADAL" clId="{F452BC9E-5BE8-4A0B-9F00-66A7219A31DE}" dt="2022-06-29T05:01:32.843" v="375" actId="1035"/>
          <ac:spMkLst>
            <pc:docMk/>
            <pc:sldMk cId="2526638429" sldId="2147470185"/>
            <ac:spMk id="76" creationId="{70352267-66EF-439B-B2BC-E3238DC6C2E7}"/>
          </ac:spMkLst>
        </pc:spChg>
        <pc:spChg chg="mod">
          <ac:chgData name="Reuben Issac Jacob" userId="a26d73c9-1689-41bd-af50-ef825e838770" providerId="ADAL" clId="{F452BC9E-5BE8-4A0B-9F00-66A7219A31DE}" dt="2022-06-29T05:01:32.843" v="375" actId="1035"/>
          <ac:spMkLst>
            <pc:docMk/>
            <pc:sldMk cId="2526638429" sldId="2147470185"/>
            <ac:spMk id="77" creationId="{421B6D89-4E53-4887-A59A-0C1F71F5CD3C}"/>
          </ac:spMkLst>
        </pc:spChg>
        <pc:spChg chg="mod">
          <ac:chgData name="Reuben Issac Jacob" userId="a26d73c9-1689-41bd-af50-ef825e838770" providerId="ADAL" clId="{F452BC9E-5BE8-4A0B-9F00-66A7219A31DE}" dt="2022-06-29T05:01:32.843" v="375" actId="1035"/>
          <ac:spMkLst>
            <pc:docMk/>
            <pc:sldMk cId="2526638429" sldId="2147470185"/>
            <ac:spMk id="78" creationId="{56D041BE-8DE9-422A-8207-4A594D96F4AD}"/>
          </ac:spMkLst>
        </pc:spChg>
        <pc:spChg chg="mod">
          <ac:chgData name="Reuben Issac Jacob" userId="a26d73c9-1689-41bd-af50-ef825e838770" providerId="ADAL" clId="{F452BC9E-5BE8-4A0B-9F00-66A7219A31DE}" dt="2022-06-29T05:01:32.843" v="375" actId="1035"/>
          <ac:spMkLst>
            <pc:docMk/>
            <pc:sldMk cId="2526638429" sldId="2147470185"/>
            <ac:spMk id="79" creationId="{1B9B160B-3B24-4FCB-8692-F2E3800737EE}"/>
          </ac:spMkLst>
        </pc:spChg>
        <pc:spChg chg="mod">
          <ac:chgData name="Reuben Issac Jacob" userId="a26d73c9-1689-41bd-af50-ef825e838770" providerId="ADAL" clId="{F452BC9E-5BE8-4A0B-9F00-66A7219A31DE}" dt="2022-06-29T05:01:32.843" v="375" actId="1035"/>
          <ac:spMkLst>
            <pc:docMk/>
            <pc:sldMk cId="2526638429" sldId="2147470185"/>
            <ac:spMk id="80" creationId="{BBD68869-068E-4477-8A1F-4A9F499B1B30}"/>
          </ac:spMkLst>
        </pc:spChg>
        <pc:spChg chg="mod">
          <ac:chgData name="Reuben Issac Jacob" userId="a26d73c9-1689-41bd-af50-ef825e838770" providerId="ADAL" clId="{F452BC9E-5BE8-4A0B-9F00-66A7219A31DE}" dt="2022-06-29T05:01:32.843" v="375" actId="1035"/>
          <ac:spMkLst>
            <pc:docMk/>
            <pc:sldMk cId="2526638429" sldId="2147470185"/>
            <ac:spMk id="81" creationId="{A665A361-FA8C-48F7-9BB6-A6600D9FAF90}"/>
          </ac:spMkLst>
        </pc:spChg>
        <pc:spChg chg="mod">
          <ac:chgData name="Reuben Issac Jacob" userId="a26d73c9-1689-41bd-af50-ef825e838770" providerId="ADAL" clId="{F452BC9E-5BE8-4A0B-9F00-66A7219A31DE}" dt="2022-06-29T05:01:32.843" v="375" actId="1035"/>
          <ac:spMkLst>
            <pc:docMk/>
            <pc:sldMk cId="2526638429" sldId="2147470185"/>
            <ac:spMk id="82" creationId="{53BCF912-599F-4F7B-9596-92CDE8BBFFA4}"/>
          </ac:spMkLst>
        </pc:spChg>
        <pc:spChg chg="mod">
          <ac:chgData name="Reuben Issac Jacob" userId="a26d73c9-1689-41bd-af50-ef825e838770" providerId="ADAL" clId="{F452BC9E-5BE8-4A0B-9F00-66A7219A31DE}" dt="2022-06-29T05:01:32.843" v="375" actId="1035"/>
          <ac:spMkLst>
            <pc:docMk/>
            <pc:sldMk cId="2526638429" sldId="2147470185"/>
            <ac:spMk id="83" creationId="{DFB584EB-EBBA-410D-A910-23B0FA96893A}"/>
          </ac:spMkLst>
        </pc:spChg>
        <pc:spChg chg="mod">
          <ac:chgData name="Reuben Issac Jacob" userId="a26d73c9-1689-41bd-af50-ef825e838770" providerId="ADAL" clId="{F452BC9E-5BE8-4A0B-9F00-66A7219A31DE}" dt="2022-06-29T05:01:32.843" v="375" actId="1035"/>
          <ac:spMkLst>
            <pc:docMk/>
            <pc:sldMk cId="2526638429" sldId="2147470185"/>
            <ac:spMk id="84" creationId="{F971B62D-2575-4437-847C-DD506838F68D}"/>
          </ac:spMkLst>
        </pc:spChg>
        <pc:spChg chg="mod">
          <ac:chgData name="Reuben Issac Jacob" userId="a26d73c9-1689-41bd-af50-ef825e838770" providerId="ADAL" clId="{F452BC9E-5BE8-4A0B-9F00-66A7219A31DE}" dt="2022-06-29T05:01:32.843" v="375" actId="1035"/>
          <ac:spMkLst>
            <pc:docMk/>
            <pc:sldMk cId="2526638429" sldId="2147470185"/>
            <ac:spMk id="85" creationId="{6FFF415F-EC00-445F-85DB-F409E7D8DAD2}"/>
          </ac:spMkLst>
        </pc:spChg>
        <pc:spChg chg="mod">
          <ac:chgData name="Reuben Issac Jacob" userId="a26d73c9-1689-41bd-af50-ef825e838770" providerId="ADAL" clId="{F452BC9E-5BE8-4A0B-9F00-66A7219A31DE}" dt="2022-06-29T05:01:32.843" v="375" actId="1035"/>
          <ac:spMkLst>
            <pc:docMk/>
            <pc:sldMk cId="2526638429" sldId="2147470185"/>
            <ac:spMk id="86" creationId="{83B0A760-4617-44CF-8ED0-76EF48CC8FFA}"/>
          </ac:spMkLst>
        </pc:spChg>
        <pc:spChg chg="mod">
          <ac:chgData name="Reuben Issac Jacob" userId="a26d73c9-1689-41bd-af50-ef825e838770" providerId="ADAL" clId="{F452BC9E-5BE8-4A0B-9F00-66A7219A31DE}" dt="2022-06-29T05:01:32.843" v="375" actId="1035"/>
          <ac:spMkLst>
            <pc:docMk/>
            <pc:sldMk cId="2526638429" sldId="2147470185"/>
            <ac:spMk id="87" creationId="{A792C1F2-EFE7-4DBA-8C80-E495C16D4A3E}"/>
          </ac:spMkLst>
        </pc:spChg>
        <pc:spChg chg="mod">
          <ac:chgData name="Reuben Issac Jacob" userId="a26d73c9-1689-41bd-af50-ef825e838770" providerId="ADAL" clId="{F452BC9E-5BE8-4A0B-9F00-66A7219A31DE}" dt="2022-06-29T05:01:32.843" v="375" actId="1035"/>
          <ac:spMkLst>
            <pc:docMk/>
            <pc:sldMk cId="2526638429" sldId="2147470185"/>
            <ac:spMk id="88" creationId="{A27CAC16-694D-4918-8D3E-5CED7FE78BC8}"/>
          </ac:spMkLst>
        </pc:spChg>
        <pc:spChg chg="mod">
          <ac:chgData name="Reuben Issac Jacob" userId="a26d73c9-1689-41bd-af50-ef825e838770" providerId="ADAL" clId="{F452BC9E-5BE8-4A0B-9F00-66A7219A31DE}" dt="2022-06-29T05:01:32.843" v="375" actId="1035"/>
          <ac:spMkLst>
            <pc:docMk/>
            <pc:sldMk cId="2526638429" sldId="2147470185"/>
            <ac:spMk id="89" creationId="{90A75BD2-E8F0-4834-AD8F-43B2578EC039}"/>
          </ac:spMkLst>
        </pc:spChg>
        <pc:spChg chg="mod">
          <ac:chgData name="Reuben Issac Jacob" userId="a26d73c9-1689-41bd-af50-ef825e838770" providerId="ADAL" clId="{F452BC9E-5BE8-4A0B-9F00-66A7219A31DE}" dt="2022-06-29T05:01:32.843" v="375" actId="1035"/>
          <ac:spMkLst>
            <pc:docMk/>
            <pc:sldMk cId="2526638429" sldId="2147470185"/>
            <ac:spMk id="90" creationId="{E995AE7F-906C-432B-9934-66E4D2222518}"/>
          </ac:spMkLst>
        </pc:spChg>
        <pc:spChg chg="del">
          <ac:chgData name="Reuben Issac Jacob" userId="a26d73c9-1689-41bd-af50-ef825e838770" providerId="ADAL" clId="{F452BC9E-5BE8-4A0B-9F00-66A7219A31DE}" dt="2022-06-29T04:42:05.800" v="192" actId="478"/>
          <ac:spMkLst>
            <pc:docMk/>
            <pc:sldMk cId="2526638429" sldId="2147470185"/>
            <ac:spMk id="98" creationId="{036F1AED-35D6-4793-B8D6-D395AE2B5AE2}"/>
          </ac:spMkLst>
        </pc:spChg>
        <pc:spChg chg="del">
          <ac:chgData name="Reuben Issac Jacob" userId="a26d73c9-1689-41bd-af50-ef825e838770" providerId="ADAL" clId="{F452BC9E-5BE8-4A0B-9F00-66A7219A31DE}" dt="2022-06-29T04:42:04.821" v="191" actId="478"/>
          <ac:spMkLst>
            <pc:docMk/>
            <pc:sldMk cId="2526638429" sldId="2147470185"/>
            <ac:spMk id="99" creationId="{EC417214-41E1-416F-98F1-AE211A7CFF17}"/>
          </ac:spMkLst>
        </pc:spChg>
        <pc:grpChg chg="add del mod">
          <ac:chgData name="Reuben Issac Jacob" userId="a26d73c9-1689-41bd-af50-ef825e838770" providerId="ADAL" clId="{F452BC9E-5BE8-4A0B-9F00-66A7219A31DE}" dt="2022-06-29T04:55:33.507" v="287" actId="165"/>
          <ac:grpSpMkLst>
            <pc:docMk/>
            <pc:sldMk cId="2526638429" sldId="2147470185"/>
            <ac:grpSpMk id="3" creationId="{B1C8018C-CCE8-D195-8EE7-0A411D4078DB}"/>
          </ac:grpSpMkLst>
        </pc:grpChg>
        <pc:grpChg chg="add del mod">
          <ac:chgData name="Reuben Issac Jacob" userId="a26d73c9-1689-41bd-af50-ef825e838770" providerId="ADAL" clId="{F452BC9E-5BE8-4A0B-9F00-66A7219A31DE}" dt="2022-06-29T04:55:33.507" v="287" actId="165"/>
          <ac:grpSpMkLst>
            <pc:docMk/>
            <pc:sldMk cId="2526638429" sldId="2147470185"/>
            <ac:grpSpMk id="4" creationId="{87DB3F06-FC6F-64D3-5EF1-FDA67879E3B3}"/>
          </ac:grpSpMkLst>
        </pc:grpChg>
        <pc:grpChg chg="add del mod">
          <ac:chgData name="Reuben Issac Jacob" userId="a26d73c9-1689-41bd-af50-ef825e838770" providerId="ADAL" clId="{F452BC9E-5BE8-4A0B-9F00-66A7219A31DE}" dt="2022-06-29T04:55:33.507" v="287" actId="165"/>
          <ac:grpSpMkLst>
            <pc:docMk/>
            <pc:sldMk cId="2526638429" sldId="2147470185"/>
            <ac:grpSpMk id="5" creationId="{E4C7F91E-7014-6A39-2147-1771158779DD}"/>
          </ac:grpSpMkLst>
        </pc:grpChg>
        <pc:grpChg chg="del">
          <ac:chgData name="Reuben Issac Jacob" userId="a26d73c9-1689-41bd-af50-ef825e838770" providerId="ADAL" clId="{F452BC9E-5BE8-4A0B-9F00-66A7219A31DE}" dt="2022-06-29T04:43:06.756" v="204" actId="165"/>
          <ac:grpSpMkLst>
            <pc:docMk/>
            <pc:sldMk cId="2526638429" sldId="2147470185"/>
            <ac:grpSpMk id="6" creationId="{AE82C453-F336-4453-8C87-CB6DB82D4646}"/>
          </ac:grpSpMkLst>
        </pc:grpChg>
        <pc:grpChg chg="del">
          <ac:chgData name="Reuben Issac Jacob" userId="a26d73c9-1689-41bd-af50-ef825e838770" providerId="ADAL" clId="{F452BC9E-5BE8-4A0B-9F00-66A7219A31DE}" dt="2022-06-29T04:43:12.194" v="205" actId="165"/>
          <ac:grpSpMkLst>
            <pc:docMk/>
            <pc:sldMk cId="2526638429" sldId="2147470185"/>
            <ac:grpSpMk id="7" creationId="{60EC79D2-59BE-4684-AEE3-8FB3D51CF00F}"/>
          </ac:grpSpMkLst>
        </pc:grpChg>
        <pc:grpChg chg="add del mod">
          <ac:chgData name="Reuben Issac Jacob" userId="a26d73c9-1689-41bd-af50-ef825e838770" providerId="ADAL" clId="{F452BC9E-5BE8-4A0B-9F00-66A7219A31DE}" dt="2022-06-29T04:58:23.212" v="313" actId="165"/>
          <ac:grpSpMkLst>
            <pc:docMk/>
            <pc:sldMk cId="2526638429" sldId="2147470185"/>
            <ac:grpSpMk id="8" creationId="{51AEF4E0-608D-0C4E-F54F-F03C67EA2645}"/>
          </ac:grpSpMkLst>
        </pc:grpChg>
        <pc:grpChg chg="add del mod">
          <ac:chgData name="Reuben Issac Jacob" userId="a26d73c9-1689-41bd-af50-ef825e838770" providerId="ADAL" clId="{F452BC9E-5BE8-4A0B-9F00-66A7219A31DE}" dt="2022-06-29T04:58:48.705" v="318" actId="165"/>
          <ac:grpSpMkLst>
            <pc:docMk/>
            <pc:sldMk cId="2526638429" sldId="2147470185"/>
            <ac:grpSpMk id="9" creationId="{4D79E09B-7548-BCCE-F401-D81EE412A11E}"/>
          </ac:grpSpMkLst>
        </pc:grpChg>
        <pc:grpChg chg="add del mod">
          <ac:chgData name="Reuben Issac Jacob" userId="a26d73c9-1689-41bd-af50-ef825e838770" providerId="ADAL" clId="{F452BC9E-5BE8-4A0B-9F00-66A7219A31DE}" dt="2022-06-29T04:59:20.834" v="321" actId="165"/>
          <ac:grpSpMkLst>
            <pc:docMk/>
            <pc:sldMk cId="2526638429" sldId="2147470185"/>
            <ac:grpSpMk id="10" creationId="{F81266A7-AEC0-9555-EED2-1214117F9A59}"/>
          </ac:grpSpMkLst>
        </pc:grpChg>
        <pc:grpChg chg="add del mod">
          <ac:chgData name="Reuben Issac Jacob" userId="a26d73c9-1689-41bd-af50-ef825e838770" providerId="ADAL" clId="{F452BC9E-5BE8-4A0B-9F00-66A7219A31DE}" dt="2022-06-29T04:59:47.654" v="328" actId="165"/>
          <ac:grpSpMkLst>
            <pc:docMk/>
            <pc:sldMk cId="2526638429" sldId="2147470185"/>
            <ac:grpSpMk id="11" creationId="{60AF3524-1E40-9393-9F3C-60B40D5A9B22}"/>
          </ac:grpSpMkLst>
        </pc:grpChg>
        <pc:grpChg chg="add del mod">
          <ac:chgData name="Reuben Issac Jacob" userId="a26d73c9-1689-41bd-af50-ef825e838770" providerId="ADAL" clId="{F452BC9E-5BE8-4A0B-9F00-66A7219A31DE}" dt="2022-06-29T04:59:47.654" v="328" actId="165"/>
          <ac:grpSpMkLst>
            <pc:docMk/>
            <pc:sldMk cId="2526638429" sldId="2147470185"/>
            <ac:grpSpMk id="13" creationId="{F7B1CFCA-FD2D-067E-B484-092587FA4DB5}"/>
          </ac:grpSpMkLst>
        </pc:grpChg>
        <pc:grpChg chg="add mod">
          <ac:chgData name="Reuben Issac Jacob" userId="a26d73c9-1689-41bd-af50-ef825e838770" providerId="ADAL" clId="{F452BC9E-5BE8-4A0B-9F00-66A7219A31DE}" dt="2022-06-29T05:01:32.843" v="375" actId="1035"/>
          <ac:grpSpMkLst>
            <pc:docMk/>
            <pc:sldMk cId="2526638429" sldId="2147470185"/>
            <ac:grpSpMk id="14" creationId="{7D0B6DC4-5F9B-8EA6-7919-CA454C2E57E7}"/>
          </ac:grpSpMkLst>
        </pc:grpChg>
        <pc:grpChg chg="add del mod">
          <ac:chgData name="Reuben Issac Jacob" userId="a26d73c9-1689-41bd-af50-ef825e838770" providerId="ADAL" clId="{F452BC9E-5BE8-4A0B-9F00-66A7219A31DE}" dt="2022-06-29T05:01:56.846" v="380" actId="165"/>
          <ac:grpSpMkLst>
            <pc:docMk/>
            <pc:sldMk cId="2526638429" sldId="2147470185"/>
            <ac:grpSpMk id="15" creationId="{8F811463-11C7-A0FE-F88F-147A5FA2F9D9}"/>
          </ac:grpSpMkLst>
        </pc:grpChg>
        <pc:grpChg chg="add mod">
          <ac:chgData name="Reuben Issac Jacob" userId="a26d73c9-1689-41bd-af50-ef825e838770" providerId="ADAL" clId="{F452BC9E-5BE8-4A0B-9F00-66A7219A31DE}" dt="2022-06-29T05:01:32.843" v="375" actId="1035"/>
          <ac:grpSpMkLst>
            <pc:docMk/>
            <pc:sldMk cId="2526638429" sldId="2147470185"/>
            <ac:grpSpMk id="16" creationId="{47787D95-D1F6-2B66-41F4-CEC1E34D0825}"/>
          </ac:grpSpMkLst>
        </pc:grpChg>
        <pc:grpChg chg="mod topLvl">
          <ac:chgData name="Reuben Issac Jacob" userId="a26d73c9-1689-41bd-af50-ef825e838770" providerId="ADAL" clId="{F452BC9E-5BE8-4A0B-9F00-66A7219A31DE}" dt="2022-06-29T05:01:32.843" v="375" actId="1035"/>
          <ac:grpSpMkLst>
            <pc:docMk/>
            <pc:sldMk cId="2526638429" sldId="2147470185"/>
            <ac:grpSpMk id="34" creationId="{D0477CC8-46EA-4171-9F11-7D55A1AB8FCE}"/>
          </ac:grpSpMkLst>
        </pc:grpChg>
        <pc:grpChg chg="mod topLvl">
          <ac:chgData name="Reuben Issac Jacob" userId="a26d73c9-1689-41bd-af50-ef825e838770" providerId="ADAL" clId="{F452BC9E-5BE8-4A0B-9F00-66A7219A31DE}" dt="2022-06-29T05:02:03.108" v="381" actId="12788"/>
          <ac:grpSpMkLst>
            <pc:docMk/>
            <pc:sldMk cId="2526638429" sldId="2147470185"/>
            <ac:grpSpMk id="60" creationId="{6E83A288-0ADD-428D-ADEA-35B2C812D04F}"/>
          </ac:grpSpMkLst>
        </pc:grpChg>
        <pc:grpChg chg="mod topLvl">
          <ac:chgData name="Reuben Issac Jacob" userId="a26d73c9-1689-41bd-af50-ef825e838770" providerId="ADAL" clId="{F452BC9E-5BE8-4A0B-9F00-66A7219A31DE}" dt="2022-06-29T05:01:32.843" v="375" actId="1035"/>
          <ac:grpSpMkLst>
            <pc:docMk/>
            <pc:sldMk cId="2526638429" sldId="2147470185"/>
            <ac:grpSpMk id="73" creationId="{C688EDBD-E206-4BF0-98FB-164C60CA2CA8}"/>
          </ac:grpSpMkLst>
        </pc:grpChg>
        <pc:grpChg chg="del">
          <ac:chgData name="Reuben Issac Jacob" userId="a26d73c9-1689-41bd-af50-ef825e838770" providerId="ADAL" clId="{F452BC9E-5BE8-4A0B-9F00-66A7219A31DE}" dt="2022-06-29T05:18:03.044" v="613" actId="478"/>
          <ac:grpSpMkLst>
            <pc:docMk/>
            <pc:sldMk cId="2526638429" sldId="2147470185"/>
            <ac:grpSpMk id="92" creationId="{6C0368C9-0CC9-4E63-97E7-46AABB99A427}"/>
          </ac:grpSpMkLst>
        </pc:grpChg>
        <pc:picChg chg="mod">
          <ac:chgData name="Reuben Issac Jacob" userId="a26d73c9-1689-41bd-af50-ef825e838770" providerId="ADAL" clId="{F452BC9E-5BE8-4A0B-9F00-66A7219A31DE}" dt="2022-06-29T05:01:56.846" v="380" actId="165"/>
          <ac:picMkLst>
            <pc:docMk/>
            <pc:sldMk cId="2526638429" sldId="2147470185"/>
            <ac:picMk id="68" creationId="{4D6229FD-096B-4AE8-A64B-E2EFC778AAC0}"/>
          </ac:picMkLst>
        </pc:picChg>
        <pc:picChg chg="del">
          <ac:chgData name="Reuben Issac Jacob" userId="a26d73c9-1689-41bd-af50-ef825e838770" providerId="ADAL" clId="{F452BC9E-5BE8-4A0B-9F00-66A7219A31DE}" dt="2022-06-29T05:18:03.044" v="613" actId="478"/>
          <ac:picMkLst>
            <pc:docMk/>
            <pc:sldMk cId="2526638429" sldId="2147470185"/>
            <ac:picMk id="69" creationId="{8B76C994-E699-4BE1-8278-47A47CAF222C}"/>
          </ac:picMkLst>
        </pc:picChg>
        <pc:picChg chg="del">
          <ac:chgData name="Reuben Issac Jacob" userId="a26d73c9-1689-41bd-af50-ef825e838770" providerId="ADAL" clId="{F452BC9E-5BE8-4A0B-9F00-66A7219A31DE}" dt="2022-06-29T04:41:59.099" v="190" actId="478"/>
          <ac:picMkLst>
            <pc:docMk/>
            <pc:sldMk cId="2526638429" sldId="2147470185"/>
            <ac:picMk id="101" creationId="{C8FF7585-2EE5-4935-8E3A-0245458208D7}"/>
          </ac:picMkLst>
        </pc:picChg>
      </pc:sldChg>
      <pc:sldChg chg="addSp delSp modSp mod modClrScheme delAnim modAnim chgLayout">
        <pc:chgData name="Reuben Issac Jacob" userId="a26d73c9-1689-41bd-af50-ef825e838770" providerId="ADAL" clId="{F452BC9E-5BE8-4A0B-9F00-66A7219A31DE}" dt="2022-06-29T14:54:55.517" v="3186" actId="1076"/>
        <pc:sldMkLst>
          <pc:docMk/>
          <pc:sldMk cId="429378152" sldId="2147470186"/>
        </pc:sldMkLst>
        <pc:spChg chg="add mod ord">
          <ac:chgData name="Reuben Issac Jacob" userId="a26d73c9-1689-41bd-af50-ef825e838770" providerId="ADAL" clId="{F452BC9E-5BE8-4A0B-9F00-66A7219A31DE}" dt="2022-06-29T05:03:40.950" v="424" actId="20577"/>
          <ac:spMkLst>
            <pc:docMk/>
            <pc:sldMk cId="429378152" sldId="2147470186"/>
            <ac:spMk id="2" creationId="{7746F757-CCE3-56E0-FDCB-BE2A6BF404D4}"/>
          </ac:spMkLst>
        </pc:spChg>
        <pc:spChg chg="add del mod topLvl">
          <ac:chgData name="Reuben Issac Jacob" userId="a26d73c9-1689-41bd-af50-ef825e838770" providerId="ADAL" clId="{F452BC9E-5BE8-4A0B-9F00-66A7219A31DE}" dt="2022-06-29T14:54:38.390" v="3183" actId="478"/>
          <ac:spMkLst>
            <pc:docMk/>
            <pc:sldMk cId="429378152" sldId="2147470186"/>
            <ac:spMk id="10" creationId="{99402D6D-6DB5-7C0B-DF51-9D504A97D9E5}"/>
          </ac:spMkLst>
        </pc:spChg>
        <pc:spChg chg="add del mod">
          <ac:chgData name="Reuben Issac Jacob" userId="a26d73c9-1689-41bd-af50-ef825e838770" providerId="ADAL" clId="{F452BC9E-5BE8-4A0B-9F00-66A7219A31DE}" dt="2022-06-29T05:03:16.635" v="417" actId="478"/>
          <ac:spMkLst>
            <pc:docMk/>
            <pc:sldMk cId="429378152" sldId="2147470186"/>
            <ac:spMk id="12" creationId="{488A6809-67B7-4FD0-A255-C938E0882764}"/>
          </ac:spMkLst>
        </pc:spChg>
        <pc:spChg chg="mod topLvl">
          <ac:chgData name="Reuben Issac Jacob" userId="a26d73c9-1689-41bd-af50-ef825e838770" providerId="ADAL" clId="{F452BC9E-5BE8-4A0B-9F00-66A7219A31DE}" dt="2022-06-29T14:54:55.517" v="3186" actId="1076"/>
          <ac:spMkLst>
            <pc:docMk/>
            <pc:sldMk cId="429378152" sldId="2147470186"/>
            <ac:spMk id="22" creationId="{B067B45C-1B9E-4189-A86E-8D9058D48519}"/>
          </ac:spMkLst>
        </pc:spChg>
        <pc:spChg chg="mod topLvl">
          <ac:chgData name="Reuben Issac Jacob" userId="a26d73c9-1689-41bd-af50-ef825e838770" providerId="ADAL" clId="{F452BC9E-5BE8-4A0B-9F00-66A7219A31DE}" dt="2022-06-29T14:54:55.517" v="3186" actId="1076"/>
          <ac:spMkLst>
            <pc:docMk/>
            <pc:sldMk cId="429378152" sldId="2147470186"/>
            <ac:spMk id="23" creationId="{4D4BB0DC-7FF5-4641-943D-8D6BA03107BC}"/>
          </ac:spMkLst>
        </pc:spChg>
        <pc:spChg chg="mod">
          <ac:chgData name="Reuben Issac Jacob" userId="a26d73c9-1689-41bd-af50-ef825e838770" providerId="ADAL" clId="{F452BC9E-5BE8-4A0B-9F00-66A7219A31DE}" dt="2022-06-29T14:54:55.517" v="3186" actId="1076"/>
          <ac:spMkLst>
            <pc:docMk/>
            <pc:sldMk cId="429378152" sldId="2147470186"/>
            <ac:spMk id="35" creationId="{0A57F3E4-090E-4B5B-87C4-6D6084DEA3A8}"/>
          </ac:spMkLst>
        </pc:spChg>
        <pc:spChg chg="mod">
          <ac:chgData name="Reuben Issac Jacob" userId="a26d73c9-1689-41bd-af50-ef825e838770" providerId="ADAL" clId="{F452BC9E-5BE8-4A0B-9F00-66A7219A31DE}" dt="2022-06-29T14:54:55.517" v="3186" actId="1076"/>
          <ac:spMkLst>
            <pc:docMk/>
            <pc:sldMk cId="429378152" sldId="2147470186"/>
            <ac:spMk id="36" creationId="{492D2A3F-BDD8-4778-AF19-61BAFA5899C6}"/>
          </ac:spMkLst>
        </pc:spChg>
        <pc:spChg chg="mod">
          <ac:chgData name="Reuben Issac Jacob" userId="a26d73c9-1689-41bd-af50-ef825e838770" providerId="ADAL" clId="{F452BC9E-5BE8-4A0B-9F00-66A7219A31DE}" dt="2022-06-29T14:54:55.517" v="3186" actId="1076"/>
          <ac:spMkLst>
            <pc:docMk/>
            <pc:sldMk cId="429378152" sldId="2147470186"/>
            <ac:spMk id="37" creationId="{F6DC337C-0B50-453A-B91C-A37A54A67A24}"/>
          </ac:spMkLst>
        </pc:spChg>
        <pc:spChg chg="mod">
          <ac:chgData name="Reuben Issac Jacob" userId="a26d73c9-1689-41bd-af50-ef825e838770" providerId="ADAL" clId="{F452BC9E-5BE8-4A0B-9F00-66A7219A31DE}" dt="2022-06-29T14:54:55.517" v="3186" actId="1076"/>
          <ac:spMkLst>
            <pc:docMk/>
            <pc:sldMk cId="429378152" sldId="2147470186"/>
            <ac:spMk id="38" creationId="{48BC8BE9-F239-4FD4-B96B-D8AA63943F74}"/>
          </ac:spMkLst>
        </pc:spChg>
        <pc:spChg chg="mod">
          <ac:chgData name="Reuben Issac Jacob" userId="a26d73c9-1689-41bd-af50-ef825e838770" providerId="ADAL" clId="{F452BC9E-5BE8-4A0B-9F00-66A7219A31DE}" dt="2022-06-29T14:54:55.517" v="3186" actId="1076"/>
          <ac:spMkLst>
            <pc:docMk/>
            <pc:sldMk cId="429378152" sldId="2147470186"/>
            <ac:spMk id="39" creationId="{F0CC75D3-C331-480D-995E-3112BDC6824F}"/>
          </ac:spMkLst>
        </pc:spChg>
        <pc:spChg chg="mod">
          <ac:chgData name="Reuben Issac Jacob" userId="a26d73c9-1689-41bd-af50-ef825e838770" providerId="ADAL" clId="{F452BC9E-5BE8-4A0B-9F00-66A7219A31DE}" dt="2022-06-29T14:54:55.517" v="3186" actId="1076"/>
          <ac:spMkLst>
            <pc:docMk/>
            <pc:sldMk cId="429378152" sldId="2147470186"/>
            <ac:spMk id="40" creationId="{8EB72829-36F9-46EE-AE71-C008A2746356}"/>
          </ac:spMkLst>
        </pc:spChg>
        <pc:spChg chg="mod">
          <ac:chgData name="Reuben Issac Jacob" userId="a26d73c9-1689-41bd-af50-ef825e838770" providerId="ADAL" clId="{F452BC9E-5BE8-4A0B-9F00-66A7219A31DE}" dt="2022-06-29T14:54:55.517" v="3186" actId="1076"/>
          <ac:spMkLst>
            <pc:docMk/>
            <pc:sldMk cId="429378152" sldId="2147470186"/>
            <ac:spMk id="41" creationId="{E5DF2BDB-C1B3-4570-8B04-07D61769DFC7}"/>
          </ac:spMkLst>
        </pc:spChg>
        <pc:spChg chg="mod">
          <ac:chgData name="Reuben Issac Jacob" userId="a26d73c9-1689-41bd-af50-ef825e838770" providerId="ADAL" clId="{F452BC9E-5BE8-4A0B-9F00-66A7219A31DE}" dt="2022-06-29T14:54:55.517" v="3186" actId="1076"/>
          <ac:spMkLst>
            <pc:docMk/>
            <pc:sldMk cId="429378152" sldId="2147470186"/>
            <ac:spMk id="42" creationId="{778EA793-F9D8-4F25-8DC6-75E4CD3F21A9}"/>
          </ac:spMkLst>
        </pc:spChg>
        <pc:spChg chg="mod">
          <ac:chgData name="Reuben Issac Jacob" userId="a26d73c9-1689-41bd-af50-ef825e838770" providerId="ADAL" clId="{F452BC9E-5BE8-4A0B-9F00-66A7219A31DE}" dt="2022-06-29T14:54:55.517" v="3186" actId="1076"/>
          <ac:spMkLst>
            <pc:docMk/>
            <pc:sldMk cId="429378152" sldId="2147470186"/>
            <ac:spMk id="43" creationId="{6342B032-EA6C-4977-A4B6-763DBDBE07C1}"/>
          </ac:spMkLst>
        </pc:spChg>
        <pc:spChg chg="mod">
          <ac:chgData name="Reuben Issac Jacob" userId="a26d73c9-1689-41bd-af50-ef825e838770" providerId="ADAL" clId="{F452BC9E-5BE8-4A0B-9F00-66A7219A31DE}" dt="2022-06-29T14:54:55.517" v="3186" actId="1076"/>
          <ac:spMkLst>
            <pc:docMk/>
            <pc:sldMk cId="429378152" sldId="2147470186"/>
            <ac:spMk id="44" creationId="{3EB76548-90AC-487F-A9A4-8427F89C9A39}"/>
          </ac:spMkLst>
        </pc:spChg>
        <pc:spChg chg="mod">
          <ac:chgData name="Reuben Issac Jacob" userId="a26d73c9-1689-41bd-af50-ef825e838770" providerId="ADAL" clId="{F452BC9E-5BE8-4A0B-9F00-66A7219A31DE}" dt="2022-06-29T14:54:55.517" v="3186" actId="1076"/>
          <ac:spMkLst>
            <pc:docMk/>
            <pc:sldMk cId="429378152" sldId="2147470186"/>
            <ac:spMk id="45" creationId="{9025D55B-3F42-4708-8ADB-824C79A24135}"/>
          </ac:spMkLst>
        </pc:spChg>
        <pc:spChg chg="mod">
          <ac:chgData name="Reuben Issac Jacob" userId="a26d73c9-1689-41bd-af50-ef825e838770" providerId="ADAL" clId="{F452BC9E-5BE8-4A0B-9F00-66A7219A31DE}" dt="2022-06-29T14:54:55.517" v="3186" actId="1076"/>
          <ac:spMkLst>
            <pc:docMk/>
            <pc:sldMk cId="429378152" sldId="2147470186"/>
            <ac:spMk id="46" creationId="{C278688A-36E0-4CFA-A590-840B6C8AD020}"/>
          </ac:spMkLst>
        </pc:spChg>
        <pc:spChg chg="mod">
          <ac:chgData name="Reuben Issac Jacob" userId="a26d73c9-1689-41bd-af50-ef825e838770" providerId="ADAL" clId="{F452BC9E-5BE8-4A0B-9F00-66A7219A31DE}" dt="2022-06-29T14:54:55.517" v="3186" actId="1076"/>
          <ac:spMkLst>
            <pc:docMk/>
            <pc:sldMk cId="429378152" sldId="2147470186"/>
            <ac:spMk id="47" creationId="{48678C07-4CC2-4110-9692-FB677D5FD11E}"/>
          </ac:spMkLst>
        </pc:spChg>
        <pc:spChg chg="mod">
          <ac:chgData name="Reuben Issac Jacob" userId="a26d73c9-1689-41bd-af50-ef825e838770" providerId="ADAL" clId="{F452BC9E-5BE8-4A0B-9F00-66A7219A31DE}" dt="2022-06-29T14:54:55.517" v="3186" actId="1076"/>
          <ac:spMkLst>
            <pc:docMk/>
            <pc:sldMk cId="429378152" sldId="2147470186"/>
            <ac:spMk id="48" creationId="{A0476DDF-E6C4-4632-9E27-62F5FD8D5E9E}"/>
          </ac:spMkLst>
        </pc:spChg>
        <pc:spChg chg="mod">
          <ac:chgData name="Reuben Issac Jacob" userId="a26d73c9-1689-41bd-af50-ef825e838770" providerId="ADAL" clId="{F452BC9E-5BE8-4A0B-9F00-66A7219A31DE}" dt="2022-06-29T14:54:55.517" v="3186" actId="1076"/>
          <ac:spMkLst>
            <pc:docMk/>
            <pc:sldMk cId="429378152" sldId="2147470186"/>
            <ac:spMk id="49" creationId="{D81F06D7-A9CD-4FCF-8169-E61D7BDC28AF}"/>
          </ac:spMkLst>
        </pc:spChg>
        <pc:spChg chg="mod">
          <ac:chgData name="Reuben Issac Jacob" userId="a26d73c9-1689-41bd-af50-ef825e838770" providerId="ADAL" clId="{F452BC9E-5BE8-4A0B-9F00-66A7219A31DE}" dt="2022-06-29T14:54:55.517" v="3186" actId="1076"/>
          <ac:spMkLst>
            <pc:docMk/>
            <pc:sldMk cId="429378152" sldId="2147470186"/>
            <ac:spMk id="50" creationId="{3E69BDAF-4336-4CBE-8F21-A9662B74D654}"/>
          </ac:spMkLst>
        </pc:spChg>
        <pc:spChg chg="mod">
          <ac:chgData name="Reuben Issac Jacob" userId="a26d73c9-1689-41bd-af50-ef825e838770" providerId="ADAL" clId="{F452BC9E-5BE8-4A0B-9F00-66A7219A31DE}" dt="2022-06-29T14:54:55.517" v="3186" actId="1076"/>
          <ac:spMkLst>
            <pc:docMk/>
            <pc:sldMk cId="429378152" sldId="2147470186"/>
            <ac:spMk id="51" creationId="{02AF2F6C-8FD7-4BF8-9B24-440BED3FA2C5}"/>
          </ac:spMkLst>
        </pc:spChg>
        <pc:spChg chg="mod">
          <ac:chgData name="Reuben Issac Jacob" userId="a26d73c9-1689-41bd-af50-ef825e838770" providerId="ADAL" clId="{F452BC9E-5BE8-4A0B-9F00-66A7219A31DE}" dt="2022-06-29T14:54:55.517" v="3186" actId="1076"/>
          <ac:spMkLst>
            <pc:docMk/>
            <pc:sldMk cId="429378152" sldId="2147470186"/>
            <ac:spMk id="52" creationId="{A4CBD18F-441A-4C27-8A10-E9BD22CC1271}"/>
          </ac:spMkLst>
        </pc:spChg>
        <pc:spChg chg="mod">
          <ac:chgData name="Reuben Issac Jacob" userId="a26d73c9-1689-41bd-af50-ef825e838770" providerId="ADAL" clId="{F452BC9E-5BE8-4A0B-9F00-66A7219A31DE}" dt="2022-06-29T14:54:55.517" v="3186" actId="1076"/>
          <ac:spMkLst>
            <pc:docMk/>
            <pc:sldMk cId="429378152" sldId="2147470186"/>
            <ac:spMk id="53" creationId="{888A6A2F-D95C-4895-B866-9E7F7C280FCA}"/>
          </ac:spMkLst>
        </pc:spChg>
        <pc:spChg chg="mod topLvl">
          <ac:chgData name="Reuben Issac Jacob" userId="a26d73c9-1689-41bd-af50-ef825e838770" providerId="ADAL" clId="{F452BC9E-5BE8-4A0B-9F00-66A7219A31DE}" dt="2022-06-29T14:54:55.517" v="3186" actId="1076"/>
          <ac:spMkLst>
            <pc:docMk/>
            <pc:sldMk cId="429378152" sldId="2147470186"/>
            <ac:spMk id="54" creationId="{5A893374-30A3-4A22-8A97-5303C96024E6}"/>
          </ac:spMkLst>
        </pc:spChg>
        <pc:spChg chg="mod topLvl">
          <ac:chgData name="Reuben Issac Jacob" userId="a26d73c9-1689-41bd-af50-ef825e838770" providerId="ADAL" clId="{F452BC9E-5BE8-4A0B-9F00-66A7219A31DE}" dt="2022-06-29T14:54:55.517" v="3186" actId="1076"/>
          <ac:spMkLst>
            <pc:docMk/>
            <pc:sldMk cId="429378152" sldId="2147470186"/>
            <ac:spMk id="55" creationId="{81A60990-B7AC-45F5-9C52-DAF2976E07DF}"/>
          </ac:spMkLst>
        </pc:spChg>
        <pc:spChg chg="mod ord">
          <ac:chgData name="Reuben Issac Jacob" userId="a26d73c9-1689-41bd-af50-ef825e838770" providerId="ADAL" clId="{F452BC9E-5BE8-4A0B-9F00-66A7219A31DE}" dt="2022-06-29T05:39:55.267" v="782" actId="1076"/>
          <ac:spMkLst>
            <pc:docMk/>
            <pc:sldMk cId="429378152" sldId="2147470186"/>
            <ac:spMk id="57" creationId="{F47CEA79-2E39-43B6-B1C0-9506905947FC}"/>
          </ac:spMkLst>
        </pc:spChg>
        <pc:spChg chg="mod">
          <ac:chgData name="Reuben Issac Jacob" userId="a26d73c9-1689-41bd-af50-ef825e838770" providerId="ADAL" clId="{F452BC9E-5BE8-4A0B-9F00-66A7219A31DE}" dt="2022-06-29T14:54:55.517" v="3186" actId="1076"/>
          <ac:spMkLst>
            <pc:docMk/>
            <pc:sldMk cId="429378152" sldId="2147470186"/>
            <ac:spMk id="59" creationId="{4D48D050-A1B6-4818-9481-04E0CE45F0B9}"/>
          </ac:spMkLst>
        </pc:spChg>
        <pc:spChg chg="mod">
          <ac:chgData name="Reuben Issac Jacob" userId="a26d73c9-1689-41bd-af50-ef825e838770" providerId="ADAL" clId="{F452BC9E-5BE8-4A0B-9F00-66A7219A31DE}" dt="2022-06-29T14:54:55.517" v="3186" actId="1076"/>
          <ac:spMkLst>
            <pc:docMk/>
            <pc:sldMk cId="429378152" sldId="2147470186"/>
            <ac:spMk id="61" creationId="{725E0EAD-CA8F-4F63-8D29-2E74981C783D}"/>
          </ac:spMkLst>
        </pc:spChg>
        <pc:spChg chg="mod">
          <ac:chgData name="Reuben Issac Jacob" userId="a26d73c9-1689-41bd-af50-ef825e838770" providerId="ADAL" clId="{F452BC9E-5BE8-4A0B-9F00-66A7219A31DE}" dt="2022-06-29T14:54:55.517" v="3186" actId="1076"/>
          <ac:spMkLst>
            <pc:docMk/>
            <pc:sldMk cId="429378152" sldId="2147470186"/>
            <ac:spMk id="62" creationId="{C463E5E5-50F1-40B9-A71E-2BFE02A634E1}"/>
          </ac:spMkLst>
        </pc:spChg>
        <pc:spChg chg="mod">
          <ac:chgData name="Reuben Issac Jacob" userId="a26d73c9-1689-41bd-af50-ef825e838770" providerId="ADAL" clId="{F452BC9E-5BE8-4A0B-9F00-66A7219A31DE}" dt="2022-06-29T14:54:55.517" v="3186" actId="1076"/>
          <ac:spMkLst>
            <pc:docMk/>
            <pc:sldMk cId="429378152" sldId="2147470186"/>
            <ac:spMk id="63" creationId="{BD050DBB-A611-4A6D-9FA9-A158C6D8593D}"/>
          </ac:spMkLst>
        </pc:spChg>
        <pc:spChg chg="mod">
          <ac:chgData name="Reuben Issac Jacob" userId="a26d73c9-1689-41bd-af50-ef825e838770" providerId="ADAL" clId="{F452BC9E-5BE8-4A0B-9F00-66A7219A31DE}" dt="2022-06-29T14:54:55.517" v="3186" actId="1076"/>
          <ac:spMkLst>
            <pc:docMk/>
            <pc:sldMk cId="429378152" sldId="2147470186"/>
            <ac:spMk id="64" creationId="{A1A0B7BF-DADE-4DF8-8F99-40AC97AE575A}"/>
          </ac:spMkLst>
        </pc:spChg>
        <pc:spChg chg="mod">
          <ac:chgData name="Reuben Issac Jacob" userId="a26d73c9-1689-41bd-af50-ef825e838770" providerId="ADAL" clId="{F452BC9E-5BE8-4A0B-9F00-66A7219A31DE}" dt="2022-06-29T14:54:55.517" v="3186" actId="1076"/>
          <ac:spMkLst>
            <pc:docMk/>
            <pc:sldMk cId="429378152" sldId="2147470186"/>
            <ac:spMk id="65" creationId="{4025755C-460D-4271-9D9D-1F38DFCE78FD}"/>
          </ac:spMkLst>
        </pc:spChg>
        <pc:spChg chg="mod">
          <ac:chgData name="Reuben Issac Jacob" userId="a26d73c9-1689-41bd-af50-ef825e838770" providerId="ADAL" clId="{F452BC9E-5BE8-4A0B-9F00-66A7219A31DE}" dt="2022-06-29T14:54:55.517" v="3186" actId="1076"/>
          <ac:spMkLst>
            <pc:docMk/>
            <pc:sldMk cId="429378152" sldId="2147470186"/>
            <ac:spMk id="66" creationId="{A8F35D87-525F-45B3-931B-6C6F7D32ECD5}"/>
          </ac:spMkLst>
        </pc:spChg>
        <pc:spChg chg="mod">
          <ac:chgData name="Reuben Issac Jacob" userId="a26d73c9-1689-41bd-af50-ef825e838770" providerId="ADAL" clId="{F452BC9E-5BE8-4A0B-9F00-66A7219A31DE}" dt="2022-06-29T14:54:55.517" v="3186" actId="1076"/>
          <ac:spMkLst>
            <pc:docMk/>
            <pc:sldMk cId="429378152" sldId="2147470186"/>
            <ac:spMk id="67" creationId="{B225A367-05B1-4C6D-94F6-6031A066ED27}"/>
          </ac:spMkLst>
        </pc:spChg>
        <pc:spChg chg="mod">
          <ac:chgData name="Reuben Issac Jacob" userId="a26d73c9-1689-41bd-af50-ef825e838770" providerId="ADAL" clId="{F452BC9E-5BE8-4A0B-9F00-66A7219A31DE}" dt="2022-06-29T14:54:55.517" v="3186" actId="1076"/>
          <ac:spMkLst>
            <pc:docMk/>
            <pc:sldMk cId="429378152" sldId="2147470186"/>
            <ac:spMk id="74" creationId="{1C0A80AC-0E6B-4122-8F2D-97C11FF90003}"/>
          </ac:spMkLst>
        </pc:spChg>
        <pc:spChg chg="mod">
          <ac:chgData name="Reuben Issac Jacob" userId="a26d73c9-1689-41bd-af50-ef825e838770" providerId="ADAL" clId="{F452BC9E-5BE8-4A0B-9F00-66A7219A31DE}" dt="2022-06-29T14:54:55.517" v="3186" actId="1076"/>
          <ac:spMkLst>
            <pc:docMk/>
            <pc:sldMk cId="429378152" sldId="2147470186"/>
            <ac:spMk id="75" creationId="{17E3BC53-BF33-4BC6-8ABB-9B4D3E097AA8}"/>
          </ac:spMkLst>
        </pc:spChg>
        <pc:spChg chg="mod">
          <ac:chgData name="Reuben Issac Jacob" userId="a26d73c9-1689-41bd-af50-ef825e838770" providerId="ADAL" clId="{F452BC9E-5BE8-4A0B-9F00-66A7219A31DE}" dt="2022-06-29T14:54:55.517" v="3186" actId="1076"/>
          <ac:spMkLst>
            <pc:docMk/>
            <pc:sldMk cId="429378152" sldId="2147470186"/>
            <ac:spMk id="76" creationId="{70352267-66EF-439B-B2BC-E3238DC6C2E7}"/>
          </ac:spMkLst>
        </pc:spChg>
        <pc:spChg chg="mod">
          <ac:chgData name="Reuben Issac Jacob" userId="a26d73c9-1689-41bd-af50-ef825e838770" providerId="ADAL" clId="{F452BC9E-5BE8-4A0B-9F00-66A7219A31DE}" dt="2022-06-29T14:54:55.517" v="3186" actId="1076"/>
          <ac:spMkLst>
            <pc:docMk/>
            <pc:sldMk cId="429378152" sldId="2147470186"/>
            <ac:spMk id="77" creationId="{421B6D89-4E53-4887-A59A-0C1F71F5CD3C}"/>
          </ac:spMkLst>
        </pc:spChg>
        <pc:spChg chg="mod">
          <ac:chgData name="Reuben Issac Jacob" userId="a26d73c9-1689-41bd-af50-ef825e838770" providerId="ADAL" clId="{F452BC9E-5BE8-4A0B-9F00-66A7219A31DE}" dt="2022-06-29T14:54:55.517" v="3186" actId="1076"/>
          <ac:spMkLst>
            <pc:docMk/>
            <pc:sldMk cId="429378152" sldId="2147470186"/>
            <ac:spMk id="78" creationId="{56D041BE-8DE9-422A-8207-4A594D96F4AD}"/>
          </ac:spMkLst>
        </pc:spChg>
        <pc:spChg chg="mod">
          <ac:chgData name="Reuben Issac Jacob" userId="a26d73c9-1689-41bd-af50-ef825e838770" providerId="ADAL" clId="{F452BC9E-5BE8-4A0B-9F00-66A7219A31DE}" dt="2022-06-29T14:54:55.517" v="3186" actId="1076"/>
          <ac:spMkLst>
            <pc:docMk/>
            <pc:sldMk cId="429378152" sldId="2147470186"/>
            <ac:spMk id="79" creationId="{1B9B160B-3B24-4FCB-8692-F2E3800737EE}"/>
          </ac:spMkLst>
        </pc:spChg>
        <pc:spChg chg="mod">
          <ac:chgData name="Reuben Issac Jacob" userId="a26d73c9-1689-41bd-af50-ef825e838770" providerId="ADAL" clId="{F452BC9E-5BE8-4A0B-9F00-66A7219A31DE}" dt="2022-06-29T14:54:55.517" v="3186" actId="1076"/>
          <ac:spMkLst>
            <pc:docMk/>
            <pc:sldMk cId="429378152" sldId="2147470186"/>
            <ac:spMk id="80" creationId="{BBD68869-068E-4477-8A1F-4A9F499B1B30}"/>
          </ac:spMkLst>
        </pc:spChg>
        <pc:spChg chg="mod">
          <ac:chgData name="Reuben Issac Jacob" userId="a26d73c9-1689-41bd-af50-ef825e838770" providerId="ADAL" clId="{F452BC9E-5BE8-4A0B-9F00-66A7219A31DE}" dt="2022-06-29T14:54:55.517" v="3186" actId="1076"/>
          <ac:spMkLst>
            <pc:docMk/>
            <pc:sldMk cId="429378152" sldId="2147470186"/>
            <ac:spMk id="81" creationId="{A665A361-FA8C-48F7-9BB6-A6600D9FAF90}"/>
          </ac:spMkLst>
        </pc:spChg>
        <pc:spChg chg="mod">
          <ac:chgData name="Reuben Issac Jacob" userId="a26d73c9-1689-41bd-af50-ef825e838770" providerId="ADAL" clId="{F452BC9E-5BE8-4A0B-9F00-66A7219A31DE}" dt="2022-06-29T14:54:55.517" v="3186" actId="1076"/>
          <ac:spMkLst>
            <pc:docMk/>
            <pc:sldMk cId="429378152" sldId="2147470186"/>
            <ac:spMk id="82" creationId="{53BCF912-599F-4F7B-9596-92CDE8BBFFA4}"/>
          </ac:spMkLst>
        </pc:spChg>
        <pc:spChg chg="mod">
          <ac:chgData name="Reuben Issac Jacob" userId="a26d73c9-1689-41bd-af50-ef825e838770" providerId="ADAL" clId="{F452BC9E-5BE8-4A0B-9F00-66A7219A31DE}" dt="2022-06-29T14:54:55.517" v="3186" actId="1076"/>
          <ac:spMkLst>
            <pc:docMk/>
            <pc:sldMk cId="429378152" sldId="2147470186"/>
            <ac:spMk id="83" creationId="{DFB584EB-EBBA-410D-A910-23B0FA96893A}"/>
          </ac:spMkLst>
        </pc:spChg>
        <pc:spChg chg="mod">
          <ac:chgData name="Reuben Issac Jacob" userId="a26d73c9-1689-41bd-af50-ef825e838770" providerId="ADAL" clId="{F452BC9E-5BE8-4A0B-9F00-66A7219A31DE}" dt="2022-06-29T14:54:55.517" v="3186" actId="1076"/>
          <ac:spMkLst>
            <pc:docMk/>
            <pc:sldMk cId="429378152" sldId="2147470186"/>
            <ac:spMk id="84" creationId="{F971B62D-2575-4437-847C-DD506838F68D}"/>
          </ac:spMkLst>
        </pc:spChg>
        <pc:spChg chg="mod">
          <ac:chgData name="Reuben Issac Jacob" userId="a26d73c9-1689-41bd-af50-ef825e838770" providerId="ADAL" clId="{F452BC9E-5BE8-4A0B-9F00-66A7219A31DE}" dt="2022-06-29T14:54:55.517" v="3186" actId="1076"/>
          <ac:spMkLst>
            <pc:docMk/>
            <pc:sldMk cId="429378152" sldId="2147470186"/>
            <ac:spMk id="85" creationId="{6FFF415F-EC00-445F-85DB-F409E7D8DAD2}"/>
          </ac:spMkLst>
        </pc:spChg>
        <pc:spChg chg="mod">
          <ac:chgData name="Reuben Issac Jacob" userId="a26d73c9-1689-41bd-af50-ef825e838770" providerId="ADAL" clId="{F452BC9E-5BE8-4A0B-9F00-66A7219A31DE}" dt="2022-06-29T14:54:55.517" v="3186" actId="1076"/>
          <ac:spMkLst>
            <pc:docMk/>
            <pc:sldMk cId="429378152" sldId="2147470186"/>
            <ac:spMk id="86" creationId="{83B0A760-4617-44CF-8ED0-76EF48CC8FFA}"/>
          </ac:spMkLst>
        </pc:spChg>
        <pc:spChg chg="mod">
          <ac:chgData name="Reuben Issac Jacob" userId="a26d73c9-1689-41bd-af50-ef825e838770" providerId="ADAL" clId="{F452BC9E-5BE8-4A0B-9F00-66A7219A31DE}" dt="2022-06-29T14:54:55.517" v="3186" actId="1076"/>
          <ac:spMkLst>
            <pc:docMk/>
            <pc:sldMk cId="429378152" sldId="2147470186"/>
            <ac:spMk id="87" creationId="{A792C1F2-EFE7-4DBA-8C80-E495C16D4A3E}"/>
          </ac:spMkLst>
        </pc:spChg>
        <pc:spChg chg="mod">
          <ac:chgData name="Reuben Issac Jacob" userId="a26d73c9-1689-41bd-af50-ef825e838770" providerId="ADAL" clId="{F452BC9E-5BE8-4A0B-9F00-66A7219A31DE}" dt="2022-06-29T14:54:55.517" v="3186" actId="1076"/>
          <ac:spMkLst>
            <pc:docMk/>
            <pc:sldMk cId="429378152" sldId="2147470186"/>
            <ac:spMk id="88" creationId="{A27CAC16-694D-4918-8D3E-5CED7FE78BC8}"/>
          </ac:spMkLst>
        </pc:spChg>
        <pc:spChg chg="mod">
          <ac:chgData name="Reuben Issac Jacob" userId="a26d73c9-1689-41bd-af50-ef825e838770" providerId="ADAL" clId="{F452BC9E-5BE8-4A0B-9F00-66A7219A31DE}" dt="2022-06-29T14:54:55.517" v="3186" actId="1076"/>
          <ac:spMkLst>
            <pc:docMk/>
            <pc:sldMk cId="429378152" sldId="2147470186"/>
            <ac:spMk id="89" creationId="{90A75BD2-E8F0-4834-AD8F-43B2578EC039}"/>
          </ac:spMkLst>
        </pc:spChg>
        <pc:spChg chg="mod">
          <ac:chgData name="Reuben Issac Jacob" userId="a26d73c9-1689-41bd-af50-ef825e838770" providerId="ADAL" clId="{F452BC9E-5BE8-4A0B-9F00-66A7219A31DE}" dt="2022-06-29T14:54:55.517" v="3186" actId="1076"/>
          <ac:spMkLst>
            <pc:docMk/>
            <pc:sldMk cId="429378152" sldId="2147470186"/>
            <ac:spMk id="90" creationId="{E995AE7F-906C-432B-9934-66E4D2222518}"/>
          </ac:spMkLst>
        </pc:spChg>
        <pc:spChg chg="mod">
          <ac:chgData name="Reuben Issac Jacob" userId="a26d73c9-1689-41bd-af50-ef825e838770" providerId="ADAL" clId="{F452BC9E-5BE8-4A0B-9F00-66A7219A31DE}" dt="2022-06-29T14:54:55.517" v="3186" actId="1076"/>
          <ac:spMkLst>
            <pc:docMk/>
            <pc:sldMk cId="429378152" sldId="2147470186"/>
            <ac:spMk id="96" creationId="{71496416-0E5F-4149-B079-A2936038CF94}"/>
          </ac:spMkLst>
        </pc:spChg>
        <pc:spChg chg="mod">
          <ac:chgData name="Reuben Issac Jacob" userId="a26d73c9-1689-41bd-af50-ef825e838770" providerId="ADAL" clId="{F452BC9E-5BE8-4A0B-9F00-66A7219A31DE}" dt="2022-06-29T14:54:55.517" v="3186" actId="1076"/>
          <ac:spMkLst>
            <pc:docMk/>
            <pc:sldMk cId="429378152" sldId="2147470186"/>
            <ac:spMk id="99" creationId="{E0B666D6-CD0E-4B15-9B8B-45B42A884325}"/>
          </ac:spMkLst>
        </pc:spChg>
        <pc:spChg chg="add del mod ord">
          <ac:chgData name="Reuben Issac Jacob" userId="a26d73c9-1689-41bd-af50-ef825e838770" providerId="ADAL" clId="{F452BC9E-5BE8-4A0B-9F00-66A7219A31DE}" dt="2022-06-29T05:03:46.896" v="426" actId="478"/>
          <ac:spMkLst>
            <pc:docMk/>
            <pc:sldMk cId="429378152" sldId="2147470186"/>
            <ac:spMk id="104" creationId="{0557FD06-01F0-1B28-3302-E5FF7F3A5D99}"/>
          </ac:spMkLst>
        </pc:spChg>
        <pc:spChg chg="add del mod topLvl">
          <ac:chgData name="Reuben Issac Jacob" userId="a26d73c9-1689-41bd-af50-ef825e838770" providerId="ADAL" clId="{F452BC9E-5BE8-4A0B-9F00-66A7219A31DE}" dt="2022-06-29T14:54:36.092" v="3182" actId="478"/>
          <ac:spMkLst>
            <pc:docMk/>
            <pc:sldMk cId="429378152" sldId="2147470186"/>
            <ac:spMk id="105" creationId="{3BCF43A8-07DC-0FC7-B69E-4820C448898E}"/>
          </ac:spMkLst>
        </pc:spChg>
        <pc:spChg chg="add del mod topLvl">
          <ac:chgData name="Reuben Issac Jacob" userId="a26d73c9-1689-41bd-af50-ef825e838770" providerId="ADAL" clId="{F452BC9E-5BE8-4A0B-9F00-66A7219A31DE}" dt="2022-06-29T14:54:40.833" v="3184" actId="478"/>
          <ac:spMkLst>
            <pc:docMk/>
            <pc:sldMk cId="429378152" sldId="2147470186"/>
            <ac:spMk id="106" creationId="{1F84226A-3107-EF53-E687-7369E283DB8A}"/>
          </ac:spMkLst>
        </pc:spChg>
        <pc:spChg chg="del">
          <ac:chgData name="Reuben Issac Jacob" userId="a26d73c9-1689-41bd-af50-ef825e838770" providerId="ADAL" clId="{F452BC9E-5BE8-4A0B-9F00-66A7219A31DE}" dt="2022-06-29T05:03:33.110" v="420" actId="478"/>
          <ac:spMkLst>
            <pc:docMk/>
            <pc:sldMk cId="429378152" sldId="2147470186"/>
            <ac:spMk id="110" creationId="{280DE386-8A8F-4F57-BC63-478B9CB3338A}"/>
          </ac:spMkLst>
        </pc:spChg>
        <pc:spChg chg="del">
          <ac:chgData name="Reuben Issac Jacob" userId="a26d73c9-1689-41bd-af50-ef825e838770" providerId="ADAL" clId="{F452BC9E-5BE8-4A0B-9F00-66A7219A31DE}" dt="2022-06-29T05:03:35.098" v="421" actId="478"/>
          <ac:spMkLst>
            <pc:docMk/>
            <pc:sldMk cId="429378152" sldId="2147470186"/>
            <ac:spMk id="111" creationId="{A6E86592-1BAE-4503-ADE4-F8ECDA8EB580}"/>
          </ac:spMkLst>
        </pc:spChg>
        <pc:spChg chg="mod ord">
          <ac:chgData name="Reuben Issac Jacob" userId="a26d73c9-1689-41bd-af50-ef825e838770" providerId="ADAL" clId="{F452BC9E-5BE8-4A0B-9F00-66A7219A31DE}" dt="2022-06-29T05:12:44.925" v="524" actId="1076"/>
          <ac:spMkLst>
            <pc:docMk/>
            <pc:sldMk cId="429378152" sldId="2147470186"/>
            <ac:spMk id="113" creationId="{DD0E9111-680B-423E-852C-79FA00BE243B}"/>
          </ac:spMkLst>
        </pc:spChg>
        <pc:grpChg chg="add del mod">
          <ac:chgData name="Reuben Issac Jacob" userId="a26d73c9-1689-41bd-af50-ef825e838770" providerId="ADAL" clId="{F452BC9E-5BE8-4A0B-9F00-66A7219A31DE}" dt="2022-06-29T05:07:55.192" v="477" actId="165"/>
          <ac:grpSpMkLst>
            <pc:docMk/>
            <pc:sldMk cId="429378152" sldId="2147470186"/>
            <ac:grpSpMk id="3" creationId="{40ECDA44-B3AF-78DF-3D89-0091EAD59A47}"/>
          </ac:grpSpMkLst>
        </pc:grpChg>
        <pc:grpChg chg="add mod">
          <ac:chgData name="Reuben Issac Jacob" userId="a26d73c9-1689-41bd-af50-ef825e838770" providerId="ADAL" clId="{F452BC9E-5BE8-4A0B-9F00-66A7219A31DE}" dt="2022-06-29T14:54:55.517" v="3186" actId="1076"/>
          <ac:grpSpMkLst>
            <pc:docMk/>
            <pc:sldMk cId="429378152" sldId="2147470186"/>
            <ac:grpSpMk id="4" creationId="{ADB04954-13DA-1454-8239-B34B9FDEA893}"/>
          </ac:grpSpMkLst>
        </pc:grpChg>
        <pc:grpChg chg="add mod topLvl">
          <ac:chgData name="Reuben Issac Jacob" userId="a26d73c9-1689-41bd-af50-ef825e838770" providerId="ADAL" clId="{F452BC9E-5BE8-4A0B-9F00-66A7219A31DE}" dt="2022-06-29T14:54:55.517" v="3186" actId="1076"/>
          <ac:grpSpMkLst>
            <pc:docMk/>
            <pc:sldMk cId="429378152" sldId="2147470186"/>
            <ac:grpSpMk id="5" creationId="{EF30AE22-8B5F-9CD3-0FAD-1CAF7544A938}"/>
          </ac:grpSpMkLst>
        </pc:grpChg>
        <pc:grpChg chg="del">
          <ac:chgData name="Reuben Issac Jacob" userId="a26d73c9-1689-41bd-af50-ef825e838770" providerId="ADAL" clId="{F452BC9E-5BE8-4A0B-9F00-66A7219A31DE}" dt="2022-06-29T05:04:01.507" v="427" actId="165"/>
          <ac:grpSpMkLst>
            <pc:docMk/>
            <pc:sldMk cId="429378152" sldId="2147470186"/>
            <ac:grpSpMk id="6" creationId="{AE82C453-F336-4453-8C87-CB6DB82D4646}"/>
          </ac:grpSpMkLst>
        </pc:grpChg>
        <pc:grpChg chg="del">
          <ac:chgData name="Reuben Issac Jacob" userId="a26d73c9-1689-41bd-af50-ef825e838770" providerId="ADAL" clId="{F452BC9E-5BE8-4A0B-9F00-66A7219A31DE}" dt="2022-06-29T05:04:01.507" v="427" actId="165"/>
          <ac:grpSpMkLst>
            <pc:docMk/>
            <pc:sldMk cId="429378152" sldId="2147470186"/>
            <ac:grpSpMk id="7" creationId="{60EC79D2-59BE-4684-AEE3-8FB3D51CF00F}"/>
          </ac:grpSpMkLst>
        </pc:grpChg>
        <pc:grpChg chg="add mod topLvl">
          <ac:chgData name="Reuben Issac Jacob" userId="a26d73c9-1689-41bd-af50-ef825e838770" providerId="ADAL" clId="{F452BC9E-5BE8-4A0B-9F00-66A7219A31DE}" dt="2022-06-29T14:54:55.517" v="3186" actId="1076"/>
          <ac:grpSpMkLst>
            <pc:docMk/>
            <pc:sldMk cId="429378152" sldId="2147470186"/>
            <ac:grpSpMk id="8" creationId="{2581A84B-7349-955D-7B69-3C19E6615B59}"/>
          </ac:grpSpMkLst>
        </pc:grpChg>
        <pc:grpChg chg="add mod topLvl">
          <ac:chgData name="Reuben Issac Jacob" userId="a26d73c9-1689-41bd-af50-ef825e838770" providerId="ADAL" clId="{F452BC9E-5BE8-4A0B-9F00-66A7219A31DE}" dt="2022-06-29T14:54:55.517" v="3186" actId="1076"/>
          <ac:grpSpMkLst>
            <pc:docMk/>
            <pc:sldMk cId="429378152" sldId="2147470186"/>
            <ac:grpSpMk id="9" creationId="{79ED466E-FF10-525D-EB4E-15008C103383}"/>
          </ac:grpSpMkLst>
        </pc:grpChg>
        <pc:grpChg chg="add del mod">
          <ac:chgData name="Reuben Issac Jacob" userId="a26d73c9-1689-41bd-af50-ef825e838770" providerId="ADAL" clId="{F452BC9E-5BE8-4A0B-9F00-66A7219A31DE}" dt="2022-06-29T05:09:50.885" v="494" actId="165"/>
          <ac:grpSpMkLst>
            <pc:docMk/>
            <pc:sldMk cId="429378152" sldId="2147470186"/>
            <ac:grpSpMk id="11" creationId="{9D24AD05-CE98-95FA-5A85-13E3F6CB63BE}"/>
          </ac:grpSpMkLst>
        </pc:grpChg>
        <pc:grpChg chg="add del mod">
          <ac:chgData name="Reuben Issac Jacob" userId="a26d73c9-1689-41bd-af50-ef825e838770" providerId="ADAL" clId="{F452BC9E-5BE8-4A0B-9F00-66A7219A31DE}" dt="2022-06-29T05:12:21.862" v="519" actId="165"/>
          <ac:grpSpMkLst>
            <pc:docMk/>
            <pc:sldMk cId="429378152" sldId="2147470186"/>
            <ac:grpSpMk id="13" creationId="{69EBD5FD-99B5-D634-2A70-97FA8572FD0C}"/>
          </ac:grpSpMkLst>
        </pc:grpChg>
        <pc:grpChg chg="add del mod">
          <ac:chgData name="Reuben Issac Jacob" userId="a26d73c9-1689-41bd-af50-ef825e838770" providerId="ADAL" clId="{F452BC9E-5BE8-4A0B-9F00-66A7219A31DE}" dt="2022-06-29T14:54:40.833" v="3184" actId="478"/>
          <ac:grpSpMkLst>
            <pc:docMk/>
            <pc:sldMk cId="429378152" sldId="2147470186"/>
            <ac:grpSpMk id="14" creationId="{C89009CE-5AAF-3F45-40B0-7D3F2CF2F75E}"/>
          </ac:grpSpMkLst>
        </pc:grpChg>
        <pc:grpChg chg="add del mod">
          <ac:chgData name="Reuben Issac Jacob" userId="a26d73c9-1689-41bd-af50-ef825e838770" providerId="ADAL" clId="{F452BC9E-5BE8-4A0B-9F00-66A7219A31DE}" dt="2022-06-29T14:54:36.092" v="3182" actId="478"/>
          <ac:grpSpMkLst>
            <pc:docMk/>
            <pc:sldMk cId="429378152" sldId="2147470186"/>
            <ac:grpSpMk id="15" creationId="{734146B0-83BA-E2E2-D750-55F8413C575C}"/>
          </ac:grpSpMkLst>
        </pc:grpChg>
        <pc:grpChg chg="mod topLvl">
          <ac:chgData name="Reuben Issac Jacob" userId="a26d73c9-1689-41bd-af50-ef825e838770" providerId="ADAL" clId="{F452BC9E-5BE8-4A0B-9F00-66A7219A31DE}" dt="2022-06-29T14:54:55.517" v="3186" actId="1076"/>
          <ac:grpSpMkLst>
            <pc:docMk/>
            <pc:sldMk cId="429378152" sldId="2147470186"/>
            <ac:grpSpMk id="34" creationId="{D0477CC8-46EA-4171-9F11-7D55A1AB8FCE}"/>
          </ac:grpSpMkLst>
        </pc:grpChg>
        <pc:grpChg chg="mod">
          <ac:chgData name="Reuben Issac Jacob" userId="a26d73c9-1689-41bd-af50-ef825e838770" providerId="ADAL" clId="{F452BC9E-5BE8-4A0B-9F00-66A7219A31DE}" dt="2022-06-29T14:54:55.517" v="3186" actId="1076"/>
          <ac:grpSpMkLst>
            <pc:docMk/>
            <pc:sldMk cId="429378152" sldId="2147470186"/>
            <ac:grpSpMk id="60" creationId="{6E83A288-0ADD-428D-ADEA-35B2C812D04F}"/>
          </ac:grpSpMkLst>
        </pc:grpChg>
        <pc:grpChg chg="mod">
          <ac:chgData name="Reuben Issac Jacob" userId="a26d73c9-1689-41bd-af50-ef825e838770" providerId="ADAL" clId="{F452BC9E-5BE8-4A0B-9F00-66A7219A31DE}" dt="2022-06-29T14:54:55.517" v="3186" actId="1076"/>
          <ac:grpSpMkLst>
            <pc:docMk/>
            <pc:sldMk cId="429378152" sldId="2147470186"/>
            <ac:grpSpMk id="70" creationId="{EA1C7310-A2A4-46A6-AACE-72D84D6CC998}"/>
          </ac:grpSpMkLst>
        </pc:grpChg>
        <pc:grpChg chg="mod topLvl">
          <ac:chgData name="Reuben Issac Jacob" userId="a26d73c9-1689-41bd-af50-ef825e838770" providerId="ADAL" clId="{F452BC9E-5BE8-4A0B-9F00-66A7219A31DE}" dt="2022-06-29T14:54:55.517" v="3186" actId="1076"/>
          <ac:grpSpMkLst>
            <pc:docMk/>
            <pc:sldMk cId="429378152" sldId="2147470186"/>
            <ac:grpSpMk id="73" creationId="{C688EDBD-E206-4BF0-98FB-164C60CA2CA8}"/>
          </ac:grpSpMkLst>
        </pc:grpChg>
        <pc:grpChg chg="mod">
          <ac:chgData name="Reuben Issac Jacob" userId="a26d73c9-1689-41bd-af50-ef825e838770" providerId="ADAL" clId="{F452BC9E-5BE8-4A0B-9F00-66A7219A31DE}" dt="2022-06-29T14:54:55.517" v="3186" actId="1076"/>
          <ac:grpSpMkLst>
            <pc:docMk/>
            <pc:sldMk cId="429378152" sldId="2147470186"/>
            <ac:grpSpMk id="91" creationId="{BAF41B07-5E82-4BFA-9222-6957875E1404}"/>
          </ac:grpSpMkLst>
        </pc:grpChg>
        <pc:grpChg chg="mod">
          <ac:chgData name="Reuben Issac Jacob" userId="a26d73c9-1689-41bd-af50-ef825e838770" providerId="ADAL" clId="{F452BC9E-5BE8-4A0B-9F00-66A7219A31DE}" dt="2022-06-29T14:54:55.517" v="3186" actId="1076"/>
          <ac:grpSpMkLst>
            <pc:docMk/>
            <pc:sldMk cId="429378152" sldId="2147470186"/>
            <ac:grpSpMk id="94" creationId="{70B4770C-E4C5-405C-BB8F-312328162A53}"/>
          </ac:grpSpMkLst>
        </pc:grpChg>
        <pc:grpChg chg="mod">
          <ac:chgData name="Reuben Issac Jacob" userId="a26d73c9-1689-41bd-af50-ef825e838770" providerId="ADAL" clId="{F452BC9E-5BE8-4A0B-9F00-66A7219A31DE}" dt="2022-06-29T14:54:55.517" v="3186" actId="1076"/>
          <ac:grpSpMkLst>
            <pc:docMk/>
            <pc:sldMk cId="429378152" sldId="2147470186"/>
            <ac:grpSpMk id="97" creationId="{5FA0CB27-F610-4937-8CF1-83C89B4FA8E0}"/>
          </ac:grpSpMkLst>
        </pc:grpChg>
        <pc:grpChg chg="del">
          <ac:chgData name="Reuben Issac Jacob" userId="a26d73c9-1689-41bd-af50-ef825e838770" providerId="ADAL" clId="{F452BC9E-5BE8-4A0B-9F00-66A7219A31DE}" dt="2022-06-29T05:17:58.752" v="612" actId="478"/>
          <ac:grpSpMkLst>
            <pc:docMk/>
            <pc:sldMk cId="429378152" sldId="2147470186"/>
            <ac:grpSpMk id="101" creationId="{3A06299E-EC1B-4676-8EF6-D3ECB5355754}"/>
          </ac:grpSpMkLst>
        </pc:grpChg>
        <pc:picChg chg="mod">
          <ac:chgData name="Reuben Issac Jacob" userId="a26d73c9-1689-41bd-af50-ef825e838770" providerId="ADAL" clId="{F452BC9E-5BE8-4A0B-9F00-66A7219A31DE}" dt="2022-06-29T14:54:55.517" v="3186" actId="1076"/>
          <ac:picMkLst>
            <pc:docMk/>
            <pc:sldMk cId="429378152" sldId="2147470186"/>
            <ac:picMk id="68" creationId="{4D6229FD-096B-4AE8-A64B-E2EFC778AAC0}"/>
          </ac:picMkLst>
        </pc:picChg>
        <pc:picChg chg="mod">
          <ac:chgData name="Reuben Issac Jacob" userId="a26d73c9-1689-41bd-af50-ef825e838770" providerId="ADAL" clId="{F452BC9E-5BE8-4A0B-9F00-66A7219A31DE}" dt="2022-06-29T14:54:55.517" v="3186" actId="1076"/>
          <ac:picMkLst>
            <pc:docMk/>
            <pc:sldMk cId="429378152" sldId="2147470186"/>
            <ac:picMk id="69" creationId="{27A0562B-5D38-4EAC-A44C-020C9B98EF6E}"/>
          </ac:picMkLst>
        </pc:picChg>
        <pc:picChg chg="mod">
          <ac:chgData name="Reuben Issac Jacob" userId="a26d73c9-1689-41bd-af50-ef825e838770" providerId="ADAL" clId="{F452BC9E-5BE8-4A0B-9F00-66A7219A31DE}" dt="2022-06-29T14:54:55.517" v="3186" actId="1076"/>
          <ac:picMkLst>
            <pc:docMk/>
            <pc:sldMk cId="429378152" sldId="2147470186"/>
            <ac:picMk id="71" creationId="{C9BF07A7-93EE-484A-8B95-2A3D9D8688E0}"/>
          </ac:picMkLst>
        </pc:picChg>
        <pc:picChg chg="mod">
          <ac:chgData name="Reuben Issac Jacob" userId="a26d73c9-1689-41bd-af50-ef825e838770" providerId="ADAL" clId="{F452BC9E-5BE8-4A0B-9F00-66A7219A31DE}" dt="2022-06-29T14:54:55.517" v="3186" actId="1076"/>
          <ac:picMkLst>
            <pc:docMk/>
            <pc:sldMk cId="429378152" sldId="2147470186"/>
            <ac:picMk id="72" creationId="{603E2C31-9B92-48F2-9BE0-374F7D585361}"/>
          </ac:picMkLst>
        </pc:picChg>
        <pc:picChg chg="mod">
          <ac:chgData name="Reuben Issac Jacob" userId="a26d73c9-1689-41bd-af50-ef825e838770" providerId="ADAL" clId="{F452BC9E-5BE8-4A0B-9F00-66A7219A31DE}" dt="2022-06-29T14:54:55.517" v="3186" actId="1076"/>
          <ac:picMkLst>
            <pc:docMk/>
            <pc:sldMk cId="429378152" sldId="2147470186"/>
            <ac:picMk id="92" creationId="{872618C3-98FE-4C27-8F83-F29AA07281EA}"/>
          </ac:picMkLst>
        </pc:picChg>
        <pc:picChg chg="mod">
          <ac:chgData name="Reuben Issac Jacob" userId="a26d73c9-1689-41bd-af50-ef825e838770" providerId="ADAL" clId="{F452BC9E-5BE8-4A0B-9F00-66A7219A31DE}" dt="2022-06-29T14:54:55.517" v="3186" actId="1076"/>
          <ac:picMkLst>
            <pc:docMk/>
            <pc:sldMk cId="429378152" sldId="2147470186"/>
            <ac:picMk id="93" creationId="{CAE7AFA5-ED17-4ED1-9D2B-C844483F521A}"/>
          </ac:picMkLst>
        </pc:picChg>
        <pc:picChg chg="mod">
          <ac:chgData name="Reuben Issac Jacob" userId="a26d73c9-1689-41bd-af50-ef825e838770" providerId="ADAL" clId="{F452BC9E-5BE8-4A0B-9F00-66A7219A31DE}" dt="2022-06-29T14:54:55.517" v="3186" actId="1076"/>
          <ac:picMkLst>
            <pc:docMk/>
            <pc:sldMk cId="429378152" sldId="2147470186"/>
            <ac:picMk id="95" creationId="{49CD3E38-C83F-44AA-86AF-4CC2C44E59F4}"/>
          </ac:picMkLst>
        </pc:picChg>
        <pc:picChg chg="mod">
          <ac:chgData name="Reuben Issac Jacob" userId="a26d73c9-1689-41bd-af50-ef825e838770" providerId="ADAL" clId="{F452BC9E-5BE8-4A0B-9F00-66A7219A31DE}" dt="2022-06-29T14:54:55.517" v="3186" actId="1076"/>
          <ac:picMkLst>
            <pc:docMk/>
            <pc:sldMk cId="429378152" sldId="2147470186"/>
            <ac:picMk id="98" creationId="{DA75CA2D-9B28-47F2-A4B7-E516E85A42B0}"/>
          </ac:picMkLst>
        </pc:picChg>
        <pc:picChg chg="del">
          <ac:chgData name="Reuben Issac Jacob" userId="a26d73c9-1689-41bd-af50-ef825e838770" providerId="ADAL" clId="{F452BC9E-5BE8-4A0B-9F00-66A7219A31DE}" dt="2022-06-29T05:17:58.752" v="612" actId="478"/>
          <ac:picMkLst>
            <pc:docMk/>
            <pc:sldMk cId="429378152" sldId="2147470186"/>
            <ac:picMk id="100" creationId="{DCAAA5FD-8595-4934-917E-5AC403B18B0A}"/>
          </ac:picMkLst>
        </pc:picChg>
        <pc:picChg chg="del">
          <ac:chgData name="Reuben Issac Jacob" userId="a26d73c9-1689-41bd-af50-ef825e838770" providerId="ADAL" clId="{F452BC9E-5BE8-4A0B-9F00-66A7219A31DE}" dt="2022-06-29T05:02:48.741" v="382" actId="478"/>
          <ac:picMkLst>
            <pc:docMk/>
            <pc:sldMk cId="429378152" sldId="2147470186"/>
            <ac:picMk id="114" creationId="{53210CCC-FF4F-477A-AE67-E823ECA252C6}"/>
          </ac:picMkLst>
        </pc:picChg>
      </pc:sldChg>
      <pc:sldChg chg="addSp delSp modSp mod modTransition modClrScheme modAnim chgLayout">
        <pc:chgData name="Reuben Issac Jacob" userId="a26d73c9-1689-41bd-af50-ef825e838770" providerId="ADAL" clId="{F452BC9E-5BE8-4A0B-9F00-66A7219A31DE}" dt="2022-06-29T20:51:03.120" v="3903" actId="700"/>
        <pc:sldMkLst>
          <pc:docMk/>
          <pc:sldMk cId="1229434402" sldId="2147470187"/>
        </pc:sldMkLst>
        <pc:spChg chg="add del mod ord">
          <ac:chgData name="Reuben Issac Jacob" userId="a26d73c9-1689-41bd-af50-ef825e838770" providerId="ADAL" clId="{F452BC9E-5BE8-4A0B-9F00-66A7219A31DE}" dt="2022-06-29T20:51:03.120" v="3903" actId="700"/>
          <ac:spMkLst>
            <pc:docMk/>
            <pc:sldMk cId="1229434402" sldId="2147470187"/>
            <ac:spMk id="2" creationId="{EF9E6314-66D0-5B1C-3853-57CB29DDA84A}"/>
          </ac:spMkLst>
        </pc:spChg>
        <pc:spChg chg="del">
          <ac:chgData name="Reuben Issac Jacob" userId="a26d73c9-1689-41bd-af50-ef825e838770" providerId="ADAL" clId="{F452BC9E-5BE8-4A0B-9F00-66A7219A31DE}" dt="2022-06-29T13:44:39.349" v="1960" actId="478"/>
          <ac:spMkLst>
            <pc:docMk/>
            <pc:sldMk cId="1229434402" sldId="2147470187"/>
            <ac:spMk id="4" creationId="{4820D3A8-C50F-8A47-44AC-EFA6FC4FD82B}"/>
          </ac:spMkLst>
        </pc:spChg>
        <pc:spChg chg="mod ord">
          <ac:chgData name="Reuben Issac Jacob" userId="a26d73c9-1689-41bd-af50-ef825e838770" providerId="ADAL" clId="{F452BC9E-5BE8-4A0B-9F00-66A7219A31DE}" dt="2022-06-29T20:51:03.120" v="3903" actId="700"/>
          <ac:spMkLst>
            <pc:docMk/>
            <pc:sldMk cId="1229434402" sldId="2147470187"/>
            <ac:spMk id="5" creationId="{B9B142C6-67F5-ADCB-EC38-0C83CAA5ABD1}"/>
          </ac:spMkLst>
        </pc:spChg>
        <pc:spChg chg="mod ord">
          <ac:chgData name="Reuben Issac Jacob" userId="a26d73c9-1689-41bd-af50-ef825e838770" providerId="ADAL" clId="{F452BC9E-5BE8-4A0B-9F00-66A7219A31DE}" dt="2022-06-29T20:51:03.120" v="3903" actId="700"/>
          <ac:spMkLst>
            <pc:docMk/>
            <pc:sldMk cId="1229434402" sldId="2147470187"/>
            <ac:spMk id="6" creationId="{57B6340A-10FD-7A54-00C3-B2C15D530C66}"/>
          </ac:spMkLst>
        </pc:spChg>
      </pc:sldChg>
      <pc:sldChg chg="delSp modSp mod modAnim">
        <pc:chgData name="Reuben Issac Jacob" userId="a26d73c9-1689-41bd-af50-ef825e838770" providerId="ADAL" clId="{F452BC9E-5BE8-4A0B-9F00-66A7219A31DE}" dt="2022-06-29T20:34:14.454" v="3784"/>
        <pc:sldMkLst>
          <pc:docMk/>
          <pc:sldMk cId="1151731301" sldId="2147470188"/>
        </pc:sldMkLst>
        <pc:spChg chg="mod">
          <ac:chgData name="Reuben Issac Jacob" userId="a26d73c9-1689-41bd-af50-ef825e838770" providerId="ADAL" clId="{F452BC9E-5BE8-4A0B-9F00-66A7219A31DE}" dt="2022-06-29T13:48:08.764" v="2013" actId="552"/>
          <ac:spMkLst>
            <pc:docMk/>
            <pc:sldMk cId="1151731301" sldId="2147470188"/>
            <ac:spMk id="3" creationId="{BA6CAD71-2B13-63B5-1C6F-EA6CF19183F5}"/>
          </ac:spMkLst>
        </pc:spChg>
        <pc:spChg chg="del">
          <ac:chgData name="Reuben Issac Jacob" userId="a26d73c9-1689-41bd-af50-ef825e838770" providerId="ADAL" clId="{F452BC9E-5BE8-4A0B-9F00-66A7219A31DE}" dt="2022-06-29T13:46:57.936" v="1981" actId="478"/>
          <ac:spMkLst>
            <pc:docMk/>
            <pc:sldMk cId="1151731301" sldId="2147470188"/>
            <ac:spMk id="4" creationId="{0E702CEB-6AEE-7796-02EB-06D907211382}"/>
          </ac:spMkLst>
        </pc:spChg>
        <pc:picChg chg="mod">
          <ac:chgData name="Reuben Issac Jacob" userId="a26d73c9-1689-41bd-af50-ef825e838770" providerId="ADAL" clId="{F452BC9E-5BE8-4A0B-9F00-66A7219A31DE}" dt="2022-06-29T13:47:54.338" v="2009" actId="1076"/>
          <ac:picMkLst>
            <pc:docMk/>
            <pc:sldMk cId="1151731301" sldId="2147470188"/>
            <ac:picMk id="5" creationId="{D124D0CE-1E43-203D-A5BD-9ADD54E0BD4F}"/>
          </ac:picMkLst>
        </pc:picChg>
        <pc:picChg chg="mod">
          <ac:chgData name="Reuben Issac Jacob" userId="a26d73c9-1689-41bd-af50-ef825e838770" providerId="ADAL" clId="{F452BC9E-5BE8-4A0B-9F00-66A7219A31DE}" dt="2022-06-29T13:48:13.411" v="2014" actId="14100"/>
          <ac:picMkLst>
            <pc:docMk/>
            <pc:sldMk cId="1151731301" sldId="2147470188"/>
            <ac:picMk id="6" creationId="{C0DE31AE-CD97-012E-F29D-9D8B69DFBE4B}"/>
          </ac:picMkLst>
        </pc:picChg>
      </pc:sldChg>
      <pc:sldChg chg="modSp mod modShow">
        <pc:chgData name="Reuben Issac Jacob" userId="a26d73c9-1689-41bd-af50-ef825e838770" providerId="ADAL" clId="{F452BC9E-5BE8-4A0B-9F00-66A7219A31DE}" dt="2022-06-29T14:36:40.221" v="2769" actId="729"/>
        <pc:sldMkLst>
          <pc:docMk/>
          <pc:sldMk cId="2996763583" sldId="2147470189"/>
        </pc:sldMkLst>
        <pc:picChg chg="mod">
          <ac:chgData name="Reuben Issac Jacob" userId="a26d73c9-1689-41bd-af50-ef825e838770" providerId="ADAL" clId="{F452BC9E-5BE8-4A0B-9F00-66A7219A31DE}" dt="2022-06-29T14:19:13.131" v="2274" actId="14100"/>
          <ac:picMkLst>
            <pc:docMk/>
            <pc:sldMk cId="2996763583" sldId="2147470189"/>
            <ac:picMk id="2050" creationId="{8B489611-6518-AD2A-2DE3-F7FEDDF83EA1}"/>
          </ac:picMkLst>
        </pc:picChg>
      </pc:sldChg>
      <pc:sldChg chg="delSp modSp mod modClrScheme modAnim chgLayout">
        <pc:chgData name="Reuben Issac Jacob" userId="a26d73c9-1689-41bd-af50-ef825e838770" providerId="ADAL" clId="{F452BC9E-5BE8-4A0B-9F00-66A7219A31DE}" dt="2022-06-29T20:42:13.865" v="3868"/>
        <pc:sldMkLst>
          <pc:docMk/>
          <pc:sldMk cId="1679778013" sldId="2147470190"/>
        </pc:sldMkLst>
        <pc:spChg chg="mod ord">
          <ac:chgData name="Reuben Issac Jacob" userId="a26d73c9-1689-41bd-af50-ef825e838770" providerId="ADAL" clId="{F452BC9E-5BE8-4A0B-9F00-66A7219A31DE}" dt="2022-06-29T14:45:00.725" v="2885" actId="700"/>
          <ac:spMkLst>
            <pc:docMk/>
            <pc:sldMk cId="1679778013" sldId="2147470190"/>
            <ac:spMk id="2" creationId="{E75AA307-FFB4-61C0-9625-C40AD7AE3A44}"/>
          </ac:spMkLst>
        </pc:spChg>
        <pc:spChg chg="mod ord">
          <ac:chgData name="Reuben Issac Jacob" userId="a26d73c9-1689-41bd-af50-ef825e838770" providerId="ADAL" clId="{F452BC9E-5BE8-4A0B-9F00-66A7219A31DE}" dt="2022-06-29T14:45:17.410" v="2888" actId="207"/>
          <ac:spMkLst>
            <pc:docMk/>
            <pc:sldMk cId="1679778013" sldId="2147470190"/>
            <ac:spMk id="3" creationId="{5813D571-3500-471D-92AD-1D09387D5B23}"/>
          </ac:spMkLst>
        </pc:spChg>
        <pc:spChg chg="del mod ord">
          <ac:chgData name="Reuben Issac Jacob" userId="a26d73c9-1689-41bd-af50-ef825e838770" providerId="ADAL" clId="{F452BC9E-5BE8-4A0B-9F00-66A7219A31DE}" dt="2022-06-29T14:45:23.445" v="2889" actId="478"/>
          <ac:spMkLst>
            <pc:docMk/>
            <pc:sldMk cId="1679778013" sldId="2147470190"/>
            <ac:spMk id="4" creationId="{D4A8C686-B8F8-246E-A8B0-58598616C6CB}"/>
          </ac:spMkLst>
        </pc:spChg>
      </pc:sldChg>
      <pc:sldChg chg="modSp mod modClrScheme modAnim chgLayout">
        <pc:chgData name="Reuben Issac Jacob" userId="a26d73c9-1689-41bd-af50-ef825e838770" providerId="ADAL" clId="{F452BC9E-5BE8-4A0B-9F00-66A7219A31DE}" dt="2022-06-29T20:41:55.475" v="3864"/>
        <pc:sldMkLst>
          <pc:docMk/>
          <pc:sldMk cId="3558894971" sldId="2147470191"/>
        </pc:sldMkLst>
        <pc:spChg chg="mod ord">
          <ac:chgData name="Reuben Issac Jacob" userId="a26d73c9-1689-41bd-af50-ef825e838770" providerId="ADAL" clId="{F452BC9E-5BE8-4A0B-9F00-66A7219A31DE}" dt="2022-06-29T14:43:36.044" v="2871" actId="700"/>
          <ac:spMkLst>
            <pc:docMk/>
            <pc:sldMk cId="3558894971" sldId="2147470191"/>
            <ac:spMk id="2" creationId="{18BE0E10-DC8B-2E87-115C-16CAB558BB86}"/>
          </ac:spMkLst>
        </pc:spChg>
        <pc:spChg chg="mod ord">
          <ac:chgData name="Reuben Issac Jacob" userId="a26d73c9-1689-41bd-af50-ef825e838770" providerId="ADAL" clId="{F452BC9E-5BE8-4A0B-9F00-66A7219A31DE}" dt="2022-06-29T14:44:50.202" v="2884" actId="12"/>
          <ac:spMkLst>
            <pc:docMk/>
            <pc:sldMk cId="3558894971" sldId="2147470191"/>
            <ac:spMk id="3" creationId="{BA6CAD71-2B13-63B5-1C6F-EA6CF19183F5}"/>
          </ac:spMkLst>
        </pc:spChg>
        <pc:spChg chg="mod ord">
          <ac:chgData name="Reuben Issac Jacob" userId="a26d73c9-1689-41bd-af50-ef825e838770" providerId="ADAL" clId="{F452BC9E-5BE8-4A0B-9F00-66A7219A31DE}" dt="2022-06-29T14:43:36.044" v="2871" actId="700"/>
          <ac:spMkLst>
            <pc:docMk/>
            <pc:sldMk cId="3558894971" sldId="2147470191"/>
            <ac:spMk id="4" creationId="{0E702CEB-6AEE-7796-02EB-06D907211382}"/>
          </ac:spMkLst>
        </pc:spChg>
      </pc:sldChg>
      <pc:sldChg chg="addSp delSp modSp mod modClrScheme modAnim chgLayout">
        <pc:chgData name="Reuben Issac Jacob" userId="a26d73c9-1689-41bd-af50-ef825e838770" providerId="ADAL" clId="{F452BC9E-5BE8-4A0B-9F00-66A7219A31DE}" dt="2022-06-29T20:50:50.769" v="3902" actId="700"/>
        <pc:sldMkLst>
          <pc:docMk/>
          <pc:sldMk cId="4053416595" sldId="2147470192"/>
        </pc:sldMkLst>
        <pc:spChg chg="add del mod ord">
          <ac:chgData name="Reuben Issac Jacob" userId="a26d73c9-1689-41bd-af50-ef825e838770" providerId="ADAL" clId="{F452BC9E-5BE8-4A0B-9F00-66A7219A31DE}" dt="2022-06-29T07:12:24.813" v="1619" actId="700"/>
          <ac:spMkLst>
            <pc:docMk/>
            <pc:sldMk cId="4053416595" sldId="2147470192"/>
            <ac:spMk id="2" creationId="{33B18EB5-A388-9111-4266-E57B4BB4F7DF}"/>
          </ac:spMkLst>
        </pc:spChg>
        <pc:spChg chg="add del mod ord">
          <ac:chgData name="Reuben Issac Jacob" userId="a26d73c9-1689-41bd-af50-ef825e838770" providerId="ADAL" clId="{F452BC9E-5BE8-4A0B-9F00-66A7219A31DE}" dt="2022-06-29T20:50:50.769" v="3902" actId="700"/>
          <ac:spMkLst>
            <pc:docMk/>
            <pc:sldMk cId="4053416595" sldId="2147470192"/>
            <ac:spMk id="3" creationId="{974AE63A-4DA4-26C9-07B6-1E682AF6596C}"/>
          </ac:spMkLst>
        </pc:spChg>
        <pc:spChg chg="mod ord">
          <ac:chgData name="Reuben Issac Jacob" userId="a26d73c9-1689-41bd-af50-ef825e838770" providerId="ADAL" clId="{F452BC9E-5BE8-4A0B-9F00-66A7219A31DE}" dt="2022-06-29T20:50:50.769" v="3902" actId="700"/>
          <ac:spMkLst>
            <pc:docMk/>
            <pc:sldMk cId="4053416595" sldId="2147470192"/>
            <ac:spMk id="4" creationId="{7D170F9C-A2C8-11DC-ADE7-317AF98BAC57}"/>
          </ac:spMkLst>
        </pc:spChg>
        <pc:spChg chg="mod ord">
          <ac:chgData name="Reuben Issac Jacob" userId="a26d73c9-1689-41bd-af50-ef825e838770" providerId="ADAL" clId="{F452BC9E-5BE8-4A0B-9F00-66A7219A31DE}" dt="2022-06-29T20:50:50.769" v="3902" actId="700"/>
          <ac:spMkLst>
            <pc:docMk/>
            <pc:sldMk cId="4053416595" sldId="2147470192"/>
            <ac:spMk id="5" creationId="{C175574A-1954-26D0-99B0-E5002C81FF8C}"/>
          </ac:spMkLst>
        </pc:spChg>
        <pc:spChg chg="add del mod">
          <ac:chgData name="Reuben Issac Jacob" userId="a26d73c9-1689-41bd-af50-ef825e838770" providerId="ADAL" clId="{F452BC9E-5BE8-4A0B-9F00-66A7219A31DE}" dt="2022-06-29T07:12:10.233" v="1617"/>
          <ac:spMkLst>
            <pc:docMk/>
            <pc:sldMk cId="4053416595" sldId="2147470192"/>
            <ac:spMk id="6" creationId="{538CAFAB-E45E-A8E0-77CF-185B84D6E7BF}"/>
          </ac:spMkLst>
        </pc:spChg>
      </pc:sldChg>
      <pc:sldChg chg="addSp delSp modSp mod modClrScheme chgLayout">
        <pc:chgData name="Reuben Issac Jacob" userId="a26d73c9-1689-41bd-af50-ef825e838770" providerId="ADAL" clId="{F452BC9E-5BE8-4A0B-9F00-66A7219A31DE}" dt="2022-06-29T20:49:06.789" v="3899" actId="478"/>
        <pc:sldMkLst>
          <pc:docMk/>
          <pc:sldMk cId="552015189" sldId="2147470193"/>
        </pc:sldMkLst>
        <pc:spChg chg="add mod ord">
          <ac:chgData name="Reuben Issac Jacob" userId="a26d73c9-1689-41bd-af50-ef825e838770" providerId="ADAL" clId="{F452BC9E-5BE8-4A0B-9F00-66A7219A31DE}" dt="2022-06-29T13:40:44.531" v="1914" actId="20577"/>
          <ac:spMkLst>
            <pc:docMk/>
            <pc:sldMk cId="552015189" sldId="2147470193"/>
            <ac:spMk id="2" creationId="{C22D04A3-8CAF-2D42-234C-BF1B1E346D1D}"/>
          </ac:spMkLst>
        </pc:spChg>
        <pc:spChg chg="del">
          <ac:chgData name="Reuben Issac Jacob" userId="a26d73c9-1689-41bd-af50-ef825e838770" providerId="ADAL" clId="{F452BC9E-5BE8-4A0B-9F00-66A7219A31DE}" dt="2022-06-29T13:37:28.035" v="1893" actId="478"/>
          <ac:spMkLst>
            <pc:docMk/>
            <pc:sldMk cId="552015189" sldId="2147470193"/>
            <ac:spMk id="4" creationId="{B067A5A3-8F3D-B34D-ED97-32479D0187B9}"/>
          </ac:spMkLst>
        </pc:spChg>
        <pc:spChg chg="mod">
          <ac:chgData name="Reuben Issac Jacob" userId="a26d73c9-1689-41bd-af50-ef825e838770" providerId="ADAL" clId="{F452BC9E-5BE8-4A0B-9F00-66A7219A31DE}" dt="2022-06-29T13:38:09.253" v="1897"/>
          <ac:spMkLst>
            <pc:docMk/>
            <pc:sldMk cId="552015189" sldId="2147470193"/>
            <ac:spMk id="6" creationId="{CBBBD716-59B0-04A9-75D6-3F6830E708CE}"/>
          </ac:spMkLst>
        </pc:spChg>
        <pc:spChg chg="mod">
          <ac:chgData name="Reuben Issac Jacob" userId="a26d73c9-1689-41bd-af50-ef825e838770" providerId="ADAL" clId="{F452BC9E-5BE8-4A0B-9F00-66A7219A31DE}" dt="2022-06-29T13:38:09.253" v="1897"/>
          <ac:spMkLst>
            <pc:docMk/>
            <pc:sldMk cId="552015189" sldId="2147470193"/>
            <ac:spMk id="7" creationId="{D0E51C58-17DD-9E84-2BF2-495F58CD5E47}"/>
          </ac:spMkLst>
        </pc:spChg>
        <pc:spChg chg="mod">
          <ac:chgData name="Reuben Issac Jacob" userId="a26d73c9-1689-41bd-af50-ef825e838770" providerId="ADAL" clId="{F452BC9E-5BE8-4A0B-9F00-66A7219A31DE}" dt="2022-06-29T13:38:09.253" v="1897"/>
          <ac:spMkLst>
            <pc:docMk/>
            <pc:sldMk cId="552015189" sldId="2147470193"/>
            <ac:spMk id="8" creationId="{7EB062C1-8F55-EBE1-C905-8840A923C1E9}"/>
          </ac:spMkLst>
        </pc:spChg>
        <pc:spChg chg="mod">
          <ac:chgData name="Reuben Issac Jacob" userId="a26d73c9-1689-41bd-af50-ef825e838770" providerId="ADAL" clId="{F452BC9E-5BE8-4A0B-9F00-66A7219A31DE}" dt="2022-06-29T13:38:09.253" v="1897"/>
          <ac:spMkLst>
            <pc:docMk/>
            <pc:sldMk cId="552015189" sldId="2147470193"/>
            <ac:spMk id="9" creationId="{8DAA3B14-13BA-1B79-5357-59AB47FE8FD4}"/>
          </ac:spMkLst>
        </pc:spChg>
        <pc:spChg chg="mod">
          <ac:chgData name="Reuben Issac Jacob" userId="a26d73c9-1689-41bd-af50-ef825e838770" providerId="ADAL" clId="{F452BC9E-5BE8-4A0B-9F00-66A7219A31DE}" dt="2022-06-29T13:38:09.253" v="1897"/>
          <ac:spMkLst>
            <pc:docMk/>
            <pc:sldMk cId="552015189" sldId="2147470193"/>
            <ac:spMk id="10" creationId="{0ECC94E1-5955-8D4D-01DF-8DBAA4F3F3D1}"/>
          </ac:spMkLst>
        </pc:spChg>
        <pc:spChg chg="mod topLvl">
          <ac:chgData name="Reuben Issac Jacob" userId="a26d73c9-1689-41bd-af50-ef825e838770" providerId="ADAL" clId="{F452BC9E-5BE8-4A0B-9F00-66A7219A31DE}" dt="2022-06-29T13:40:17.249" v="1908" actId="165"/>
          <ac:spMkLst>
            <pc:docMk/>
            <pc:sldMk cId="552015189" sldId="2147470193"/>
            <ac:spMk id="12" creationId="{815A8441-08C3-829D-D717-F6A5211F3AAD}"/>
          </ac:spMkLst>
        </pc:spChg>
        <pc:spChg chg="mod topLvl">
          <ac:chgData name="Reuben Issac Jacob" userId="a26d73c9-1689-41bd-af50-ef825e838770" providerId="ADAL" clId="{F452BC9E-5BE8-4A0B-9F00-66A7219A31DE}" dt="2022-06-29T13:42:23.143" v="1932" actId="164"/>
          <ac:spMkLst>
            <pc:docMk/>
            <pc:sldMk cId="552015189" sldId="2147470193"/>
            <ac:spMk id="14" creationId="{3D4D3B58-2274-E588-AACE-7D04C3249930}"/>
          </ac:spMkLst>
        </pc:spChg>
        <pc:spChg chg="mod topLvl">
          <ac:chgData name="Reuben Issac Jacob" userId="a26d73c9-1689-41bd-af50-ef825e838770" providerId="ADAL" clId="{F452BC9E-5BE8-4A0B-9F00-66A7219A31DE}" dt="2022-06-29T13:42:23.143" v="1932" actId="164"/>
          <ac:spMkLst>
            <pc:docMk/>
            <pc:sldMk cId="552015189" sldId="2147470193"/>
            <ac:spMk id="16" creationId="{A79AD41C-F7B5-801F-3254-9BD714138B76}"/>
          </ac:spMkLst>
        </pc:spChg>
        <pc:spChg chg="del mod">
          <ac:chgData name="Reuben Issac Jacob" userId="a26d73c9-1689-41bd-af50-ef825e838770" providerId="ADAL" clId="{F452BC9E-5BE8-4A0B-9F00-66A7219A31DE}" dt="2022-06-29T13:41:05.863" v="1915" actId="478"/>
          <ac:spMkLst>
            <pc:docMk/>
            <pc:sldMk cId="552015189" sldId="2147470193"/>
            <ac:spMk id="22" creationId="{1D5DA97D-F80A-9396-0953-5D5360C4586C}"/>
          </ac:spMkLst>
        </pc:spChg>
        <pc:spChg chg="del mod">
          <ac:chgData name="Reuben Issac Jacob" userId="a26d73c9-1689-41bd-af50-ef825e838770" providerId="ADAL" clId="{F452BC9E-5BE8-4A0B-9F00-66A7219A31DE}" dt="2022-06-29T13:41:05.863" v="1915" actId="478"/>
          <ac:spMkLst>
            <pc:docMk/>
            <pc:sldMk cId="552015189" sldId="2147470193"/>
            <ac:spMk id="23" creationId="{4D3305FE-D77F-41F1-4138-1D0DAFDDA0DE}"/>
          </ac:spMkLst>
        </pc:spChg>
        <pc:spChg chg="del mod">
          <ac:chgData name="Reuben Issac Jacob" userId="a26d73c9-1689-41bd-af50-ef825e838770" providerId="ADAL" clId="{F452BC9E-5BE8-4A0B-9F00-66A7219A31DE}" dt="2022-06-29T13:41:05.863" v="1915" actId="478"/>
          <ac:spMkLst>
            <pc:docMk/>
            <pc:sldMk cId="552015189" sldId="2147470193"/>
            <ac:spMk id="24" creationId="{87C82608-933D-C7BD-15F1-AA00B17FD058}"/>
          </ac:spMkLst>
        </pc:spChg>
        <pc:spChg chg="del mod">
          <ac:chgData name="Reuben Issac Jacob" userId="a26d73c9-1689-41bd-af50-ef825e838770" providerId="ADAL" clId="{F452BC9E-5BE8-4A0B-9F00-66A7219A31DE}" dt="2022-06-29T13:41:05.863" v="1915" actId="478"/>
          <ac:spMkLst>
            <pc:docMk/>
            <pc:sldMk cId="552015189" sldId="2147470193"/>
            <ac:spMk id="25" creationId="{B639946A-159A-E6BC-B22E-8505A4FEF2B0}"/>
          </ac:spMkLst>
        </pc:spChg>
        <pc:spChg chg="del mod">
          <ac:chgData name="Reuben Issac Jacob" userId="a26d73c9-1689-41bd-af50-ef825e838770" providerId="ADAL" clId="{F452BC9E-5BE8-4A0B-9F00-66A7219A31DE}" dt="2022-06-29T13:41:05.863" v="1915" actId="478"/>
          <ac:spMkLst>
            <pc:docMk/>
            <pc:sldMk cId="552015189" sldId="2147470193"/>
            <ac:spMk id="26" creationId="{451BC7E2-4B14-F2E7-C71C-A0BA2CAF7850}"/>
          </ac:spMkLst>
        </pc:spChg>
        <pc:spChg chg="del mod">
          <ac:chgData name="Reuben Issac Jacob" userId="a26d73c9-1689-41bd-af50-ef825e838770" providerId="ADAL" clId="{F452BC9E-5BE8-4A0B-9F00-66A7219A31DE}" dt="2022-06-29T13:41:13.380" v="1916" actId="478"/>
          <ac:spMkLst>
            <pc:docMk/>
            <pc:sldMk cId="552015189" sldId="2147470193"/>
            <ac:spMk id="28" creationId="{841E05B7-40AF-4C4C-DFCF-D13F2ACB3D80}"/>
          </ac:spMkLst>
        </pc:spChg>
        <pc:spChg chg="del mod">
          <ac:chgData name="Reuben Issac Jacob" userId="a26d73c9-1689-41bd-af50-ef825e838770" providerId="ADAL" clId="{F452BC9E-5BE8-4A0B-9F00-66A7219A31DE}" dt="2022-06-29T13:41:13.380" v="1916" actId="478"/>
          <ac:spMkLst>
            <pc:docMk/>
            <pc:sldMk cId="552015189" sldId="2147470193"/>
            <ac:spMk id="29" creationId="{191A7AE4-AAB6-B98E-F128-FC154447F5DF}"/>
          </ac:spMkLst>
        </pc:spChg>
        <pc:spChg chg="del mod">
          <ac:chgData name="Reuben Issac Jacob" userId="a26d73c9-1689-41bd-af50-ef825e838770" providerId="ADAL" clId="{F452BC9E-5BE8-4A0B-9F00-66A7219A31DE}" dt="2022-06-29T13:41:13.380" v="1916" actId="478"/>
          <ac:spMkLst>
            <pc:docMk/>
            <pc:sldMk cId="552015189" sldId="2147470193"/>
            <ac:spMk id="30" creationId="{63B62322-65F6-7569-A6F9-791528547B9A}"/>
          </ac:spMkLst>
        </pc:spChg>
        <pc:spChg chg="del mod">
          <ac:chgData name="Reuben Issac Jacob" userId="a26d73c9-1689-41bd-af50-ef825e838770" providerId="ADAL" clId="{F452BC9E-5BE8-4A0B-9F00-66A7219A31DE}" dt="2022-06-29T13:41:13.380" v="1916" actId="478"/>
          <ac:spMkLst>
            <pc:docMk/>
            <pc:sldMk cId="552015189" sldId="2147470193"/>
            <ac:spMk id="31" creationId="{98345C77-A39D-6EA7-DD1E-204D4F7524F5}"/>
          </ac:spMkLst>
        </pc:spChg>
        <pc:spChg chg="del mod">
          <ac:chgData name="Reuben Issac Jacob" userId="a26d73c9-1689-41bd-af50-ef825e838770" providerId="ADAL" clId="{F452BC9E-5BE8-4A0B-9F00-66A7219A31DE}" dt="2022-06-29T13:41:13.380" v="1916" actId="478"/>
          <ac:spMkLst>
            <pc:docMk/>
            <pc:sldMk cId="552015189" sldId="2147470193"/>
            <ac:spMk id="32" creationId="{2E96C880-CA7F-0D9E-AC7D-C71BD604D09C}"/>
          </ac:spMkLst>
        </pc:spChg>
        <pc:spChg chg="del mod">
          <ac:chgData name="Reuben Issac Jacob" userId="a26d73c9-1689-41bd-af50-ef825e838770" providerId="ADAL" clId="{F452BC9E-5BE8-4A0B-9F00-66A7219A31DE}" dt="2022-06-29T13:41:23.251" v="1918" actId="478"/>
          <ac:spMkLst>
            <pc:docMk/>
            <pc:sldMk cId="552015189" sldId="2147470193"/>
            <ac:spMk id="34" creationId="{E3A3E431-4989-1B60-5FE2-432E45FCC9B6}"/>
          </ac:spMkLst>
        </pc:spChg>
        <pc:spChg chg="del mod">
          <ac:chgData name="Reuben Issac Jacob" userId="a26d73c9-1689-41bd-af50-ef825e838770" providerId="ADAL" clId="{F452BC9E-5BE8-4A0B-9F00-66A7219A31DE}" dt="2022-06-29T13:41:18.438" v="1917" actId="478"/>
          <ac:spMkLst>
            <pc:docMk/>
            <pc:sldMk cId="552015189" sldId="2147470193"/>
            <ac:spMk id="35" creationId="{3C8CDCC9-1734-56CC-C3BB-7038D61468E1}"/>
          </ac:spMkLst>
        </pc:spChg>
        <pc:spChg chg="del mod">
          <ac:chgData name="Reuben Issac Jacob" userId="a26d73c9-1689-41bd-af50-ef825e838770" providerId="ADAL" clId="{F452BC9E-5BE8-4A0B-9F00-66A7219A31DE}" dt="2022-06-29T13:41:18.438" v="1917" actId="478"/>
          <ac:spMkLst>
            <pc:docMk/>
            <pc:sldMk cId="552015189" sldId="2147470193"/>
            <ac:spMk id="36" creationId="{E9CC7F4B-55B6-2A13-F741-7A3D8831E3B2}"/>
          </ac:spMkLst>
        </pc:spChg>
        <pc:spChg chg="del mod">
          <ac:chgData name="Reuben Issac Jacob" userId="a26d73c9-1689-41bd-af50-ef825e838770" providerId="ADAL" clId="{F452BC9E-5BE8-4A0B-9F00-66A7219A31DE}" dt="2022-06-29T13:41:18.438" v="1917" actId="478"/>
          <ac:spMkLst>
            <pc:docMk/>
            <pc:sldMk cId="552015189" sldId="2147470193"/>
            <ac:spMk id="37" creationId="{67F43553-7359-B3C4-38CC-C033E3CE1844}"/>
          </ac:spMkLst>
        </pc:spChg>
        <pc:spChg chg="del mod">
          <ac:chgData name="Reuben Issac Jacob" userId="a26d73c9-1689-41bd-af50-ef825e838770" providerId="ADAL" clId="{F452BC9E-5BE8-4A0B-9F00-66A7219A31DE}" dt="2022-06-29T13:41:18.438" v="1917" actId="478"/>
          <ac:spMkLst>
            <pc:docMk/>
            <pc:sldMk cId="552015189" sldId="2147470193"/>
            <ac:spMk id="38" creationId="{803B96B2-5199-99A4-B086-C1946976C74E}"/>
          </ac:spMkLst>
        </pc:spChg>
        <pc:spChg chg="del mod">
          <ac:chgData name="Reuben Issac Jacob" userId="a26d73c9-1689-41bd-af50-ef825e838770" providerId="ADAL" clId="{F452BC9E-5BE8-4A0B-9F00-66A7219A31DE}" dt="2022-06-29T13:41:30.037" v="1919" actId="478"/>
          <ac:spMkLst>
            <pc:docMk/>
            <pc:sldMk cId="552015189" sldId="2147470193"/>
            <ac:spMk id="40" creationId="{46092A44-B5EF-386F-353E-4A63011FAEC7}"/>
          </ac:spMkLst>
        </pc:spChg>
        <pc:spChg chg="del mod">
          <ac:chgData name="Reuben Issac Jacob" userId="a26d73c9-1689-41bd-af50-ef825e838770" providerId="ADAL" clId="{F452BC9E-5BE8-4A0B-9F00-66A7219A31DE}" dt="2022-06-29T13:41:30.037" v="1919" actId="478"/>
          <ac:spMkLst>
            <pc:docMk/>
            <pc:sldMk cId="552015189" sldId="2147470193"/>
            <ac:spMk id="41" creationId="{9B4D7BB4-E99D-3B2D-6799-DDE8AD70A7D8}"/>
          </ac:spMkLst>
        </pc:spChg>
        <pc:spChg chg="del mod">
          <ac:chgData name="Reuben Issac Jacob" userId="a26d73c9-1689-41bd-af50-ef825e838770" providerId="ADAL" clId="{F452BC9E-5BE8-4A0B-9F00-66A7219A31DE}" dt="2022-06-29T13:41:30.037" v="1919" actId="478"/>
          <ac:spMkLst>
            <pc:docMk/>
            <pc:sldMk cId="552015189" sldId="2147470193"/>
            <ac:spMk id="42" creationId="{D63E6CFA-5A06-B291-80E7-DBDECF0762FD}"/>
          </ac:spMkLst>
        </pc:spChg>
        <pc:spChg chg="del mod">
          <ac:chgData name="Reuben Issac Jacob" userId="a26d73c9-1689-41bd-af50-ef825e838770" providerId="ADAL" clId="{F452BC9E-5BE8-4A0B-9F00-66A7219A31DE}" dt="2022-06-29T13:41:30.037" v="1919" actId="478"/>
          <ac:spMkLst>
            <pc:docMk/>
            <pc:sldMk cId="552015189" sldId="2147470193"/>
            <ac:spMk id="43" creationId="{17ADD6E5-5C22-8CE2-A3EA-00C424BDE80A}"/>
          </ac:spMkLst>
        </pc:spChg>
        <pc:spChg chg="del mod">
          <ac:chgData name="Reuben Issac Jacob" userId="a26d73c9-1689-41bd-af50-ef825e838770" providerId="ADAL" clId="{F452BC9E-5BE8-4A0B-9F00-66A7219A31DE}" dt="2022-06-29T13:41:30.037" v="1919" actId="478"/>
          <ac:spMkLst>
            <pc:docMk/>
            <pc:sldMk cId="552015189" sldId="2147470193"/>
            <ac:spMk id="44" creationId="{00A23C39-97C6-3A3F-A278-D23F667F8226}"/>
          </ac:spMkLst>
        </pc:spChg>
        <pc:spChg chg="mod topLvl">
          <ac:chgData name="Reuben Issac Jacob" userId="a26d73c9-1689-41bd-af50-ef825e838770" providerId="ADAL" clId="{F452BC9E-5BE8-4A0B-9F00-66A7219A31DE}" dt="2022-06-29T13:41:57.462" v="1926" actId="164"/>
          <ac:spMkLst>
            <pc:docMk/>
            <pc:sldMk cId="552015189" sldId="2147470193"/>
            <ac:spMk id="46" creationId="{95936E13-22CD-3CDC-F967-73F1276F1D0C}"/>
          </ac:spMkLst>
        </pc:spChg>
        <pc:spChg chg="mod topLvl">
          <ac:chgData name="Reuben Issac Jacob" userId="a26d73c9-1689-41bd-af50-ef825e838770" providerId="ADAL" clId="{F452BC9E-5BE8-4A0B-9F00-66A7219A31DE}" dt="2022-06-29T13:41:57.462" v="1926" actId="164"/>
          <ac:spMkLst>
            <pc:docMk/>
            <pc:sldMk cId="552015189" sldId="2147470193"/>
            <ac:spMk id="47" creationId="{F1E282E8-90D4-7567-661D-937DD29F33BE}"/>
          </ac:spMkLst>
        </pc:spChg>
        <pc:spChg chg="mod topLvl">
          <ac:chgData name="Reuben Issac Jacob" userId="a26d73c9-1689-41bd-af50-ef825e838770" providerId="ADAL" clId="{F452BC9E-5BE8-4A0B-9F00-66A7219A31DE}" dt="2022-06-29T13:41:57.462" v="1926" actId="164"/>
          <ac:spMkLst>
            <pc:docMk/>
            <pc:sldMk cId="552015189" sldId="2147470193"/>
            <ac:spMk id="48" creationId="{C64A910A-7AE3-91A9-9A23-E4785083D4D2}"/>
          </ac:spMkLst>
        </pc:spChg>
        <pc:spChg chg="mod topLvl">
          <ac:chgData name="Reuben Issac Jacob" userId="a26d73c9-1689-41bd-af50-ef825e838770" providerId="ADAL" clId="{F452BC9E-5BE8-4A0B-9F00-66A7219A31DE}" dt="2022-06-29T13:41:57.462" v="1926" actId="164"/>
          <ac:spMkLst>
            <pc:docMk/>
            <pc:sldMk cId="552015189" sldId="2147470193"/>
            <ac:spMk id="49" creationId="{04F8DD3C-1107-7B15-F62B-E23F72B3C2C3}"/>
          </ac:spMkLst>
        </pc:spChg>
        <pc:spChg chg="mod topLvl">
          <ac:chgData name="Reuben Issac Jacob" userId="a26d73c9-1689-41bd-af50-ef825e838770" providerId="ADAL" clId="{F452BC9E-5BE8-4A0B-9F00-66A7219A31DE}" dt="2022-06-29T13:41:57.462" v="1926" actId="164"/>
          <ac:spMkLst>
            <pc:docMk/>
            <pc:sldMk cId="552015189" sldId="2147470193"/>
            <ac:spMk id="50" creationId="{6D84C0D8-628B-56FD-D7F6-F1EA2BCE02D2}"/>
          </ac:spMkLst>
        </pc:spChg>
        <pc:grpChg chg="add mod">
          <ac:chgData name="Reuben Issac Jacob" userId="a26d73c9-1689-41bd-af50-ef825e838770" providerId="ADAL" clId="{F452BC9E-5BE8-4A0B-9F00-66A7219A31DE}" dt="2022-06-29T13:42:23.143" v="1932" actId="164"/>
          <ac:grpSpMkLst>
            <pc:docMk/>
            <pc:sldMk cId="552015189" sldId="2147470193"/>
            <ac:grpSpMk id="3" creationId="{14C2A914-5227-0AB8-809A-AE2AF8754696}"/>
          </ac:grpSpMkLst>
        </pc:grpChg>
        <pc:grpChg chg="add mod">
          <ac:chgData name="Reuben Issac Jacob" userId="a26d73c9-1689-41bd-af50-ef825e838770" providerId="ADAL" clId="{F452BC9E-5BE8-4A0B-9F00-66A7219A31DE}" dt="2022-06-29T20:48:30.014" v="3896" actId="1076"/>
          <ac:grpSpMkLst>
            <pc:docMk/>
            <pc:sldMk cId="552015189" sldId="2147470193"/>
            <ac:grpSpMk id="5" creationId="{8ABE18EA-14F2-1F31-C05D-13E1CD8F6F90}"/>
          </ac:grpSpMkLst>
        </pc:grpChg>
        <pc:grpChg chg="add del mod">
          <ac:chgData name="Reuben Issac Jacob" userId="a26d73c9-1689-41bd-af50-ef825e838770" providerId="ADAL" clId="{F452BC9E-5BE8-4A0B-9F00-66A7219A31DE}" dt="2022-06-29T13:40:17.249" v="1908" actId="165"/>
          <ac:grpSpMkLst>
            <pc:docMk/>
            <pc:sldMk cId="552015189" sldId="2147470193"/>
            <ac:grpSpMk id="11" creationId="{048D3CBE-4480-E787-2DE4-F3E1D61F106D}"/>
          </ac:grpSpMkLst>
        </pc:grpChg>
        <pc:grpChg chg="del mod topLvl">
          <ac:chgData name="Reuben Issac Jacob" userId="a26d73c9-1689-41bd-af50-ef825e838770" providerId="ADAL" clId="{F452BC9E-5BE8-4A0B-9F00-66A7219A31DE}" dt="2022-06-29T13:41:48.968" v="1923" actId="165"/>
          <ac:grpSpMkLst>
            <pc:docMk/>
            <pc:sldMk cId="552015189" sldId="2147470193"/>
            <ac:grpSpMk id="13" creationId="{DD0B1BFB-C0A4-0E72-971D-FF1EC88D0904}"/>
          </ac:grpSpMkLst>
        </pc:grpChg>
        <pc:grpChg chg="del mod topLvl">
          <ac:chgData name="Reuben Issac Jacob" userId="a26d73c9-1689-41bd-af50-ef825e838770" providerId="ADAL" clId="{F452BC9E-5BE8-4A0B-9F00-66A7219A31DE}" dt="2022-06-29T13:41:49.238" v="1924" actId="165"/>
          <ac:grpSpMkLst>
            <pc:docMk/>
            <pc:sldMk cId="552015189" sldId="2147470193"/>
            <ac:grpSpMk id="15" creationId="{50E5D5FD-BCF9-A55C-2692-CFC813AFC987}"/>
          </ac:grpSpMkLst>
        </pc:grpChg>
        <pc:grpChg chg="del mod">
          <ac:chgData name="Reuben Issac Jacob" userId="a26d73c9-1689-41bd-af50-ef825e838770" providerId="ADAL" clId="{F452BC9E-5BE8-4A0B-9F00-66A7219A31DE}" dt="2022-06-29T13:41:30.037" v="1919" actId="478"/>
          <ac:grpSpMkLst>
            <pc:docMk/>
            <pc:sldMk cId="552015189" sldId="2147470193"/>
            <ac:grpSpMk id="17" creationId="{4FDBE318-A00A-EBA4-D8B9-7B61E38D5971}"/>
          </ac:grpSpMkLst>
        </pc:grpChg>
        <pc:grpChg chg="del mod">
          <ac:chgData name="Reuben Issac Jacob" userId="a26d73c9-1689-41bd-af50-ef825e838770" providerId="ADAL" clId="{F452BC9E-5BE8-4A0B-9F00-66A7219A31DE}" dt="2022-06-29T13:41:18.438" v="1917" actId="478"/>
          <ac:grpSpMkLst>
            <pc:docMk/>
            <pc:sldMk cId="552015189" sldId="2147470193"/>
            <ac:grpSpMk id="18" creationId="{5F87AB26-64FF-8C7B-95EA-B3B387C69BE9}"/>
          </ac:grpSpMkLst>
        </pc:grpChg>
        <pc:grpChg chg="del mod">
          <ac:chgData name="Reuben Issac Jacob" userId="a26d73c9-1689-41bd-af50-ef825e838770" providerId="ADAL" clId="{F452BC9E-5BE8-4A0B-9F00-66A7219A31DE}" dt="2022-06-29T13:41:13.380" v="1916" actId="478"/>
          <ac:grpSpMkLst>
            <pc:docMk/>
            <pc:sldMk cId="552015189" sldId="2147470193"/>
            <ac:grpSpMk id="19" creationId="{C1828762-0B6E-80AC-F109-A25A015786B0}"/>
          </ac:grpSpMkLst>
        </pc:grpChg>
        <pc:grpChg chg="del mod">
          <ac:chgData name="Reuben Issac Jacob" userId="a26d73c9-1689-41bd-af50-ef825e838770" providerId="ADAL" clId="{F452BC9E-5BE8-4A0B-9F00-66A7219A31DE}" dt="2022-06-29T13:41:05.863" v="1915" actId="478"/>
          <ac:grpSpMkLst>
            <pc:docMk/>
            <pc:sldMk cId="552015189" sldId="2147470193"/>
            <ac:grpSpMk id="20" creationId="{A974DD8F-D07B-3424-DE00-18CFDF06E823}"/>
          </ac:grpSpMkLst>
        </pc:grpChg>
        <pc:grpChg chg="del mod">
          <ac:chgData name="Reuben Issac Jacob" userId="a26d73c9-1689-41bd-af50-ef825e838770" providerId="ADAL" clId="{F452BC9E-5BE8-4A0B-9F00-66A7219A31DE}" dt="2022-06-29T13:41:05.863" v="1915" actId="478"/>
          <ac:grpSpMkLst>
            <pc:docMk/>
            <pc:sldMk cId="552015189" sldId="2147470193"/>
            <ac:grpSpMk id="21" creationId="{D2A44F18-5B01-97F7-2011-4B2BB8AC027E}"/>
          </ac:grpSpMkLst>
        </pc:grpChg>
        <pc:grpChg chg="del mod">
          <ac:chgData name="Reuben Issac Jacob" userId="a26d73c9-1689-41bd-af50-ef825e838770" providerId="ADAL" clId="{F452BC9E-5BE8-4A0B-9F00-66A7219A31DE}" dt="2022-06-29T13:41:13.380" v="1916" actId="478"/>
          <ac:grpSpMkLst>
            <pc:docMk/>
            <pc:sldMk cId="552015189" sldId="2147470193"/>
            <ac:grpSpMk id="27" creationId="{1229C652-FC6D-E8ED-2D4D-F3015E36C23C}"/>
          </ac:grpSpMkLst>
        </pc:grpChg>
        <pc:grpChg chg="del mod">
          <ac:chgData name="Reuben Issac Jacob" userId="a26d73c9-1689-41bd-af50-ef825e838770" providerId="ADAL" clId="{F452BC9E-5BE8-4A0B-9F00-66A7219A31DE}" dt="2022-06-29T13:41:18.438" v="1917" actId="478"/>
          <ac:grpSpMkLst>
            <pc:docMk/>
            <pc:sldMk cId="552015189" sldId="2147470193"/>
            <ac:grpSpMk id="33" creationId="{162C5A78-5BDC-E893-3E45-D1B0A44A73B7}"/>
          </ac:grpSpMkLst>
        </pc:grpChg>
        <pc:grpChg chg="del mod">
          <ac:chgData name="Reuben Issac Jacob" userId="a26d73c9-1689-41bd-af50-ef825e838770" providerId="ADAL" clId="{F452BC9E-5BE8-4A0B-9F00-66A7219A31DE}" dt="2022-06-29T13:41:30.037" v="1919" actId="478"/>
          <ac:grpSpMkLst>
            <pc:docMk/>
            <pc:sldMk cId="552015189" sldId="2147470193"/>
            <ac:grpSpMk id="39" creationId="{AD27C6C9-F772-2AF4-425D-4A158B8E9D77}"/>
          </ac:grpSpMkLst>
        </pc:grpChg>
        <pc:grpChg chg="del mod topLvl">
          <ac:chgData name="Reuben Issac Jacob" userId="a26d73c9-1689-41bd-af50-ef825e838770" providerId="ADAL" clId="{F452BC9E-5BE8-4A0B-9F00-66A7219A31DE}" dt="2022-06-29T13:41:49.532" v="1925" actId="165"/>
          <ac:grpSpMkLst>
            <pc:docMk/>
            <pc:sldMk cId="552015189" sldId="2147470193"/>
            <ac:grpSpMk id="45" creationId="{7C345E7F-1DD5-68D1-9B01-1C5AAFDB2A64}"/>
          </ac:grpSpMkLst>
        </pc:grpChg>
        <pc:grpChg chg="add mod">
          <ac:chgData name="Reuben Issac Jacob" userId="a26d73c9-1689-41bd-af50-ef825e838770" providerId="ADAL" clId="{F452BC9E-5BE8-4A0B-9F00-66A7219A31DE}" dt="2022-06-29T13:42:27.864" v="1933" actId="14100"/>
          <ac:grpSpMkLst>
            <pc:docMk/>
            <pc:sldMk cId="552015189" sldId="2147470193"/>
            <ac:grpSpMk id="51" creationId="{CCC9A7A3-C592-5A4A-3D05-53D40CC846BD}"/>
          </ac:grpSpMkLst>
        </pc:grpChg>
        <pc:picChg chg="add del mod">
          <ac:chgData name="Reuben Issac Jacob" userId="a26d73c9-1689-41bd-af50-ef825e838770" providerId="ADAL" clId="{F452BC9E-5BE8-4A0B-9F00-66A7219A31DE}" dt="2022-06-29T20:49:06.789" v="3899" actId="478"/>
          <ac:picMkLst>
            <pc:docMk/>
            <pc:sldMk cId="552015189" sldId="2147470193"/>
            <ac:picMk id="53" creationId="{7854C800-628E-4E47-233A-A27DDA948C16}"/>
          </ac:picMkLst>
        </pc:picChg>
        <pc:picChg chg="mod">
          <ac:chgData name="Reuben Issac Jacob" userId="a26d73c9-1689-41bd-af50-ef825e838770" providerId="ADAL" clId="{F452BC9E-5BE8-4A0B-9F00-66A7219A31DE}" dt="2022-06-29T13:42:05.949" v="1929" actId="1076"/>
          <ac:picMkLst>
            <pc:docMk/>
            <pc:sldMk cId="552015189" sldId="2147470193"/>
            <ac:picMk id="3074" creationId="{88A3CC3E-81F3-3231-AF42-3D93FEC9843D}"/>
          </ac:picMkLst>
        </pc:picChg>
      </pc:sldChg>
      <pc:sldChg chg="addSp delSp modSp mod modClrScheme modAnim chgLayout">
        <pc:chgData name="Reuben Issac Jacob" userId="a26d73c9-1689-41bd-af50-ef825e838770" providerId="ADAL" clId="{F452BC9E-5BE8-4A0B-9F00-66A7219A31DE}" dt="2022-06-29T20:47:36.724" v="3889" actId="478"/>
        <pc:sldMkLst>
          <pc:docMk/>
          <pc:sldMk cId="3560447759" sldId="2147470194"/>
        </pc:sldMkLst>
        <pc:spChg chg="add del mod ord">
          <ac:chgData name="Reuben Issac Jacob" userId="a26d73c9-1689-41bd-af50-ef825e838770" providerId="ADAL" clId="{F452BC9E-5BE8-4A0B-9F00-66A7219A31DE}" dt="2022-06-29T20:47:36.724" v="3889" actId="478"/>
          <ac:spMkLst>
            <pc:docMk/>
            <pc:sldMk cId="3560447759" sldId="2147470194"/>
            <ac:spMk id="2" creationId="{F4463408-A0AE-782E-ACFD-A13E4859085B}"/>
          </ac:spMkLst>
        </pc:spChg>
        <pc:spChg chg="mod ord">
          <ac:chgData name="Reuben Issac Jacob" userId="a26d73c9-1689-41bd-af50-ef825e838770" providerId="ADAL" clId="{F452BC9E-5BE8-4A0B-9F00-66A7219A31DE}" dt="2022-06-29T14:37:40.371" v="2794" actId="700"/>
          <ac:spMkLst>
            <pc:docMk/>
            <pc:sldMk cId="3560447759" sldId="2147470194"/>
            <ac:spMk id="3" creationId="{BDFE8C56-AB2A-7CB3-3257-F7CAF3AE4EE1}"/>
          </ac:spMkLst>
        </pc:spChg>
        <pc:spChg chg="mod ord">
          <ac:chgData name="Reuben Issac Jacob" userId="a26d73c9-1689-41bd-af50-ef825e838770" providerId="ADAL" clId="{F452BC9E-5BE8-4A0B-9F00-66A7219A31DE}" dt="2022-06-29T14:37:44.073" v="2795" actId="12"/>
          <ac:spMkLst>
            <pc:docMk/>
            <pc:sldMk cId="3560447759" sldId="2147470194"/>
            <ac:spMk id="4" creationId="{C6785D96-EE53-D965-8B1D-805001832EA6}"/>
          </ac:spMkLst>
        </pc:spChg>
        <pc:spChg chg="add del mod ord">
          <ac:chgData name="Reuben Issac Jacob" userId="a26d73c9-1689-41bd-af50-ef825e838770" providerId="ADAL" clId="{F452BC9E-5BE8-4A0B-9F00-66A7219A31DE}" dt="2022-06-29T14:38:36.808" v="2806" actId="478"/>
          <ac:spMkLst>
            <pc:docMk/>
            <pc:sldMk cId="3560447759" sldId="2147470194"/>
            <ac:spMk id="6" creationId="{A45A26D3-D836-8B92-6AE7-11C0CEDD4026}"/>
          </ac:spMkLst>
        </pc:spChg>
        <pc:spChg chg="add mod ord">
          <ac:chgData name="Reuben Issac Jacob" userId="a26d73c9-1689-41bd-af50-ef825e838770" providerId="ADAL" clId="{F452BC9E-5BE8-4A0B-9F00-66A7219A31DE}" dt="2022-06-29T14:38:47.462" v="2809" actId="164"/>
          <ac:spMkLst>
            <pc:docMk/>
            <pc:sldMk cId="3560447759" sldId="2147470194"/>
            <ac:spMk id="7" creationId="{7AE707B4-70D9-64A6-2E1E-CBF6DEB8F691}"/>
          </ac:spMkLst>
        </pc:spChg>
        <pc:spChg chg="add del mod">
          <ac:chgData name="Reuben Issac Jacob" userId="a26d73c9-1689-41bd-af50-ef825e838770" providerId="ADAL" clId="{F452BC9E-5BE8-4A0B-9F00-66A7219A31DE}" dt="2022-06-29T14:42:25.050" v="2856" actId="21"/>
          <ac:spMkLst>
            <pc:docMk/>
            <pc:sldMk cId="3560447759" sldId="2147470194"/>
            <ac:spMk id="9" creationId="{6EB086B9-C366-E5E8-3D7E-65EB382564D8}"/>
          </ac:spMkLst>
        </pc:spChg>
        <pc:grpChg chg="add mod">
          <ac:chgData name="Reuben Issac Jacob" userId="a26d73c9-1689-41bd-af50-ef825e838770" providerId="ADAL" clId="{F452BC9E-5BE8-4A0B-9F00-66A7219A31DE}" dt="2022-06-29T14:38:55.468" v="2810" actId="1076"/>
          <ac:grpSpMkLst>
            <pc:docMk/>
            <pc:sldMk cId="3560447759" sldId="2147470194"/>
            <ac:grpSpMk id="8" creationId="{7D177B98-994E-0B67-3624-108822EEBCEE}"/>
          </ac:grpSpMkLst>
        </pc:grpChg>
        <pc:picChg chg="mod">
          <ac:chgData name="Reuben Issac Jacob" userId="a26d73c9-1689-41bd-af50-ef825e838770" providerId="ADAL" clId="{F452BC9E-5BE8-4A0B-9F00-66A7219A31DE}" dt="2022-06-29T14:38:47.462" v="2809" actId="164"/>
          <ac:picMkLst>
            <pc:docMk/>
            <pc:sldMk cId="3560447759" sldId="2147470194"/>
            <ac:picMk id="5" creationId="{7696C01F-D89E-7D38-CE5F-280EA43A48E3}"/>
          </ac:picMkLst>
        </pc:picChg>
      </pc:sldChg>
      <pc:sldChg chg="addSp delSp modSp mod modClrScheme modAnim chgLayout">
        <pc:chgData name="Reuben Issac Jacob" userId="a26d73c9-1689-41bd-af50-ef825e838770" providerId="ADAL" clId="{F452BC9E-5BE8-4A0B-9F00-66A7219A31DE}" dt="2022-06-29T20:51:23.707" v="3905" actId="700"/>
        <pc:sldMkLst>
          <pc:docMk/>
          <pc:sldMk cId="318262416" sldId="2147470195"/>
        </pc:sldMkLst>
        <pc:spChg chg="mod ord">
          <ac:chgData name="Reuben Issac Jacob" userId="a26d73c9-1689-41bd-af50-ef825e838770" providerId="ADAL" clId="{F452BC9E-5BE8-4A0B-9F00-66A7219A31DE}" dt="2022-06-29T20:51:23.707" v="3905" actId="700"/>
          <ac:spMkLst>
            <pc:docMk/>
            <pc:sldMk cId="318262416" sldId="2147470195"/>
            <ac:spMk id="2" creationId="{09AC2A37-E26A-DF43-C84B-ABD4C9F8AB63}"/>
          </ac:spMkLst>
        </pc:spChg>
        <pc:spChg chg="mod ord">
          <ac:chgData name="Reuben Issac Jacob" userId="a26d73c9-1689-41bd-af50-ef825e838770" providerId="ADAL" clId="{F452BC9E-5BE8-4A0B-9F00-66A7219A31DE}" dt="2022-06-29T20:51:23.707" v="3905" actId="700"/>
          <ac:spMkLst>
            <pc:docMk/>
            <pc:sldMk cId="318262416" sldId="2147470195"/>
            <ac:spMk id="3" creationId="{B1C8A069-9C01-21A4-E7AA-DED5194B3827}"/>
          </ac:spMkLst>
        </pc:spChg>
        <pc:spChg chg="del mod ord">
          <ac:chgData name="Reuben Issac Jacob" userId="a26d73c9-1689-41bd-af50-ef825e838770" providerId="ADAL" clId="{F452BC9E-5BE8-4A0B-9F00-66A7219A31DE}" dt="2022-06-29T14:41:02.776" v="2830" actId="478"/>
          <ac:spMkLst>
            <pc:docMk/>
            <pc:sldMk cId="318262416" sldId="2147470195"/>
            <ac:spMk id="4" creationId="{BBF37884-53C6-637C-3B80-48FFFD8F6240}"/>
          </ac:spMkLst>
        </pc:spChg>
        <pc:spChg chg="add del mod ord">
          <ac:chgData name="Reuben Issac Jacob" userId="a26d73c9-1689-41bd-af50-ef825e838770" providerId="ADAL" clId="{F452BC9E-5BE8-4A0B-9F00-66A7219A31DE}" dt="2022-06-29T20:51:23.707" v="3905" actId="700"/>
          <ac:spMkLst>
            <pc:docMk/>
            <pc:sldMk cId="318262416" sldId="2147470195"/>
            <ac:spMk id="5" creationId="{4322E432-5190-5693-F943-72EA0ABCF4EB}"/>
          </ac:spMkLst>
        </pc:spChg>
      </pc:sldChg>
      <pc:sldChg chg="addSp delSp modSp mod modClrScheme modAnim chgLayout">
        <pc:chgData name="Reuben Issac Jacob" userId="a26d73c9-1689-41bd-af50-ef825e838770" providerId="ADAL" clId="{F452BC9E-5BE8-4A0B-9F00-66A7219A31DE}" dt="2022-06-29T20:41:36.704" v="3860"/>
        <pc:sldMkLst>
          <pc:docMk/>
          <pc:sldMk cId="108184244" sldId="2147470196"/>
        </pc:sldMkLst>
        <pc:spChg chg="mod ord">
          <ac:chgData name="Reuben Issac Jacob" userId="a26d73c9-1689-41bd-af50-ef825e838770" providerId="ADAL" clId="{F452BC9E-5BE8-4A0B-9F00-66A7219A31DE}" dt="2022-06-29T14:41:54.105" v="2849" actId="700"/>
          <ac:spMkLst>
            <pc:docMk/>
            <pc:sldMk cId="108184244" sldId="2147470196"/>
            <ac:spMk id="2" creationId="{5555C0C9-F02B-6F0C-626E-167F030CB2DA}"/>
          </ac:spMkLst>
        </pc:spChg>
        <pc:spChg chg="del mod ord">
          <ac:chgData name="Reuben Issac Jacob" userId="a26d73c9-1689-41bd-af50-ef825e838770" providerId="ADAL" clId="{F452BC9E-5BE8-4A0B-9F00-66A7219A31DE}" dt="2022-06-29T14:41:42.616" v="2847" actId="478"/>
          <ac:spMkLst>
            <pc:docMk/>
            <pc:sldMk cId="108184244" sldId="2147470196"/>
            <ac:spMk id="3" creationId="{2D043E4E-C251-B224-6F10-A88EDB8289D9}"/>
          </ac:spMkLst>
        </pc:spChg>
        <pc:spChg chg="del">
          <ac:chgData name="Reuben Issac Jacob" userId="a26d73c9-1689-41bd-af50-ef825e838770" providerId="ADAL" clId="{F452BC9E-5BE8-4A0B-9F00-66A7219A31DE}" dt="2022-06-29T14:41:10.747" v="2831" actId="478"/>
          <ac:spMkLst>
            <pc:docMk/>
            <pc:sldMk cId="108184244" sldId="2147470196"/>
            <ac:spMk id="4" creationId="{9D15E9B8-6B96-D3BD-A02E-06766F56FCE8}"/>
          </ac:spMkLst>
        </pc:spChg>
        <pc:spChg chg="add mod ord">
          <ac:chgData name="Reuben Issac Jacob" userId="a26d73c9-1689-41bd-af50-ef825e838770" providerId="ADAL" clId="{F452BC9E-5BE8-4A0B-9F00-66A7219A31DE}" dt="2022-06-29T14:42:09.442" v="2854" actId="404"/>
          <ac:spMkLst>
            <pc:docMk/>
            <pc:sldMk cId="108184244" sldId="2147470196"/>
            <ac:spMk id="6" creationId="{1FD1BC29-4904-AAF9-26C9-CFCA34E1A49B}"/>
          </ac:spMkLst>
        </pc:spChg>
        <pc:spChg chg="add mod ord">
          <ac:chgData name="Reuben Issac Jacob" userId="a26d73c9-1689-41bd-af50-ef825e838770" providerId="ADAL" clId="{F452BC9E-5BE8-4A0B-9F00-66A7219A31DE}" dt="2022-06-29T14:43:07.286" v="2866" actId="164"/>
          <ac:spMkLst>
            <pc:docMk/>
            <pc:sldMk cId="108184244" sldId="2147470196"/>
            <ac:spMk id="7" creationId="{7FD3E181-08F6-673C-C643-CBFF673A3ACF}"/>
          </ac:spMkLst>
        </pc:spChg>
        <pc:grpChg chg="add mod">
          <ac:chgData name="Reuben Issac Jacob" userId="a26d73c9-1689-41bd-af50-ef825e838770" providerId="ADAL" clId="{F452BC9E-5BE8-4A0B-9F00-66A7219A31DE}" dt="2022-06-29T14:43:07.286" v="2866" actId="164"/>
          <ac:grpSpMkLst>
            <pc:docMk/>
            <pc:sldMk cId="108184244" sldId="2147470196"/>
            <ac:grpSpMk id="8" creationId="{9BA6749D-F2E6-8C8A-8C14-784059D49D1A}"/>
          </ac:grpSpMkLst>
        </pc:grpChg>
        <pc:picChg chg="mod">
          <ac:chgData name="Reuben Issac Jacob" userId="a26d73c9-1689-41bd-af50-ef825e838770" providerId="ADAL" clId="{F452BC9E-5BE8-4A0B-9F00-66A7219A31DE}" dt="2022-06-29T14:43:07.286" v="2866" actId="164"/>
          <ac:picMkLst>
            <pc:docMk/>
            <pc:sldMk cId="108184244" sldId="2147470196"/>
            <ac:picMk id="5" creationId="{0D46B0FE-57F4-C9C0-2521-451FE7E33DF5}"/>
          </ac:picMkLst>
        </pc:picChg>
      </pc:sldChg>
      <pc:sldChg chg="modSp del mod modClrScheme chgLayout">
        <pc:chgData name="Reuben Issac Jacob" userId="a26d73c9-1689-41bd-af50-ef825e838770" providerId="ADAL" clId="{F452BC9E-5BE8-4A0B-9F00-66A7219A31DE}" dt="2022-06-29T07:11:27.180" v="1611" actId="47"/>
        <pc:sldMkLst>
          <pc:docMk/>
          <pc:sldMk cId="1305034510" sldId="2147470201"/>
        </pc:sldMkLst>
        <pc:spChg chg="mod ord">
          <ac:chgData name="Reuben Issac Jacob" userId="a26d73c9-1689-41bd-af50-ef825e838770" providerId="ADAL" clId="{F452BC9E-5BE8-4A0B-9F00-66A7219A31DE}" dt="2022-06-29T07:01:12.618" v="1437" actId="700"/>
          <ac:spMkLst>
            <pc:docMk/>
            <pc:sldMk cId="1305034510" sldId="2147470201"/>
            <ac:spMk id="3" creationId="{1D006154-4293-4869-B84F-DCE0CD70BB54}"/>
          </ac:spMkLst>
        </pc:spChg>
      </pc:sldChg>
      <pc:sldChg chg="addSp delSp modSp add mod modAnim">
        <pc:chgData name="Reuben Issac Jacob" userId="a26d73c9-1689-41bd-af50-ef825e838770" providerId="ADAL" clId="{F452BC9E-5BE8-4A0B-9F00-66A7219A31DE}" dt="2022-06-29T20:16:20.234" v="3605"/>
        <pc:sldMkLst>
          <pc:docMk/>
          <pc:sldMk cId="389114252" sldId="2147470202"/>
        </pc:sldMkLst>
        <pc:spChg chg="add del">
          <ac:chgData name="Reuben Issac Jacob" userId="a26d73c9-1689-41bd-af50-ef825e838770" providerId="ADAL" clId="{F452BC9E-5BE8-4A0B-9F00-66A7219A31DE}" dt="2022-06-29T06:31:08.766" v="1136" actId="478"/>
          <ac:spMkLst>
            <pc:docMk/>
            <pc:sldMk cId="389114252" sldId="2147470202"/>
            <ac:spMk id="2" creationId="{BC54CA8E-E7C0-EFEF-8DFF-309F2E629E4D}"/>
          </ac:spMkLst>
        </pc:spChg>
        <pc:spChg chg="del mod topLvl">
          <ac:chgData name="Reuben Issac Jacob" userId="a26d73c9-1689-41bd-af50-ef825e838770" providerId="ADAL" clId="{F452BC9E-5BE8-4A0B-9F00-66A7219A31DE}" dt="2022-06-29T05:45:59.194" v="868" actId="478"/>
          <ac:spMkLst>
            <pc:docMk/>
            <pc:sldMk cId="389114252" sldId="2147470202"/>
            <ac:spMk id="7" creationId="{A8FE70D0-0A4D-39C2-8AD5-A12C79F7A976}"/>
          </ac:spMkLst>
        </pc:spChg>
        <pc:spChg chg="del mod topLvl">
          <ac:chgData name="Reuben Issac Jacob" userId="a26d73c9-1689-41bd-af50-ef825e838770" providerId="ADAL" clId="{F452BC9E-5BE8-4A0B-9F00-66A7219A31DE}" dt="2022-06-29T05:45:58.126" v="867" actId="478"/>
          <ac:spMkLst>
            <pc:docMk/>
            <pc:sldMk cId="389114252" sldId="2147470202"/>
            <ac:spMk id="8" creationId="{E94C299B-FF28-0B39-D1CD-F0189ABDC420}"/>
          </ac:spMkLst>
        </pc:spChg>
        <pc:spChg chg="del mod topLvl">
          <ac:chgData name="Reuben Issac Jacob" userId="a26d73c9-1689-41bd-af50-ef825e838770" providerId="ADAL" clId="{F452BC9E-5BE8-4A0B-9F00-66A7219A31DE}" dt="2022-06-29T05:45:58.126" v="867" actId="478"/>
          <ac:spMkLst>
            <pc:docMk/>
            <pc:sldMk cId="389114252" sldId="2147470202"/>
            <ac:spMk id="10" creationId="{B04A1973-E30E-5007-E05F-F9E067B2DA8B}"/>
          </ac:spMkLst>
        </pc:spChg>
        <pc:spChg chg="del mod topLvl">
          <ac:chgData name="Reuben Issac Jacob" userId="a26d73c9-1689-41bd-af50-ef825e838770" providerId="ADAL" clId="{F452BC9E-5BE8-4A0B-9F00-66A7219A31DE}" dt="2022-06-29T06:37:44.158" v="1182" actId="478"/>
          <ac:spMkLst>
            <pc:docMk/>
            <pc:sldMk cId="389114252" sldId="2147470202"/>
            <ac:spMk id="11" creationId="{8E4D355A-DB44-04B0-D350-E62F295C2931}"/>
          </ac:spMkLst>
        </pc:spChg>
        <pc:spChg chg="del mod topLvl">
          <ac:chgData name="Reuben Issac Jacob" userId="a26d73c9-1689-41bd-af50-ef825e838770" providerId="ADAL" clId="{F452BC9E-5BE8-4A0B-9F00-66A7219A31DE}" dt="2022-06-29T05:46:07.257" v="872" actId="478"/>
          <ac:spMkLst>
            <pc:docMk/>
            <pc:sldMk cId="389114252" sldId="2147470202"/>
            <ac:spMk id="12" creationId="{E281287D-EF4A-531C-CDB6-89B934025565}"/>
          </ac:spMkLst>
        </pc:spChg>
        <pc:spChg chg="mod topLvl">
          <ac:chgData name="Reuben Issac Jacob" userId="a26d73c9-1689-41bd-af50-ef825e838770" providerId="ADAL" clId="{F452BC9E-5BE8-4A0B-9F00-66A7219A31DE}" dt="2022-06-29T06:53:55.929" v="1352" actId="1076"/>
          <ac:spMkLst>
            <pc:docMk/>
            <pc:sldMk cId="389114252" sldId="2147470202"/>
            <ac:spMk id="13" creationId="{8F686C88-146D-935A-BAFA-9D7847E9BFB0}"/>
          </ac:spMkLst>
        </pc:spChg>
        <pc:spChg chg="mod topLvl">
          <ac:chgData name="Reuben Issac Jacob" userId="a26d73c9-1689-41bd-af50-ef825e838770" providerId="ADAL" clId="{F452BC9E-5BE8-4A0B-9F00-66A7219A31DE}" dt="2022-06-29T06:53:55.929" v="1352" actId="1076"/>
          <ac:spMkLst>
            <pc:docMk/>
            <pc:sldMk cId="389114252" sldId="2147470202"/>
            <ac:spMk id="14" creationId="{500A5DEE-F527-FCDD-2F62-85714D9DD5CD}"/>
          </ac:spMkLst>
        </pc:spChg>
        <pc:spChg chg="mod topLvl">
          <ac:chgData name="Reuben Issac Jacob" userId="a26d73c9-1689-41bd-af50-ef825e838770" providerId="ADAL" clId="{F452BC9E-5BE8-4A0B-9F00-66A7219A31DE}" dt="2022-06-29T06:53:55.929" v="1352" actId="1076"/>
          <ac:spMkLst>
            <pc:docMk/>
            <pc:sldMk cId="389114252" sldId="2147470202"/>
            <ac:spMk id="15" creationId="{52F59C6B-1EC3-FE51-A039-066474D84289}"/>
          </ac:spMkLst>
        </pc:spChg>
        <pc:spChg chg="mod topLvl">
          <ac:chgData name="Reuben Issac Jacob" userId="a26d73c9-1689-41bd-af50-ef825e838770" providerId="ADAL" clId="{F452BC9E-5BE8-4A0B-9F00-66A7219A31DE}" dt="2022-06-29T06:53:55.929" v="1352" actId="1076"/>
          <ac:spMkLst>
            <pc:docMk/>
            <pc:sldMk cId="389114252" sldId="2147470202"/>
            <ac:spMk id="16" creationId="{4E3284C5-8266-6D31-56BD-9DE4EB2E8D83}"/>
          </ac:spMkLst>
        </pc:spChg>
        <pc:spChg chg="mod topLvl">
          <ac:chgData name="Reuben Issac Jacob" userId="a26d73c9-1689-41bd-af50-ef825e838770" providerId="ADAL" clId="{F452BC9E-5BE8-4A0B-9F00-66A7219A31DE}" dt="2022-06-29T06:53:55.929" v="1352" actId="1076"/>
          <ac:spMkLst>
            <pc:docMk/>
            <pc:sldMk cId="389114252" sldId="2147470202"/>
            <ac:spMk id="17" creationId="{D358D9C7-0E10-E1CF-CFFF-035198C9BD6F}"/>
          </ac:spMkLst>
        </pc:spChg>
        <pc:spChg chg="mod topLvl">
          <ac:chgData name="Reuben Issac Jacob" userId="a26d73c9-1689-41bd-af50-ef825e838770" providerId="ADAL" clId="{F452BC9E-5BE8-4A0B-9F00-66A7219A31DE}" dt="2022-06-29T06:53:55.929" v="1352" actId="1076"/>
          <ac:spMkLst>
            <pc:docMk/>
            <pc:sldMk cId="389114252" sldId="2147470202"/>
            <ac:spMk id="18" creationId="{4C39E986-08E1-D117-9700-701FD0A372A8}"/>
          </ac:spMkLst>
        </pc:spChg>
        <pc:spChg chg="mod topLvl">
          <ac:chgData name="Reuben Issac Jacob" userId="a26d73c9-1689-41bd-af50-ef825e838770" providerId="ADAL" clId="{F452BC9E-5BE8-4A0B-9F00-66A7219A31DE}" dt="2022-06-29T06:53:55.929" v="1352" actId="1076"/>
          <ac:spMkLst>
            <pc:docMk/>
            <pc:sldMk cId="389114252" sldId="2147470202"/>
            <ac:spMk id="19" creationId="{7319EFBD-F907-27D0-8DFA-8B08CAB1C501}"/>
          </ac:spMkLst>
        </pc:spChg>
        <pc:spChg chg="mod topLvl">
          <ac:chgData name="Reuben Issac Jacob" userId="a26d73c9-1689-41bd-af50-ef825e838770" providerId="ADAL" clId="{F452BC9E-5BE8-4A0B-9F00-66A7219A31DE}" dt="2022-06-29T06:53:55.929" v="1352" actId="1076"/>
          <ac:spMkLst>
            <pc:docMk/>
            <pc:sldMk cId="389114252" sldId="2147470202"/>
            <ac:spMk id="20" creationId="{BC7DC7F7-56FF-4F9D-39DA-8B5A891C2E18}"/>
          </ac:spMkLst>
        </pc:spChg>
        <pc:spChg chg="mod topLvl">
          <ac:chgData name="Reuben Issac Jacob" userId="a26d73c9-1689-41bd-af50-ef825e838770" providerId="ADAL" clId="{F452BC9E-5BE8-4A0B-9F00-66A7219A31DE}" dt="2022-06-29T06:53:55.929" v="1352" actId="1076"/>
          <ac:spMkLst>
            <pc:docMk/>
            <pc:sldMk cId="389114252" sldId="2147470202"/>
            <ac:spMk id="21" creationId="{6F1D5076-89DC-7F85-EA1A-3E613111E1EB}"/>
          </ac:spMkLst>
        </pc:spChg>
        <pc:spChg chg="mod topLvl">
          <ac:chgData name="Reuben Issac Jacob" userId="a26d73c9-1689-41bd-af50-ef825e838770" providerId="ADAL" clId="{F452BC9E-5BE8-4A0B-9F00-66A7219A31DE}" dt="2022-06-29T06:53:55.929" v="1352" actId="1076"/>
          <ac:spMkLst>
            <pc:docMk/>
            <pc:sldMk cId="389114252" sldId="2147470202"/>
            <ac:spMk id="22" creationId="{E325B769-F486-6220-2066-B431ED29F6E2}"/>
          </ac:spMkLst>
        </pc:spChg>
        <pc:spChg chg="mod topLvl">
          <ac:chgData name="Reuben Issac Jacob" userId="a26d73c9-1689-41bd-af50-ef825e838770" providerId="ADAL" clId="{F452BC9E-5BE8-4A0B-9F00-66A7219A31DE}" dt="2022-06-29T06:53:55.929" v="1352" actId="1076"/>
          <ac:spMkLst>
            <pc:docMk/>
            <pc:sldMk cId="389114252" sldId="2147470202"/>
            <ac:spMk id="23" creationId="{FFDF1F8F-36C8-40EF-FEF8-76247C6F775B}"/>
          </ac:spMkLst>
        </pc:spChg>
        <pc:spChg chg="mod topLvl">
          <ac:chgData name="Reuben Issac Jacob" userId="a26d73c9-1689-41bd-af50-ef825e838770" providerId="ADAL" clId="{F452BC9E-5BE8-4A0B-9F00-66A7219A31DE}" dt="2022-06-29T06:53:55.929" v="1352" actId="1076"/>
          <ac:spMkLst>
            <pc:docMk/>
            <pc:sldMk cId="389114252" sldId="2147470202"/>
            <ac:spMk id="24" creationId="{8C1AA67B-876F-8499-96BA-772290446FE7}"/>
          </ac:spMkLst>
        </pc:spChg>
        <pc:spChg chg="mod topLvl">
          <ac:chgData name="Reuben Issac Jacob" userId="a26d73c9-1689-41bd-af50-ef825e838770" providerId="ADAL" clId="{F452BC9E-5BE8-4A0B-9F00-66A7219A31DE}" dt="2022-06-29T06:53:55.929" v="1352" actId="1076"/>
          <ac:spMkLst>
            <pc:docMk/>
            <pc:sldMk cId="389114252" sldId="2147470202"/>
            <ac:spMk id="25" creationId="{EEE1F2F7-1F60-6226-12A8-8A0B495B8C39}"/>
          </ac:spMkLst>
        </pc:spChg>
        <pc:spChg chg="mod topLvl">
          <ac:chgData name="Reuben Issac Jacob" userId="a26d73c9-1689-41bd-af50-ef825e838770" providerId="ADAL" clId="{F452BC9E-5BE8-4A0B-9F00-66A7219A31DE}" dt="2022-06-29T06:53:55.929" v="1352" actId="1076"/>
          <ac:spMkLst>
            <pc:docMk/>
            <pc:sldMk cId="389114252" sldId="2147470202"/>
            <ac:spMk id="26" creationId="{51A114D1-0941-B1EB-6C42-FE0D257855BA}"/>
          </ac:spMkLst>
        </pc:spChg>
        <pc:spChg chg="mod topLvl">
          <ac:chgData name="Reuben Issac Jacob" userId="a26d73c9-1689-41bd-af50-ef825e838770" providerId="ADAL" clId="{F452BC9E-5BE8-4A0B-9F00-66A7219A31DE}" dt="2022-06-29T20:16:04.225" v="3599" actId="164"/>
          <ac:spMkLst>
            <pc:docMk/>
            <pc:sldMk cId="389114252" sldId="2147470202"/>
            <ac:spMk id="27" creationId="{B5E06022-540C-D6AB-E52E-A0321C2D4F20}"/>
          </ac:spMkLst>
        </pc:spChg>
        <pc:spChg chg="del mod topLvl">
          <ac:chgData name="Reuben Issac Jacob" userId="a26d73c9-1689-41bd-af50-ef825e838770" providerId="ADAL" clId="{F452BC9E-5BE8-4A0B-9F00-66A7219A31DE}" dt="2022-06-29T05:46:09.178" v="873" actId="478"/>
          <ac:spMkLst>
            <pc:docMk/>
            <pc:sldMk cId="389114252" sldId="2147470202"/>
            <ac:spMk id="28" creationId="{ADF2E18B-C566-7F18-56C7-A64F8DFB9E9B}"/>
          </ac:spMkLst>
        </pc:spChg>
        <pc:spChg chg="mod topLvl">
          <ac:chgData name="Reuben Issac Jacob" userId="a26d73c9-1689-41bd-af50-ef825e838770" providerId="ADAL" clId="{F452BC9E-5BE8-4A0B-9F00-66A7219A31DE}" dt="2022-06-29T06:53:55.929" v="1352" actId="1076"/>
          <ac:spMkLst>
            <pc:docMk/>
            <pc:sldMk cId="389114252" sldId="2147470202"/>
            <ac:spMk id="29" creationId="{56F44386-68C4-48F1-6BC8-AE6771375848}"/>
          </ac:spMkLst>
        </pc:spChg>
        <pc:spChg chg="add del mod topLvl">
          <ac:chgData name="Reuben Issac Jacob" userId="a26d73c9-1689-41bd-af50-ef825e838770" providerId="ADAL" clId="{F452BC9E-5BE8-4A0B-9F00-66A7219A31DE}" dt="2022-06-29T06:37:18.484" v="1176" actId="478"/>
          <ac:spMkLst>
            <pc:docMk/>
            <pc:sldMk cId="389114252" sldId="2147470202"/>
            <ac:spMk id="32" creationId="{6E5AE356-12D3-00DF-88E6-0D9F66173308}"/>
          </ac:spMkLst>
        </pc:spChg>
        <pc:spChg chg="mod topLvl">
          <ac:chgData name="Reuben Issac Jacob" userId="a26d73c9-1689-41bd-af50-ef825e838770" providerId="ADAL" clId="{F452BC9E-5BE8-4A0B-9F00-66A7219A31DE}" dt="2022-06-29T20:16:04.225" v="3599" actId="164"/>
          <ac:spMkLst>
            <pc:docMk/>
            <pc:sldMk cId="389114252" sldId="2147470202"/>
            <ac:spMk id="34" creationId="{1FA1DE02-BD45-5BC0-90C0-841B980B8194}"/>
          </ac:spMkLst>
        </pc:spChg>
        <pc:spChg chg="mod">
          <ac:chgData name="Reuben Issac Jacob" userId="a26d73c9-1689-41bd-af50-ef825e838770" providerId="ADAL" clId="{F452BC9E-5BE8-4A0B-9F00-66A7219A31DE}" dt="2022-06-29T06:53:55.929" v="1352" actId="1076"/>
          <ac:spMkLst>
            <pc:docMk/>
            <pc:sldMk cId="389114252" sldId="2147470202"/>
            <ac:spMk id="36" creationId="{56690972-E191-A767-1C53-2C15178006CC}"/>
          </ac:spMkLst>
        </pc:spChg>
        <pc:spChg chg="mod">
          <ac:chgData name="Reuben Issac Jacob" userId="a26d73c9-1689-41bd-af50-ef825e838770" providerId="ADAL" clId="{F452BC9E-5BE8-4A0B-9F00-66A7219A31DE}" dt="2022-06-29T06:53:55.929" v="1352" actId="1076"/>
          <ac:spMkLst>
            <pc:docMk/>
            <pc:sldMk cId="389114252" sldId="2147470202"/>
            <ac:spMk id="37" creationId="{56698A17-4778-1D17-A6D8-C1ADD770F731}"/>
          </ac:spMkLst>
        </pc:spChg>
        <pc:spChg chg="mod">
          <ac:chgData name="Reuben Issac Jacob" userId="a26d73c9-1689-41bd-af50-ef825e838770" providerId="ADAL" clId="{F452BC9E-5BE8-4A0B-9F00-66A7219A31DE}" dt="2022-06-29T06:53:55.929" v="1352" actId="1076"/>
          <ac:spMkLst>
            <pc:docMk/>
            <pc:sldMk cId="389114252" sldId="2147470202"/>
            <ac:spMk id="38" creationId="{CA430950-C887-C68D-7197-C82E41519E7D}"/>
          </ac:spMkLst>
        </pc:spChg>
        <pc:spChg chg="mod">
          <ac:chgData name="Reuben Issac Jacob" userId="a26d73c9-1689-41bd-af50-ef825e838770" providerId="ADAL" clId="{F452BC9E-5BE8-4A0B-9F00-66A7219A31DE}" dt="2022-06-29T06:53:55.929" v="1352" actId="1076"/>
          <ac:spMkLst>
            <pc:docMk/>
            <pc:sldMk cId="389114252" sldId="2147470202"/>
            <ac:spMk id="39" creationId="{B90D83E0-54DA-C036-358B-1E10D7CF97AA}"/>
          </ac:spMkLst>
        </pc:spChg>
        <pc:spChg chg="mod">
          <ac:chgData name="Reuben Issac Jacob" userId="a26d73c9-1689-41bd-af50-ef825e838770" providerId="ADAL" clId="{F452BC9E-5BE8-4A0B-9F00-66A7219A31DE}" dt="2022-06-29T06:53:55.929" v="1352" actId="1076"/>
          <ac:spMkLst>
            <pc:docMk/>
            <pc:sldMk cId="389114252" sldId="2147470202"/>
            <ac:spMk id="40" creationId="{27DDAC85-3A14-482A-03DF-C1307BCA572E}"/>
          </ac:spMkLst>
        </pc:spChg>
        <pc:spChg chg="mod">
          <ac:chgData name="Reuben Issac Jacob" userId="a26d73c9-1689-41bd-af50-ef825e838770" providerId="ADAL" clId="{F452BC9E-5BE8-4A0B-9F00-66A7219A31DE}" dt="2022-06-29T06:53:55.929" v="1352" actId="1076"/>
          <ac:spMkLst>
            <pc:docMk/>
            <pc:sldMk cId="389114252" sldId="2147470202"/>
            <ac:spMk id="41" creationId="{EB8C80C4-254E-4D9D-CBA9-F18CDFD4F688}"/>
          </ac:spMkLst>
        </pc:spChg>
        <pc:spChg chg="mod">
          <ac:chgData name="Reuben Issac Jacob" userId="a26d73c9-1689-41bd-af50-ef825e838770" providerId="ADAL" clId="{F452BC9E-5BE8-4A0B-9F00-66A7219A31DE}" dt="2022-06-29T06:53:55.929" v="1352" actId="1076"/>
          <ac:spMkLst>
            <pc:docMk/>
            <pc:sldMk cId="389114252" sldId="2147470202"/>
            <ac:spMk id="42" creationId="{D4EA2F28-82AB-A6C2-FD64-338F6DB88B4A}"/>
          </ac:spMkLst>
        </pc:spChg>
        <pc:spChg chg="mod">
          <ac:chgData name="Reuben Issac Jacob" userId="a26d73c9-1689-41bd-af50-ef825e838770" providerId="ADAL" clId="{F452BC9E-5BE8-4A0B-9F00-66A7219A31DE}" dt="2022-06-29T06:53:55.929" v="1352" actId="1076"/>
          <ac:spMkLst>
            <pc:docMk/>
            <pc:sldMk cId="389114252" sldId="2147470202"/>
            <ac:spMk id="43" creationId="{D4C3A664-B08C-4E59-29FE-CB6FAA08D72E}"/>
          </ac:spMkLst>
        </pc:spChg>
        <pc:spChg chg="mod">
          <ac:chgData name="Reuben Issac Jacob" userId="a26d73c9-1689-41bd-af50-ef825e838770" providerId="ADAL" clId="{F452BC9E-5BE8-4A0B-9F00-66A7219A31DE}" dt="2022-06-29T06:53:55.929" v="1352" actId="1076"/>
          <ac:spMkLst>
            <pc:docMk/>
            <pc:sldMk cId="389114252" sldId="2147470202"/>
            <ac:spMk id="44" creationId="{32E1CC62-E21D-5B3F-4CA7-3E2AC8F572DA}"/>
          </ac:spMkLst>
        </pc:spChg>
        <pc:spChg chg="mod">
          <ac:chgData name="Reuben Issac Jacob" userId="a26d73c9-1689-41bd-af50-ef825e838770" providerId="ADAL" clId="{F452BC9E-5BE8-4A0B-9F00-66A7219A31DE}" dt="2022-06-29T06:53:55.929" v="1352" actId="1076"/>
          <ac:spMkLst>
            <pc:docMk/>
            <pc:sldMk cId="389114252" sldId="2147470202"/>
            <ac:spMk id="45" creationId="{A1AF52C6-A474-9B1A-6DF4-A77F037C6E55}"/>
          </ac:spMkLst>
        </pc:spChg>
        <pc:spChg chg="mod">
          <ac:chgData name="Reuben Issac Jacob" userId="a26d73c9-1689-41bd-af50-ef825e838770" providerId="ADAL" clId="{F452BC9E-5BE8-4A0B-9F00-66A7219A31DE}" dt="2022-06-29T06:53:55.929" v="1352" actId="1076"/>
          <ac:spMkLst>
            <pc:docMk/>
            <pc:sldMk cId="389114252" sldId="2147470202"/>
            <ac:spMk id="46" creationId="{0AB64E8D-7019-C07C-7ADE-7C221611159C}"/>
          </ac:spMkLst>
        </pc:spChg>
        <pc:spChg chg="mod">
          <ac:chgData name="Reuben Issac Jacob" userId="a26d73c9-1689-41bd-af50-ef825e838770" providerId="ADAL" clId="{F452BC9E-5BE8-4A0B-9F00-66A7219A31DE}" dt="2022-06-29T06:53:55.929" v="1352" actId="1076"/>
          <ac:spMkLst>
            <pc:docMk/>
            <pc:sldMk cId="389114252" sldId="2147470202"/>
            <ac:spMk id="47" creationId="{D8E16D16-F3B6-FF20-616D-1B43935640F0}"/>
          </ac:spMkLst>
        </pc:spChg>
        <pc:spChg chg="mod">
          <ac:chgData name="Reuben Issac Jacob" userId="a26d73c9-1689-41bd-af50-ef825e838770" providerId="ADAL" clId="{F452BC9E-5BE8-4A0B-9F00-66A7219A31DE}" dt="2022-06-29T06:53:55.929" v="1352" actId="1076"/>
          <ac:spMkLst>
            <pc:docMk/>
            <pc:sldMk cId="389114252" sldId="2147470202"/>
            <ac:spMk id="48" creationId="{3D79C671-3699-9D6A-2B0E-40EFCDAB2D8D}"/>
          </ac:spMkLst>
        </pc:spChg>
        <pc:spChg chg="mod">
          <ac:chgData name="Reuben Issac Jacob" userId="a26d73c9-1689-41bd-af50-ef825e838770" providerId="ADAL" clId="{F452BC9E-5BE8-4A0B-9F00-66A7219A31DE}" dt="2022-06-29T06:53:55.929" v="1352" actId="1076"/>
          <ac:spMkLst>
            <pc:docMk/>
            <pc:sldMk cId="389114252" sldId="2147470202"/>
            <ac:spMk id="49" creationId="{349D13E6-C8A9-F7AD-9E92-AC23F9F332A0}"/>
          </ac:spMkLst>
        </pc:spChg>
        <pc:spChg chg="mod">
          <ac:chgData name="Reuben Issac Jacob" userId="a26d73c9-1689-41bd-af50-ef825e838770" providerId="ADAL" clId="{F452BC9E-5BE8-4A0B-9F00-66A7219A31DE}" dt="2022-06-29T06:53:55.929" v="1352" actId="1076"/>
          <ac:spMkLst>
            <pc:docMk/>
            <pc:sldMk cId="389114252" sldId="2147470202"/>
            <ac:spMk id="50" creationId="{01ABE63E-DF88-CDA4-C2ED-D6E75E294850}"/>
          </ac:spMkLst>
        </pc:spChg>
        <pc:spChg chg="add del mod">
          <ac:chgData name="Reuben Issac Jacob" userId="a26d73c9-1689-41bd-af50-ef825e838770" providerId="ADAL" clId="{F452BC9E-5BE8-4A0B-9F00-66A7219A31DE}" dt="2022-06-29T05:56:49.905" v="998" actId="11529"/>
          <ac:spMkLst>
            <pc:docMk/>
            <pc:sldMk cId="389114252" sldId="2147470202"/>
            <ac:spMk id="51" creationId="{8C23837C-573F-E885-D91E-6670800916CA}"/>
          </ac:spMkLst>
        </pc:spChg>
        <pc:spChg chg="add del mod topLvl">
          <ac:chgData name="Reuben Issac Jacob" userId="a26d73c9-1689-41bd-af50-ef825e838770" providerId="ADAL" clId="{F452BC9E-5BE8-4A0B-9F00-66A7219A31DE}" dt="2022-06-29T06:37:39.283" v="1181" actId="478"/>
          <ac:spMkLst>
            <pc:docMk/>
            <pc:sldMk cId="389114252" sldId="2147470202"/>
            <ac:spMk id="52" creationId="{E6DD8B57-AD63-FF96-2960-64095F16527E}"/>
          </ac:spMkLst>
        </pc:spChg>
        <pc:spChg chg="add del mod topLvl">
          <ac:chgData name="Reuben Issac Jacob" userId="a26d73c9-1689-41bd-af50-ef825e838770" providerId="ADAL" clId="{F452BC9E-5BE8-4A0B-9F00-66A7219A31DE}" dt="2022-06-29T06:38:13.348" v="1186" actId="478"/>
          <ac:spMkLst>
            <pc:docMk/>
            <pc:sldMk cId="389114252" sldId="2147470202"/>
            <ac:spMk id="53" creationId="{908980C3-70EC-665D-3EF2-987AD73CBBF9}"/>
          </ac:spMkLst>
        </pc:spChg>
        <pc:spChg chg="add del mod topLvl">
          <ac:chgData name="Reuben Issac Jacob" userId="a26d73c9-1689-41bd-af50-ef825e838770" providerId="ADAL" clId="{F452BC9E-5BE8-4A0B-9F00-66A7219A31DE}" dt="2022-06-29T06:38:13.348" v="1186" actId="478"/>
          <ac:spMkLst>
            <pc:docMk/>
            <pc:sldMk cId="389114252" sldId="2147470202"/>
            <ac:spMk id="54" creationId="{FF3E0ACB-B3D3-23CC-A853-62C736180B74}"/>
          </ac:spMkLst>
        </pc:spChg>
        <pc:spChg chg="mod topLvl">
          <ac:chgData name="Reuben Issac Jacob" userId="a26d73c9-1689-41bd-af50-ef825e838770" providerId="ADAL" clId="{F452BC9E-5BE8-4A0B-9F00-66A7219A31DE}" dt="2022-06-29T06:53:55.929" v="1352" actId="1076"/>
          <ac:spMkLst>
            <pc:docMk/>
            <pc:sldMk cId="389114252" sldId="2147470202"/>
            <ac:spMk id="56" creationId="{C8422202-BD5A-1B0E-2AE7-847525771342}"/>
          </ac:spMkLst>
        </pc:spChg>
        <pc:spChg chg="mod topLvl">
          <ac:chgData name="Reuben Issac Jacob" userId="a26d73c9-1689-41bd-af50-ef825e838770" providerId="ADAL" clId="{F452BC9E-5BE8-4A0B-9F00-66A7219A31DE}" dt="2022-06-29T06:53:55.929" v="1352" actId="1076"/>
          <ac:spMkLst>
            <pc:docMk/>
            <pc:sldMk cId="389114252" sldId="2147470202"/>
            <ac:spMk id="58" creationId="{2CC2E37C-10A1-26BA-5DA6-10DE346F22AC}"/>
          </ac:spMkLst>
        </pc:spChg>
        <pc:spChg chg="mod topLvl">
          <ac:chgData name="Reuben Issac Jacob" userId="a26d73c9-1689-41bd-af50-ef825e838770" providerId="ADAL" clId="{F452BC9E-5BE8-4A0B-9F00-66A7219A31DE}" dt="2022-06-29T06:53:55.929" v="1352" actId="1076"/>
          <ac:spMkLst>
            <pc:docMk/>
            <pc:sldMk cId="389114252" sldId="2147470202"/>
            <ac:spMk id="59" creationId="{5BACAC83-E5CF-4C6F-9180-4FC433529DC0}"/>
          </ac:spMkLst>
        </pc:spChg>
        <pc:spChg chg="mod topLvl">
          <ac:chgData name="Reuben Issac Jacob" userId="a26d73c9-1689-41bd-af50-ef825e838770" providerId="ADAL" clId="{F452BC9E-5BE8-4A0B-9F00-66A7219A31DE}" dt="2022-06-29T06:53:55.929" v="1352" actId="1076"/>
          <ac:spMkLst>
            <pc:docMk/>
            <pc:sldMk cId="389114252" sldId="2147470202"/>
            <ac:spMk id="60" creationId="{56235ABD-681D-F57C-8FB0-94B9CD5E54E2}"/>
          </ac:spMkLst>
        </pc:spChg>
        <pc:spChg chg="mod topLvl">
          <ac:chgData name="Reuben Issac Jacob" userId="a26d73c9-1689-41bd-af50-ef825e838770" providerId="ADAL" clId="{F452BC9E-5BE8-4A0B-9F00-66A7219A31DE}" dt="2022-06-29T06:53:55.929" v="1352" actId="1076"/>
          <ac:spMkLst>
            <pc:docMk/>
            <pc:sldMk cId="389114252" sldId="2147470202"/>
            <ac:spMk id="61" creationId="{4B952FE5-8518-ADA7-1023-CAB3F780C958}"/>
          </ac:spMkLst>
        </pc:spChg>
        <pc:spChg chg="mod topLvl">
          <ac:chgData name="Reuben Issac Jacob" userId="a26d73c9-1689-41bd-af50-ef825e838770" providerId="ADAL" clId="{F452BC9E-5BE8-4A0B-9F00-66A7219A31DE}" dt="2022-06-29T06:53:55.929" v="1352" actId="1076"/>
          <ac:spMkLst>
            <pc:docMk/>
            <pc:sldMk cId="389114252" sldId="2147470202"/>
            <ac:spMk id="62" creationId="{E9D03551-342D-48C7-752E-BFD29F1CF192}"/>
          </ac:spMkLst>
        </pc:spChg>
        <pc:spChg chg="mod topLvl">
          <ac:chgData name="Reuben Issac Jacob" userId="a26d73c9-1689-41bd-af50-ef825e838770" providerId="ADAL" clId="{F452BC9E-5BE8-4A0B-9F00-66A7219A31DE}" dt="2022-06-29T06:53:55.929" v="1352" actId="1076"/>
          <ac:spMkLst>
            <pc:docMk/>
            <pc:sldMk cId="389114252" sldId="2147470202"/>
            <ac:spMk id="63" creationId="{199E4FC2-2F98-FAB1-DC3F-A6409B901141}"/>
          </ac:spMkLst>
        </pc:spChg>
        <pc:spChg chg="mod topLvl">
          <ac:chgData name="Reuben Issac Jacob" userId="a26d73c9-1689-41bd-af50-ef825e838770" providerId="ADAL" clId="{F452BC9E-5BE8-4A0B-9F00-66A7219A31DE}" dt="2022-06-29T06:53:55.929" v="1352" actId="1076"/>
          <ac:spMkLst>
            <pc:docMk/>
            <pc:sldMk cId="389114252" sldId="2147470202"/>
            <ac:spMk id="64" creationId="{61DA3957-E5A3-9603-46D3-0F726CCA2FF9}"/>
          </ac:spMkLst>
        </pc:spChg>
        <pc:spChg chg="mod topLvl">
          <ac:chgData name="Reuben Issac Jacob" userId="a26d73c9-1689-41bd-af50-ef825e838770" providerId="ADAL" clId="{F452BC9E-5BE8-4A0B-9F00-66A7219A31DE}" dt="2022-06-29T06:53:55.929" v="1352" actId="1076"/>
          <ac:spMkLst>
            <pc:docMk/>
            <pc:sldMk cId="389114252" sldId="2147470202"/>
            <ac:spMk id="65" creationId="{8F75E190-FE2B-7B85-9247-515E31925964}"/>
          </ac:spMkLst>
        </pc:spChg>
        <pc:spChg chg="mod topLvl">
          <ac:chgData name="Reuben Issac Jacob" userId="a26d73c9-1689-41bd-af50-ef825e838770" providerId="ADAL" clId="{F452BC9E-5BE8-4A0B-9F00-66A7219A31DE}" dt="2022-06-29T06:53:55.929" v="1352" actId="1076"/>
          <ac:spMkLst>
            <pc:docMk/>
            <pc:sldMk cId="389114252" sldId="2147470202"/>
            <ac:spMk id="66" creationId="{528CC62B-294C-2BD9-BC93-0DC31B528E93}"/>
          </ac:spMkLst>
        </pc:spChg>
        <pc:spChg chg="mod topLvl">
          <ac:chgData name="Reuben Issac Jacob" userId="a26d73c9-1689-41bd-af50-ef825e838770" providerId="ADAL" clId="{F452BC9E-5BE8-4A0B-9F00-66A7219A31DE}" dt="2022-06-29T06:53:55.929" v="1352" actId="1076"/>
          <ac:spMkLst>
            <pc:docMk/>
            <pc:sldMk cId="389114252" sldId="2147470202"/>
            <ac:spMk id="67" creationId="{ACFCC024-9ACD-B968-BBC4-5E3EC63DAF5C}"/>
          </ac:spMkLst>
        </pc:spChg>
        <pc:spChg chg="mod topLvl">
          <ac:chgData name="Reuben Issac Jacob" userId="a26d73c9-1689-41bd-af50-ef825e838770" providerId="ADAL" clId="{F452BC9E-5BE8-4A0B-9F00-66A7219A31DE}" dt="2022-06-29T06:53:55.929" v="1352" actId="1076"/>
          <ac:spMkLst>
            <pc:docMk/>
            <pc:sldMk cId="389114252" sldId="2147470202"/>
            <ac:spMk id="68" creationId="{87059581-9876-0E39-88CC-5C16B19569E3}"/>
          </ac:spMkLst>
        </pc:spChg>
        <pc:spChg chg="mod topLvl">
          <ac:chgData name="Reuben Issac Jacob" userId="a26d73c9-1689-41bd-af50-ef825e838770" providerId="ADAL" clId="{F452BC9E-5BE8-4A0B-9F00-66A7219A31DE}" dt="2022-06-29T06:53:55.929" v="1352" actId="1076"/>
          <ac:spMkLst>
            <pc:docMk/>
            <pc:sldMk cId="389114252" sldId="2147470202"/>
            <ac:spMk id="69" creationId="{B4690E96-3E12-A8BF-464D-3A5A486472C2}"/>
          </ac:spMkLst>
        </pc:spChg>
        <pc:spChg chg="mod topLvl">
          <ac:chgData name="Reuben Issac Jacob" userId="a26d73c9-1689-41bd-af50-ef825e838770" providerId="ADAL" clId="{F452BC9E-5BE8-4A0B-9F00-66A7219A31DE}" dt="2022-06-29T06:53:55.929" v="1352" actId="1076"/>
          <ac:spMkLst>
            <pc:docMk/>
            <pc:sldMk cId="389114252" sldId="2147470202"/>
            <ac:spMk id="70" creationId="{29EA2179-5C0A-9FCD-5550-1A58AC4E3757}"/>
          </ac:spMkLst>
        </pc:spChg>
        <pc:spChg chg="mod topLvl">
          <ac:chgData name="Reuben Issac Jacob" userId="a26d73c9-1689-41bd-af50-ef825e838770" providerId="ADAL" clId="{F452BC9E-5BE8-4A0B-9F00-66A7219A31DE}" dt="2022-06-29T06:53:55.929" v="1352" actId="1076"/>
          <ac:spMkLst>
            <pc:docMk/>
            <pc:sldMk cId="389114252" sldId="2147470202"/>
            <ac:spMk id="71" creationId="{40FE4836-BBBB-9B81-A6C8-8F060C41E03F}"/>
          </ac:spMkLst>
        </pc:spChg>
        <pc:spChg chg="mod topLvl">
          <ac:chgData name="Reuben Issac Jacob" userId="a26d73c9-1689-41bd-af50-ef825e838770" providerId="ADAL" clId="{F452BC9E-5BE8-4A0B-9F00-66A7219A31DE}" dt="2022-06-29T06:53:55.929" v="1352" actId="1076"/>
          <ac:spMkLst>
            <pc:docMk/>
            <pc:sldMk cId="389114252" sldId="2147470202"/>
            <ac:spMk id="72" creationId="{100A3816-3132-4D16-6C71-821C22C2470C}"/>
          </ac:spMkLst>
        </pc:spChg>
        <pc:spChg chg="mod">
          <ac:chgData name="Reuben Issac Jacob" userId="a26d73c9-1689-41bd-af50-ef825e838770" providerId="ADAL" clId="{F452BC9E-5BE8-4A0B-9F00-66A7219A31DE}" dt="2022-06-29T06:53:55.929" v="1352" actId="1076"/>
          <ac:spMkLst>
            <pc:docMk/>
            <pc:sldMk cId="389114252" sldId="2147470202"/>
            <ac:spMk id="74" creationId="{88C33406-5601-BCB1-6C8A-D191BDCD51E3}"/>
          </ac:spMkLst>
        </pc:spChg>
        <pc:spChg chg="mod">
          <ac:chgData name="Reuben Issac Jacob" userId="a26d73c9-1689-41bd-af50-ef825e838770" providerId="ADAL" clId="{F452BC9E-5BE8-4A0B-9F00-66A7219A31DE}" dt="2022-06-29T06:53:55.929" v="1352" actId="1076"/>
          <ac:spMkLst>
            <pc:docMk/>
            <pc:sldMk cId="389114252" sldId="2147470202"/>
            <ac:spMk id="76" creationId="{A53FAD8A-27C3-3A77-385B-8D1E2CB4C610}"/>
          </ac:spMkLst>
        </pc:spChg>
        <pc:spChg chg="mod">
          <ac:chgData name="Reuben Issac Jacob" userId="a26d73c9-1689-41bd-af50-ef825e838770" providerId="ADAL" clId="{F452BC9E-5BE8-4A0B-9F00-66A7219A31DE}" dt="2022-06-29T06:53:55.929" v="1352" actId="1076"/>
          <ac:spMkLst>
            <pc:docMk/>
            <pc:sldMk cId="389114252" sldId="2147470202"/>
            <ac:spMk id="77" creationId="{29E57468-CA8C-ED89-F06C-3BF37831C7AF}"/>
          </ac:spMkLst>
        </pc:spChg>
        <pc:spChg chg="mod">
          <ac:chgData name="Reuben Issac Jacob" userId="a26d73c9-1689-41bd-af50-ef825e838770" providerId="ADAL" clId="{F452BC9E-5BE8-4A0B-9F00-66A7219A31DE}" dt="2022-06-29T06:53:55.929" v="1352" actId="1076"/>
          <ac:spMkLst>
            <pc:docMk/>
            <pc:sldMk cId="389114252" sldId="2147470202"/>
            <ac:spMk id="78" creationId="{251E5847-103A-E059-BA1A-C588A3E465B8}"/>
          </ac:spMkLst>
        </pc:spChg>
        <pc:spChg chg="mod">
          <ac:chgData name="Reuben Issac Jacob" userId="a26d73c9-1689-41bd-af50-ef825e838770" providerId="ADAL" clId="{F452BC9E-5BE8-4A0B-9F00-66A7219A31DE}" dt="2022-06-29T06:53:55.929" v="1352" actId="1076"/>
          <ac:spMkLst>
            <pc:docMk/>
            <pc:sldMk cId="389114252" sldId="2147470202"/>
            <ac:spMk id="79" creationId="{3E9E3251-952A-4231-D72C-0C026D259467}"/>
          </ac:spMkLst>
        </pc:spChg>
        <pc:spChg chg="mod">
          <ac:chgData name="Reuben Issac Jacob" userId="a26d73c9-1689-41bd-af50-ef825e838770" providerId="ADAL" clId="{F452BC9E-5BE8-4A0B-9F00-66A7219A31DE}" dt="2022-06-29T06:53:55.929" v="1352" actId="1076"/>
          <ac:spMkLst>
            <pc:docMk/>
            <pc:sldMk cId="389114252" sldId="2147470202"/>
            <ac:spMk id="80" creationId="{70ED716F-6287-CE92-8217-9B89C04A030A}"/>
          </ac:spMkLst>
        </pc:spChg>
        <pc:spChg chg="mod">
          <ac:chgData name="Reuben Issac Jacob" userId="a26d73c9-1689-41bd-af50-ef825e838770" providerId="ADAL" clId="{F452BC9E-5BE8-4A0B-9F00-66A7219A31DE}" dt="2022-06-29T06:53:55.929" v="1352" actId="1076"/>
          <ac:spMkLst>
            <pc:docMk/>
            <pc:sldMk cId="389114252" sldId="2147470202"/>
            <ac:spMk id="81" creationId="{86F82045-4CF7-ABE0-4D12-DE6C2842C399}"/>
          </ac:spMkLst>
        </pc:spChg>
        <pc:spChg chg="mod">
          <ac:chgData name="Reuben Issac Jacob" userId="a26d73c9-1689-41bd-af50-ef825e838770" providerId="ADAL" clId="{F452BC9E-5BE8-4A0B-9F00-66A7219A31DE}" dt="2022-06-29T06:53:55.929" v="1352" actId="1076"/>
          <ac:spMkLst>
            <pc:docMk/>
            <pc:sldMk cId="389114252" sldId="2147470202"/>
            <ac:spMk id="82" creationId="{764739A0-1D0D-81CB-9E07-0A1901F96AA0}"/>
          </ac:spMkLst>
        </pc:spChg>
        <pc:spChg chg="mod">
          <ac:chgData name="Reuben Issac Jacob" userId="a26d73c9-1689-41bd-af50-ef825e838770" providerId="ADAL" clId="{F452BC9E-5BE8-4A0B-9F00-66A7219A31DE}" dt="2022-06-29T06:53:55.929" v="1352" actId="1076"/>
          <ac:spMkLst>
            <pc:docMk/>
            <pc:sldMk cId="389114252" sldId="2147470202"/>
            <ac:spMk id="83" creationId="{BDB0DB07-6D0F-E1D7-104E-13615A004869}"/>
          </ac:spMkLst>
        </pc:spChg>
        <pc:spChg chg="mod">
          <ac:chgData name="Reuben Issac Jacob" userId="a26d73c9-1689-41bd-af50-ef825e838770" providerId="ADAL" clId="{F452BC9E-5BE8-4A0B-9F00-66A7219A31DE}" dt="2022-06-29T06:53:55.929" v="1352" actId="1076"/>
          <ac:spMkLst>
            <pc:docMk/>
            <pc:sldMk cId="389114252" sldId="2147470202"/>
            <ac:spMk id="84" creationId="{2194CF19-57DD-2A42-6600-EB678C9AFECA}"/>
          </ac:spMkLst>
        </pc:spChg>
        <pc:spChg chg="mod">
          <ac:chgData name="Reuben Issac Jacob" userId="a26d73c9-1689-41bd-af50-ef825e838770" providerId="ADAL" clId="{F452BC9E-5BE8-4A0B-9F00-66A7219A31DE}" dt="2022-06-29T06:53:55.929" v="1352" actId="1076"/>
          <ac:spMkLst>
            <pc:docMk/>
            <pc:sldMk cId="389114252" sldId="2147470202"/>
            <ac:spMk id="85" creationId="{01C81C4F-7F8A-72C3-5F80-C43B99DF1782}"/>
          </ac:spMkLst>
        </pc:spChg>
        <pc:spChg chg="mod">
          <ac:chgData name="Reuben Issac Jacob" userId="a26d73c9-1689-41bd-af50-ef825e838770" providerId="ADAL" clId="{F452BC9E-5BE8-4A0B-9F00-66A7219A31DE}" dt="2022-06-29T06:53:55.929" v="1352" actId="1076"/>
          <ac:spMkLst>
            <pc:docMk/>
            <pc:sldMk cId="389114252" sldId="2147470202"/>
            <ac:spMk id="86" creationId="{6BD89317-894B-40C5-9EBA-6BCF110C4C0E}"/>
          </ac:spMkLst>
        </pc:spChg>
        <pc:spChg chg="mod">
          <ac:chgData name="Reuben Issac Jacob" userId="a26d73c9-1689-41bd-af50-ef825e838770" providerId="ADAL" clId="{F452BC9E-5BE8-4A0B-9F00-66A7219A31DE}" dt="2022-06-29T06:53:55.929" v="1352" actId="1076"/>
          <ac:spMkLst>
            <pc:docMk/>
            <pc:sldMk cId="389114252" sldId="2147470202"/>
            <ac:spMk id="87" creationId="{1CFCACEA-E386-D565-2A50-5FF555D7CA0B}"/>
          </ac:spMkLst>
        </pc:spChg>
        <pc:spChg chg="mod">
          <ac:chgData name="Reuben Issac Jacob" userId="a26d73c9-1689-41bd-af50-ef825e838770" providerId="ADAL" clId="{F452BC9E-5BE8-4A0B-9F00-66A7219A31DE}" dt="2022-06-29T06:53:55.929" v="1352" actId="1076"/>
          <ac:spMkLst>
            <pc:docMk/>
            <pc:sldMk cId="389114252" sldId="2147470202"/>
            <ac:spMk id="88" creationId="{943E0F5A-5731-EA12-13BE-DD3590DFDB45}"/>
          </ac:spMkLst>
        </pc:spChg>
        <pc:spChg chg="mod">
          <ac:chgData name="Reuben Issac Jacob" userId="a26d73c9-1689-41bd-af50-ef825e838770" providerId="ADAL" clId="{F452BC9E-5BE8-4A0B-9F00-66A7219A31DE}" dt="2022-06-29T06:53:55.929" v="1352" actId="1076"/>
          <ac:spMkLst>
            <pc:docMk/>
            <pc:sldMk cId="389114252" sldId="2147470202"/>
            <ac:spMk id="89" creationId="{7B02DD69-3E6A-12B8-A97B-AB2E4063E9F6}"/>
          </ac:spMkLst>
        </pc:spChg>
        <pc:spChg chg="mod">
          <ac:chgData name="Reuben Issac Jacob" userId="a26d73c9-1689-41bd-af50-ef825e838770" providerId="ADAL" clId="{F452BC9E-5BE8-4A0B-9F00-66A7219A31DE}" dt="2022-06-29T06:53:55.929" v="1352" actId="1076"/>
          <ac:spMkLst>
            <pc:docMk/>
            <pc:sldMk cId="389114252" sldId="2147470202"/>
            <ac:spMk id="90" creationId="{D4AD6996-366A-0DA5-B146-CB14FEF7B363}"/>
          </ac:spMkLst>
        </pc:spChg>
        <pc:spChg chg="mod">
          <ac:chgData name="Reuben Issac Jacob" userId="a26d73c9-1689-41bd-af50-ef825e838770" providerId="ADAL" clId="{F452BC9E-5BE8-4A0B-9F00-66A7219A31DE}" dt="2022-06-29T06:53:55.929" v="1352" actId="1076"/>
          <ac:spMkLst>
            <pc:docMk/>
            <pc:sldMk cId="389114252" sldId="2147470202"/>
            <ac:spMk id="92" creationId="{B6777AA4-548A-6C0A-416F-E3D910D84D38}"/>
          </ac:spMkLst>
        </pc:spChg>
        <pc:spChg chg="mod">
          <ac:chgData name="Reuben Issac Jacob" userId="a26d73c9-1689-41bd-af50-ef825e838770" providerId="ADAL" clId="{F452BC9E-5BE8-4A0B-9F00-66A7219A31DE}" dt="2022-06-29T06:53:55.929" v="1352" actId="1076"/>
          <ac:spMkLst>
            <pc:docMk/>
            <pc:sldMk cId="389114252" sldId="2147470202"/>
            <ac:spMk id="94" creationId="{ED31C1A8-3245-EF5E-ADDA-9E84BF8E9B45}"/>
          </ac:spMkLst>
        </pc:spChg>
        <pc:spChg chg="mod">
          <ac:chgData name="Reuben Issac Jacob" userId="a26d73c9-1689-41bd-af50-ef825e838770" providerId="ADAL" clId="{F452BC9E-5BE8-4A0B-9F00-66A7219A31DE}" dt="2022-06-29T06:53:55.929" v="1352" actId="1076"/>
          <ac:spMkLst>
            <pc:docMk/>
            <pc:sldMk cId="389114252" sldId="2147470202"/>
            <ac:spMk id="95" creationId="{1C255951-AA38-EA3F-A80A-E9F7F5A4DC04}"/>
          </ac:spMkLst>
        </pc:spChg>
        <pc:spChg chg="mod">
          <ac:chgData name="Reuben Issac Jacob" userId="a26d73c9-1689-41bd-af50-ef825e838770" providerId="ADAL" clId="{F452BC9E-5BE8-4A0B-9F00-66A7219A31DE}" dt="2022-06-29T06:53:55.929" v="1352" actId="1076"/>
          <ac:spMkLst>
            <pc:docMk/>
            <pc:sldMk cId="389114252" sldId="2147470202"/>
            <ac:spMk id="96" creationId="{2173993F-F0C6-F486-A14E-660B367184DC}"/>
          </ac:spMkLst>
        </pc:spChg>
        <pc:spChg chg="mod">
          <ac:chgData name="Reuben Issac Jacob" userId="a26d73c9-1689-41bd-af50-ef825e838770" providerId="ADAL" clId="{F452BC9E-5BE8-4A0B-9F00-66A7219A31DE}" dt="2022-06-29T06:53:55.929" v="1352" actId="1076"/>
          <ac:spMkLst>
            <pc:docMk/>
            <pc:sldMk cId="389114252" sldId="2147470202"/>
            <ac:spMk id="97" creationId="{E77A49B3-1D52-2D5D-DFBA-D10C78421B07}"/>
          </ac:spMkLst>
        </pc:spChg>
        <pc:spChg chg="mod">
          <ac:chgData name="Reuben Issac Jacob" userId="a26d73c9-1689-41bd-af50-ef825e838770" providerId="ADAL" clId="{F452BC9E-5BE8-4A0B-9F00-66A7219A31DE}" dt="2022-06-29T06:53:55.929" v="1352" actId="1076"/>
          <ac:spMkLst>
            <pc:docMk/>
            <pc:sldMk cId="389114252" sldId="2147470202"/>
            <ac:spMk id="98" creationId="{BC28C6D3-AAE9-0E88-8FDF-55C099A7C13F}"/>
          </ac:spMkLst>
        </pc:spChg>
        <pc:spChg chg="mod">
          <ac:chgData name="Reuben Issac Jacob" userId="a26d73c9-1689-41bd-af50-ef825e838770" providerId="ADAL" clId="{F452BC9E-5BE8-4A0B-9F00-66A7219A31DE}" dt="2022-06-29T06:53:55.929" v="1352" actId="1076"/>
          <ac:spMkLst>
            <pc:docMk/>
            <pc:sldMk cId="389114252" sldId="2147470202"/>
            <ac:spMk id="99" creationId="{7B754E69-B95D-0A36-D476-4B62E08025C0}"/>
          </ac:spMkLst>
        </pc:spChg>
        <pc:spChg chg="mod">
          <ac:chgData name="Reuben Issac Jacob" userId="a26d73c9-1689-41bd-af50-ef825e838770" providerId="ADAL" clId="{F452BC9E-5BE8-4A0B-9F00-66A7219A31DE}" dt="2022-06-29T06:53:55.929" v="1352" actId="1076"/>
          <ac:spMkLst>
            <pc:docMk/>
            <pc:sldMk cId="389114252" sldId="2147470202"/>
            <ac:spMk id="100" creationId="{F1AF67B4-2CA1-0930-2357-5AD11E088827}"/>
          </ac:spMkLst>
        </pc:spChg>
        <pc:spChg chg="mod">
          <ac:chgData name="Reuben Issac Jacob" userId="a26d73c9-1689-41bd-af50-ef825e838770" providerId="ADAL" clId="{F452BC9E-5BE8-4A0B-9F00-66A7219A31DE}" dt="2022-06-29T06:53:55.929" v="1352" actId="1076"/>
          <ac:spMkLst>
            <pc:docMk/>
            <pc:sldMk cId="389114252" sldId="2147470202"/>
            <ac:spMk id="101" creationId="{57342DAD-95C9-F1F7-B976-8B1389040A82}"/>
          </ac:spMkLst>
        </pc:spChg>
        <pc:spChg chg="mod">
          <ac:chgData name="Reuben Issac Jacob" userId="a26d73c9-1689-41bd-af50-ef825e838770" providerId="ADAL" clId="{F452BC9E-5BE8-4A0B-9F00-66A7219A31DE}" dt="2022-06-29T06:53:55.929" v="1352" actId="1076"/>
          <ac:spMkLst>
            <pc:docMk/>
            <pc:sldMk cId="389114252" sldId="2147470202"/>
            <ac:spMk id="102" creationId="{ABDA81F6-6E09-CEF0-4263-7C8F552A8FF3}"/>
          </ac:spMkLst>
        </pc:spChg>
        <pc:spChg chg="mod">
          <ac:chgData name="Reuben Issac Jacob" userId="a26d73c9-1689-41bd-af50-ef825e838770" providerId="ADAL" clId="{F452BC9E-5BE8-4A0B-9F00-66A7219A31DE}" dt="2022-06-29T06:53:55.929" v="1352" actId="1076"/>
          <ac:spMkLst>
            <pc:docMk/>
            <pc:sldMk cId="389114252" sldId="2147470202"/>
            <ac:spMk id="103" creationId="{AB2E018D-3BFD-1EA4-7F65-61EB46EFC049}"/>
          </ac:spMkLst>
        </pc:spChg>
        <pc:spChg chg="mod">
          <ac:chgData name="Reuben Issac Jacob" userId="a26d73c9-1689-41bd-af50-ef825e838770" providerId="ADAL" clId="{F452BC9E-5BE8-4A0B-9F00-66A7219A31DE}" dt="2022-06-29T06:53:55.929" v="1352" actId="1076"/>
          <ac:spMkLst>
            <pc:docMk/>
            <pc:sldMk cId="389114252" sldId="2147470202"/>
            <ac:spMk id="104" creationId="{2D9B2D5F-659E-BB13-12D8-B6FAFC0A2D7B}"/>
          </ac:spMkLst>
        </pc:spChg>
        <pc:spChg chg="mod">
          <ac:chgData name="Reuben Issac Jacob" userId="a26d73c9-1689-41bd-af50-ef825e838770" providerId="ADAL" clId="{F452BC9E-5BE8-4A0B-9F00-66A7219A31DE}" dt="2022-06-29T06:53:55.929" v="1352" actId="1076"/>
          <ac:spMkLst>
            <pc:docMk/>
            <pc:sldMk cId="389114252" sldId="2147470202"/>
            <ac:spMk id="105" creationId="{2E2EE796-89A8-44B0-DA99-50FAE2AA4AEF}"/>
          </ac:spMkLst>
        </pc:spChg>
        <pc:spChg chg="mod">
          <ac:chgData name="Reuben Issac Jacob" userId="a26d73c9-1689-41bd-af50-ef825e838770" providerId="ADAL" clId="{F452BC9E-5BE8-4A0B-9F00-66A7219A31DE}" dt="2022-06-29T06:53:55.929" v="1352" actId="1076"/>
          <ac:spMkLst>
            <pc:docMk/>
            <pc:sldMk cId="389114252" sldId="2147470202"/>
            <ac:spMk id="106" creationId="{281845EF-C74B-FAA3-5100-D12132A961FF}"/>
          </ac:spMkLst>
        </pc:spChg>
        <pc:spChg chg="mod">
          <ac:chgData name="Reuben Issac Jacob" userId="a26d73c9-1689-41bd-af50-ef825e838770" providerId="ADAL" clId="{F452BC9E-5BE8-4A0B-9F00-66A7219A31DE}" dt="2022-06-29T06:53:55.929" v="1352" actId="1076"/>
          <ac:spMkLst>
            <pc:docMk/>
            <pc:sldMk cId="389114252" sldId="2147470202"/>
            <ac:spMk id="107" creationId="{1569DCE4-8287-AB09-199B-6B24576E94A1}"/>
          </ac:spMkLst>
        </pc:spChg>
        <pc:spChg chg="mod">
          <ac:chgData name="Reuben Issac Jacob" userId="a26d73c9-1689-41bd-af50-ef825e838770" providerId="ADAL" clId="{F452BC9E-5BE8-4A0B-9F00-66A7219A31DE}" dt="2022-06-29T06:53:55.929" v="1352" actId="1076"/>
          <ac:spMkLst>
            <pc:docMk/>
            <pc:sldMk cId="389114252" sldId="2147470202"/>
            <ac:spMk id="108" creationId="{25412459-A541-DD3E-A800-F6BE2C5FDA1C}"/>
          </ac:spMkLst>
        </pc:spChg>
        <pc:spChg chg="mod">
          <ac:chgData name="Reuben Issac Jacob" userId="a26d73c9-1689-41bd-af50-ef825e838770" providerId="ADAL" clId="{F452BC9E-5BE8-4A0B-9F00-66A7219A31DE}" dt="2022-06-29T06:53:55.929" v="1352" actId="1076"/>
          <ac:spMkLst>
            <pc:docMk/>
            <pc:sldMk cId="389114252" sldId="2147470202"/>
            <ac:spMk id="110" creationId="{9CA7B0E4-62B0-9852-A6F6-9393CFF2617B}"/>
          </ac:spMkLst>
        </pc:spChg>
        <pc:spChg chg="mod">
          <ac:chgData name="Reuben Issac Jacob" userId="a26d73c9-1689-41bd-af50-ef825e838770" providerId="ADAL" clId="{F452BC9E-5BE8-4A0B-9F00-66A7219A31DE}" dt="2022-06-29T06:53:55.929" v="1352" actId="1076"/>
          <ac:spMkLst>
            <pc:docMk/>
            <pc:sldMk cId="389114252" sldId="2147470202"/>
            <ac:spMk id="112" creationId="{0E196293-E40A-3F95-1328-343E9984905E}"/>
          </ac:spMkLst>
        </pc:spChg>
        <pc:spChg chg="mod">
          <ac:chgData name="Reuben Issac Jacob" userId="a26d73c9-1689-41bd-af50-ef825e838770" providerId="ADAL" clId="{F452BC9E-5BE8-4A0B-9F00-66A7219A31DE}" dt="2022-06-29T06:53:55.929" v="1352" actId="1076"/>
          <ac:spMkLst>
            <pc:docMk/>
            <pc:sldMk cId="389114252" sldId="2147470202"/>
            <ac:spMk id="113" creationId="{72B5D61A-F21C-8454-78A6-57727869CCA6}"/>
          </ac:spMkLst>
        </pc:spChg>
        <pc:spChg chg="mod">
          <ac:chgData name="Reuben Issac Jacob" userId="a26d73c9-1689-41bd-af50-ef825e838770" providerId="ADAL" clId="{F452BC9E-5BE8-4A0B-9F00-66A7219A31DE}" dt="2022-06-29T06:53:55.929" v="1352" actId="1076"/>
          <ac:spMkLst>
            <pc:docMk/>
            <pc:sldMk cId="389114252" sldId="2147470202"/>
            <ac:spMk id="114" creationId="{6BB0D7D8-1DD1-C1BC-5F28-F40D5E8A6793}"/>
          </ac:spMkLst>
        </pc:spChg>
        <pc:spChg chg="mod">
          <ac:chgData name="Reuben Issac Jacob" userId="a26d73c9-1689-41bd-af50-ef825e838770" providerId="ADAL" clId="{F452BC9E-5BE8-4A0B-9F00-66A7219A31DE}" dt="2022-06-29T06:53:55.929" v="1352" actId="1076"/>
          <ac:spMkLst>
            <pc:docMk/>
            <pc:sldMk cId="389114252" sldId="2147470202"/>
            <ac:spMk id="115" creationId="{2B5D2ADA-B1DD-A40D-421D-72A3E58C00C6}"/>
          </ac:spMkLst>
        </pc:spChg>
        <pc:spChg chg="mod">
          <ac:chgData name="Reuben Issac Jacob" userId="a26d73c9-1689-41bd-af50-ef825e838770" providerId="ADAL" clId="{F452BC9E-5BE8-4A0B-9F00-66A7219A31DE}" dt="2022-06-29T06:53:55.929" v="1352" actId="1076"/>
          <ac:spMkLst>
            <pc:docMk/>
            <pc:sldMk cId="389114252" sldId="2147470202"/>
            <ac:spMk id="116" creationId="{B9B9B7ED-8447-9072-4D0B-C68FC13FB72C}"/>
          </ac:spMkLst>
        </pc:spChg>
        <pc:spChg chg="mod">
          <ac:chgData name="Reuben Issac Jacob" userId="a26d73c9-1689-41bd-af50-ef825e838770" providerId="ADAL" clId="{F452BC9E-5BE8-4A0B-9F00-66A7219A31DE}" dt="2022-06-29T06:53:55.929" v="1352" actId="1076"/>
          <ac:spMkLst>
            <pc:docMk/>
            <pc:sldMk cId="389114252" sldId="2147470202"/>
            <ac:spMk id="117" creationId="{E997A473-6FED-1719-9D8F-5E6BCCCB50A2}"/>
          </ac:spMkLst>
        </pc:spChg>
        <pc:spChg chg="mod">
          <ac:chgData name="Reuben Issac Jacob" userId="a26d73c9-1689-41bd-af50-ef825e838770" providerId="ADAL" clId="{F452BC9E-5BE8-4A0B-9F00-66A7219A31DE}" dt="2022-06-29T06:53:55.929" v="1352" actId="1076"/>
          <ac:spMkLst>
            <pc:docMk/>
            <pc:sldMk cId="389114252" sldId="2147470202"/>
            <ac:spMk id="118" creationId="{EA68B7EA-7661-91EC-2D50-12889175A807}"/>
          </ac:spMkLst>
        </pc:spChg>
        <pc:spChg chg="mod">
          <ac:chgData name="Reuben Issac Jacob" userId="a26d73c9-1689-41bd-af50-ef825e838770" providerId="ADAL" clId="{F452BC9E-5BE8-4A0B-9F00-66A7219A31DE}" dt="2022-06-29T06:53:55.929" v="1352" actId="1076"/>
          <ac:spMkLst>
            <pc:docMk/>
            <pc:sldMk cId="389114252" sldId="2147470202"/>
            <ac:spMk id="119" creationId="{0C312A9E-F35A-548B-92C1-9367149633F6}"/>
          </ac:spMkLst>
        </pc:spChg>
        <pc:spChg chg="mod">
          <ac:chgData name="Reuben Issac Jacob" userId="a26d73c9-1689-41bd-af50-ef825e838770" providerId="ADAL" clId="{F452BC9E-5BE8-4A0B-9F00-66A7219A31DE}" dt="2022-06-29T06:53:55.929" v="1352" actId="1076"/>
          <ac:spMkLst>
            <pc:docMk/>
            <pc:sldMk cId="389114252" sldId="2147470202"/>
            <ac:spMk id="120" creationId="{0322EEF5-A2EF-DF88-2B5A-B3D5916CA739}"/>
          </ac:spMkLst>
        </pc:spChg>
        <pc:spChg chg="mod">
          <ac:chgData name="Reuben Issac Jacob" userId="a26d73c9-1689-41bd-af50-ef825e838770" providerId="ADAL" clId="{F452BC9E-5BE8-4A0B-9F00-66A7219A31DE}" dt="2022-06-29T06:53:55.929" v="1352" actId="1076"/>
          <ac:spMkLst>
            <pc:docMk/>
            <pc:sldMk cId="389114252" sldId="2147470202"/>
            <ac:spMk id="121" creationId="{3B0F736B-4A92-DB7F-FC1F-4110B81B208A}"/>
          </ac:spMkLst>
        </pc:spChg>
        <pc:spChg chg="mod">
          <ac:chgData name="Reuben Issac Jacob" userId="a26d73c9-1689-41bd-af50-ef825e838770" providerId="ADAL" clId="{F452BC9E-5BE8-4A0B-9F00-66A7219A31DE}" dt="2022-06-29T06:53:55.929" v="1352" actId="1076"/>
          <ac:spMkLst>
            <pc:docMk/>
            <pc:sldMk cId="389114252" sldId="2147470202"/>
            <ac:spMk id="122" creationId="{B9705205-2E9D-C2D9-3D44-5F42DCC0C149}"/>
          </ac:spMkLst>
        </pc:spChg>
        <pc:spChg chg="mod">
          <ac:chgData name="Reuben Issac Jacob" userId="a26d73c9-1689-41bd-af50-ef825e838770" providerId="ADAL" clId="{F452BC9E-5BE8-4A0B-9F00-66A7219A31DE}" dt="2022-06-29T06:53:55.929" v="1352" actId="1076"/>
          <ac:spMkLst>
            <pc:docMk/>
            <pc:sldMk cId="389114252" sldId="2147470202"/>
            <ac:spMk id="123" creationId="{6DF3A2FE-E8A6-23F6-29CD-0C30421DA64D}"/>
          </ac:spMkLst>
        </pc:spChg>
        <pc:spChg chg="mod">
          <ac:chgData name="Reuben Issac Jacob" userId="a26d73c9-1689-41bd-af50-ef825e838770" providerId="ADAL" clId="{F452BC9E-5BE8-4A0B-9F00-66A7219A31DE}" dt="2022-06-29T06:53:55.929" v="1352" actId="1076"/>
          <ac:spMkLst>
            <pc:docMk/>
            <pc:sldMk cId="389114252" sldId="2147470202"/>
            <ac:spMk id="124" creationId="{91A4D7CD-E509-EB9E-FCB3-F394E831BAED}"/>
          </ac:spMkLst>
        </pc:spChg>
        <pc:spChg chg="mod">
          <ac:chgData name="Reuben Issac Jacob" userId="a26d73c9-1689-41bd-af50-ef825e838770" providerId="ADAL" clId="{F452BC9E-5BE8-4A0B-9F00-66A7219A31DE}" dt="2022-06-29T06:53:55.929" v="1352" actId="1076"/>
          <ac:spMkLst>
            <pc:docMk/>
            <pc:sldMk cId="389114252" sldId="2147470202"/>
            <ac:spMk id="125" creationId="{1B664B83-40E6-D7F4-08FA-A24057271F5C}"/>
          </ac:spMkLst>
        </pc:spChg>
        <pc:spChg chg="mod">
          <ac:chgData name="Reuben Issac Jacob" userId="a26d73c9-1689-41bd-af50-ef825e838770" providerId="ADAL" clId="{F452BC9E-5BE8-4A0B-9F00-66A7219A31DE}" dt="2022-06-29T06:53:55.929" v="1352" actId="1076"/>
          <ac:spMkLst>
            <pc:docMk/>
            <pc:sldMk cId="389114252" sldId="2147470202"/>
            <ac:spMk id="126" creationId="{DE52E3D3-1876-7FB6-A728-5D85B1CB71AA}"/>
          </ac:spMkLst>
        </pc:spChg>
        <pc:spChg chg="mod">
          <ac:chgData name="Reuben Issac Jacob" userId="a26d73c9-1689-41bd-af50-ef825e838770" providerId="ADAL" clId="{F452BC9E-5BE8-4A0B-9F00-66A7219A31DE}" dt="2022-06-29T06:53:55.929" v="1352" actId="1076"/>
          <ac:spMkLst>
            <pc:docMk/>
            <pc:sldMk cId="389114252" sldId="2147470202"/>
            <ac:spMk id="128" creationId="{41AB9492-57C9-421F-7034-64B00254DF0C}"/>
          </ac:spMkLst>
        </pc:spChg>
        <pc:spChg chg="mod">
          <ac:chgData name="Reuben Issac Jacob" userId="a26d73c9-1689-41bd-af50-ef825e838770" providerId="ADAL" clId="{F452BC9E-5BE8-4A0B-9F00-66A7219A31DE}" dt="2022-06-29T06:53:55.929" v="1352" actId="1076"/>
          <ac:spMkLst>
            <pc:docMk/>
            <pc:sldMk cId="389114252" sldId="2147470202"/>
            <ac:spMk id="130" creationId="{6002009A-9500-2294-B09D-20759D832311}"/>
          </ac:spMkLst>
        </pc:spChg>
        <pc:spChg chg="mod">
          <ac:chgData name="Reuben Issac Jacob" userId="a26d73c9-1689-41bd-af50-ef825e838770" providerId="ADAL" clId="{F452BC9E-5BE8-4A0B-9F00-66A7219A31DE}" dt="2022-06-29T06:53:55.929" v="1352" actId="1076"/>
          <ac:spMkLst>
            <pc:docMk/>
            <pc:sldMk cId="389114252" sldId="2147470202"/>
            <ac:spMk id="131" creationId="{90B6ACFE-7394-E0C2-01E5-3ECBF265FE25}"/>
          </ac:spMkLst>
        </pc:spChg>
        <pc:spChg chg="mod">
          <ac:chgData name="Reuben Issac Jacob" userId="a26d73c9-1689-41bd-af50-ef825e838770" providerId="ADAL" clId="{F452BC9E-5BE8-4A0B-9F00-66A7219A31DE}" dt="2022-06-29T06:53:55.929" v="1352" actId="1076"/>
          <ac:spMkLst>
            <pc:docMk/>
            <pc:sldMk cId="389114252" sldId="2147470202"/>
            <ac:spMk id="132" creationId="{C5DEF7C9-8DA6-93E4-8AF4-13A813AC7FB1}"/>
          </ac:spMkLst>
        </pc:spChg>
        <pc:spChg chg="mod">
          <ac:chgData name="Reuben Issac Jacob" userId="a26d73c9-1689-41bd-af50-ef825e838770" providerId="ADAL" clId="{F452BC9E-5BE8-4A0B-9F00-66A7219A31DE}" dt="2022-06-29T06:53:55.929" v="1352" actId="1076"/>
          <ac:spMkLst>
            <pc:docMk/>
            <pc:sldMk cId="389114252" sldId="2147470202"/>
            <ac:spMk id="133" creationId="{01439D00-9F2C-0C97-833D-C3AB5CD20FBE}"/>
          </ac:spMkLst>
        </pc:spChg>
        <pc:spChg chg="mod">
          <ac:chgData name="Reuben Issac Jacob" userId="a26d73c9-1689-41bd-af50-ef825e838770" providerId="ADAL" clId="{F452BC9E-5BE8-4A0B-9F00-66A7219A31DE}" dt="2022-06-29T06:53:55.929" v="1352" actId="1076"/>
          <ac:spMkLst>
            <pc:docMk/>
            <pc:sldMk cId="389114252" sldId="2147470202"/>
            <ac:spMk id="134" creationId="{FC14A36E-DD13-2B41-C7E0-951A300F1306}"/>
          </ac:spMkLst>
        </pc:spChg>
        <pc:spChg chg="mod">
          <ac:chgData name="Reuben Issac Jacob" userId="a26d73c9-1689-41bd-af50-ef825e838770" providerId="ADAL" clId="{F452BC9E-5BE8-4A0B-9F00-66A7219A31DE}" dt="2022-06-29T06:53:55.929" v="1352" actId="1076"/>
          <ac:spMkLst>
            <pc:docMk/>
            <pc:sldMk cId="389114252" sldId="2147470202"/>
            <ac:spMk id="135" creationId="{D34815CC-0AF3-DC4A-E045-D17E0EA053AE}"/>
          </ac:spMkLst>
        </pc:spChg>
        <pc:spChg chg="mod">
          <ac:chgData name="Reuben Issac Jacob" userId="a26d73c9-1689-41bd-af50-ef825e838770" providerId="ADAL" clId="{F452BC9E-5BE8-4A0B-9F00-66A7219A31DE}" dt="2022-06-29T06:53:55.929" v="1352" actId="1076"/>
          <ac:spMkLst>
            <pc:docMk/>
            <pc:sldMk cId="389114252" sldId="2147470202"/>
            <ac:spMk id="136" creationId="{6EE491D5-D925-56F1-4AB4-D94B3B494670}"/>
          </ac:spMkLst>
        </pc:spChg>
        <pc:spChg chg="mod">
          <ac:chgData name="Reuben Issac Jacob" userId="a26d73c9-1689-41bd-af50-ef825e838770" providerId="ADAL" clId="{F452BC9E-5BE8-4A0B-9F00-66A7219A31DE}" dt="2022-06-29T06:53:55.929" v="1352" actId="1076"/>
          <ac:spMkLst>
            <pc:docMk/>
            <pc:sldMk cId="389114252" sldId="2147470202"/>
            <ac:spMk id="137" creationId="{5C2773BB-35AF-423A-841E-D32081772BB6}"/>
          </ac:spMkLst>
        </pc:spChg>
        <pc:spChg chg="mod">
          <ac:chgData name="Reuben Issac Jacob" userId="a26d73c9-1689-41bd-af50-ef825e838770" providerId="ADAL" clId="{F452BC9E-5BE8-4A0B-9F00-66A7219A31DE}" dt="2022-06-29T06:53:55.929" v="1352" actId="1076"/>
          <ac:spMkLst>
            <pc:docMk/>
            <pc:sldMk cId="389114252" sldId="2147470202"/>
            <ac:spMk id="138" creationId="{30EBEF5F-BDBA-B79B-F811-D40976D6AAD3}"/>
          </ac:spMkLst>
        </pc:spChg>
        <pc:spChg chg="mod">
          <ac:chgData name="Reuben Issac Jacob" userId="a26d73c9-1689-41bd-af50-ef825e838770" providerId="ADAL" clId="{F452BC9E-5BE8-4A0B-9F00-66A7219A31DE}" dt="2022-06-29T06:53:55.929" v="1352" actId="1076"/>
          <ac:spMkLst>
            <pc:docMk/>
            <pc:sldMk cId="389114252" sldId="2147470202"/>
            <ac:spMk id="139" creationId="{12EF1A0A-75A1-6F3F-9B37-14082230EA93}"/>
          </ac:spMkLst>
        </pc:spChg>
        <pc:spChg chg="mod">
          <ac:chgData name="Reuben Issac Jacob" userId="a26d73c9-1689-41bd-af50-ef825e838770" providerId="ADAL" clId="{F452BC9E-5BE8-4A0B-9F00-66A7219A31DE}" dt="2022-06-29T06:53:55.929" v="1352" actId="1076"/>
          <ac:spMkLst>
            <pc:docMk/>
            <pc:sldMk cId="389114252" sldId="2147470202"/>
            <ac:spMk id="140" creationId="{97FF003D-C37A-21E8-4E48-662CE22B96D1}"/>
          </ac:spMkLst>
        </pc:spChg>
        <pc:spChg chg="mod">
          <ac:chgData name="Reuben Issac Jacob" userId="a26d73c9-1689-41bd-af50-ef825e838770" providerId="ADAL" clId="{F452BC9E-5BE8-4A0B-9F00-66A7219A31DE}" dt="2022-06-29T06:53:55.929" v="1352" actId="1076"/>
          <ac:spMkLst>
            <pc:docMk/>
            <pc:sldMk cId="389114252" sldId="2147470202"/>
            <ac:spMk id="141" creationId="{E0E9FDCB-F9A3-490C-E4E7-B459A97BFCEE}"/>
          </ac:spMkLst>
        </pc:spChg>
        <pc:spChg chg="mod">
          <ac:chgData name="Reuben Issac Jacob" userId="a26d73c9-1689-41bd-af50-ef825e838770" providerId="ADAL" clId="{F452BC9E-5BE8-4A0B-9F00-66A7219A31DE}" dt="2022-06-29T06:53:55.929" v="1352" actId="1076"/>
          <ac:spMkLst>
            <pc:docMk/>
            <pc:sldMk cId="389114252" sldId="2147470202"/>
            <ac:spMk id="142" creationId="{B0628DA4-3734-B586-0722-AD19E958B0A5}"/>
          </ac:spMkLst>
        </pc:spChg>
        <pc:spChg chg="mod">
          <ac:chgData name="Reuben Issac Jacob" userId="a26d73c9-1689-41bd-af50-ef825e838770" providerId="ADAL" clId="{F452BC9E-5BE8-4A0B-9F00-66A7219A31DE}" dt="2022-06-29T06:53:55.929" v="1352" actId="1076"/>
          <ac:spMkLst>
            <pc:docMk/>
            <pc:sldMk cId="389114252" sldId="2147470202"/>
            <ac:spMk id="143" creationId="{49F8D394-62FB-3D85-934A-DC12C6023011}"/>
          </ac:spMkLst>
        </pc:spChg>
        <pc:spChg chg="mod">
          <ac:chgData name="Reuben Issac Jacob" userId="a26d73c9-1689-41bd-af50-ef825e838770" providerId="ADAL" clId="{F452BC9E-5BE8-4A0B-9F00-66A7219A31DE}" dt="2022-06-29T06:53:55.929" v="1352" actId="1076"/>
          <ac:spMkLst>
            <pc:docMk/>
            <pc:sldMk cId="389114252" sldId="2147470202"/>
            <ac:spMk id="144" creationId="{4C17A53C-98D5-18BE-52E7-4BBCBEC13408}"/>
          </ac:spMkLst>
        </pc:spChg>
        <pc:spChg chg="mod">
          <ac:chgData name="Reuben Issac Jacob" userId="a26d73c9-1689-41bd-af50-ef825e838770" providerId="ADAL" clId="{F452BC9E-5BE8-4A0B-9F00-66A7219A31DE}" dt="2022-06-29T06:53:55.929" v="1352" actId="1076"/>
          <ac:spMkLst>
            <pc:docMk/>
            <pc:sldMk cId="389114252" sldId="2147470202"/>
            <ac:spMk id="146" creationId="{C21826EB-67B7-BF9E-0A56-2048A735F26B}"/>
          </ac:spMkLst>
        </pc:spChg>
        <pc:spChg chg="mod">
          <ac:chgData name="Reuben Issac Jacob" userId="a26d73c9-1689-41bd-af50-ef825e838770" providerId="ADAL" clId="{F452BC9E-5BE8-4A0B-9F00-66A7219A31DE}" dt="2022-06-29T06:53:55.929" v="1352" actId="1076"/>
          <ac:spMkLst>
            <pc:docMk/>
            <pc:sldMk cId="389114252" sldId="2147470202"/>
            <ac:spMk id="148" creationId="{99E276BD-3EE7-7804-9CBF-D8AEC10DFF3B}"/>
          </ac:spMkLst>
        </pc:spChg>
        <pc:spChg chg="mod">
          <ac:chgData name="Reuben Issac Jacob" userId="a26d73c9-1689-41bd-af50-ef825e838770" providerId="ADAL" clId="{F452BC9E-5BE8-4A0B-9F00-66A7219A31DE}" dt="2022-06-29T06:53:55.929" v="1352" actId="1076"/>
          <ac:spMkLst>
            <pc:docMk/>
            <pc:sldMk cId="389114252" sldId="2147470202"/>
            <ac:spMk id="149" creationId="{E1708C69-2142-EE64-3D7F-0D13090BC0B2}"/>
          </ac:spMkLst>
        </pc:spChg>
        <pc:spChg chg="mod">
          <ac:chgData name="Reuben Issac Jacob" userId="a26d73c9-1689-41bd-af50-ef825e838770" providerId="ADAL" clId="{F452BC9E-5BE8-4A0B-9F00-66A7219A31DE}" dt="2022-06-29T06:53:55.929" v="1352" actId="1076"/>
          <ac:spMkLst>
            <pc:docMk/>
            <pc:sldMk cId="389114252" sldId="2147470202"/>
            <ac:spMk id="150" creationId="{CA9B6659-420A-B3D9-6E63-BC82CE9D5A05}"/>
          </ac:spMkLst>
        </pc:spChg>
        <pc:spChg chg="mod">
          <ac:chgData name="Reuben Issac Jacob" userId="a26d73c9-1689-41bd-af50-ef825e838770" providerId="ADAL" clId="{F452BC9E-5BE8-4A0B-9F00-66A7219A31DE}" dt="2022-06-29T06:53:55.929" v="1352" actId="1076"/>
          <ac:spMkLst>
            <pc:docMk/>
            <pc:sldMk cId="389114252" sldId="2147470202"/>
            <ac:spMk id="151" creationId="{4AFAA090-97E3-1036-ED3A-6C2CFD1A3F99}"/>
          </ac:spMkLst>
        </pc:spChg>
        <pc:spChg chg="mod">
          <ac:chgData name="Reuben Issac Jacob" userId="a26d73c9-1689-41bd-af50-ef825e838770" providerId="ADAL" clId="{F452BC9E-5BE8-4A0B-9F00-66A7219A31DE}" dt="2022-06-29T06:53:55.929" v="1352" actId="1076"/>
          <ac:spMkLst>
            <pc:docMk/>
            <pc:sldMk cId="389114252" sldId="2147470202"/>
            <ac:spMk id="152" creationId="{664999B8-8047-9218-EF94-43A4130222F6}"/>
          </ac:spMkLst>
        </pc:spChg>
        <pc:spChg chg="mod">
          <ac:chgData name="Reuben Issac Jacob" userId="a26d73c9-1689-41bd-af50-ef825e838770" providerId="ADAL" clId="{F452BC9E-5BE8-4A0B-9F00-66A7219A31DE}" dt="2022-06-29T06:53:55.929" v="1352" actId="1076"/>
          <ac:spMkLst>
            <pc:docMk/>
            <pc:sldMk cId="389114252" sldId="2147470202"/>
            <ac:spMk id="153" creationId="{33E87995-D1D0-DFBC-B29A-8B7B79950750}"/>
          </ac:spMkLst>
        </pc:spChg>
        <pc:spChg chg="mod">
          <ac:chgData name="Reuben Issac Jacob" userId="a26d73c9-1689-41bd-af50-ef825e838770" providerId="ADAL" clId="{F452BC9E-5BE8-4A0B-9F00-66A7219A31DE}" dt="2022-06-29T06:53:55.929" v="1352" actId="1076"/>
          <ac:spMkLst>
            <pc:docMk/>
            <pc:sldMk cId="389114252" sldId="2147470202"/>
            <ac:spMk id="154" creationId="{12580674-4CF5-AA40-9AC8-8EDE194BC178}"/>
          </ac:spMkLst>
        </pc:spChg>
        <pc:spChg chg="mod">
          <ac:chgData name="Reuben Issac Jacob" userId="a26d73c9-1689-41bd-af50-ef825e838770" providerId="ADAL" clId="{F452BC9E-5BE8-4A0B-9F00-66A7219A31DE}" dt="2022-06-29T06:53:55.929" v="1352" actId="1076"/>
          <ac:spMkLst>
            <pc:docMk/>
            <pc:sldMk cId="389114252" sldId="2147470202"/>
            <ac:spMk id="155" creationId="{9206E5AF-39F4-3D2B-DFEB-4DED21D5A121}"/>
          </ac:spMkLst>
        </pc:spChg>
        <pc:spChg chg="mod">
          <ac:chgData name="Reuben Issac Jacob" userId="a26d73c9-1689-41bd-af50-ef825e838770" providerId="ADAL" clId="{F452BC9E-5BE8-4A0B-9F00-66A7219A31DE}" dt="2022-06-29T06:53:55.929" v="1352" actId="1076"/>
          <ac:spMkLst>
            <pc:docMk/>
            <pc:sldMk cId="389114252" sldId="2147470202"/>
            <ac:spMk id="156" creationId="{940AEE0B-EE81-9549-94CE-DCB28B37EE1F}"/>
          </ac:spMkLst>
        </pc:spChg>
        <pc:spChg chg="mod">
          <ac:chgData name="Reuben Issac Jacob" userId="a26d73c9-1689-41bd-af50-ef825e838770" providerId="ADAL" clId="{F452BC9E-5BE8-4A0B-9F00-66A7219A31DE}" dt="2022-06-29T06:53:55.929" v="1352" actId="1076"/>
          <ac:spMkLst>
            <pc:docMk/>
            <pc:sldMk cId="389114252" sldId="2147470202"/>
            <ac:spMk id="157" creationId="{A6A893B7-B153-1C45-89C3-55EBC0202B38}"/>
          </ac:spMkLst>
        </pc:spChg>
        <pc:spChg chg="mod">
          <ac:chgData name="Reuben Issac Jacob" userId="a26d73c9-1689-41bd-af50-ef825e838770" providerId="ADAL" clId="{F452BC9E-5BE8-4A0B-9F00-66A7219A31DE}" dt="2022-06-29T06:53:55.929" v="1352" actId="1076"/>
          <ac:spMkLst>
            <pc:docMk/>
            <pc:sldMk cId="389114252" sldId="2147470202"/>
            <ac:spMk id="158" creationId="{DC468CB9-DBF4-33C2-1D9C-14F52147C72C}"/>
          </ac:spMkLst>
        </pc:spChg>
        <pc:spChg chg="mod">
          <ac:chgData name="Reuben Issac Jacob" userId="a26d73c9-1689-41bd-af50-ef825e838770" providerId="ADAL" clId="{F452BC9E-5BE8-4A0B-9F00-66A7219A31DE}" dt="2022-06-29T06:53:55.929" v="1352" actId="1076"/>
          <ac:spMkLst>
            <pc:docMk/>
            <pc:sldMk cId="389114252" sldId="2147470202"/>
            <ac:spMk id="159" creationId="{93CF3EA2-FF6C-1CCC-6EFF-8C48723BC14F}"/>
          </ac:spMkLst>
        </pc:spChg>
        <pc:spChg chg="mod">
          <ac:chgData name="Reuben Issac Jacob" userId="a26d73c9-1689-41bd-af50-ef825e838770" providerId="ADAL" clId="{F452BC9E-5BE8-4A0B-9F00-66A7219A31DE}" dt="2022-06-29T06:53:55.929" v="1352" actId="1076"/>
          <ac:spMkLst>
            <pc:docMk/>
            <pc:sldMk cId="389114252" sldId="2147470202"/>
            <ac:spMk id="160" creationId="{ED8A2CAE-CF89-D20E-85C1-96A8A501B61E}"/>
          </ac:spMkLst>
        </pc:spChg>
        <pc:spChg chg="mod">
          <ac:chgData name="Reuben Issac Jacob" userId="a26d73c9-1689-41bd-af50-ef825e838770" providerId="ADAL" clId="{F452BC9E-5BE8-4A0B-9F00-66A7219A31DE}" dt="2022-06-29T06:53:55.929" v="1352" actId="1076"/>
          <ac:spMkLst>
            <pc:docMk/>
            <pc:sldMk cId="389114252" sldId="2147470202"/>
            <ac:spMk id="161" creationId="{54BB6923-C08C-13B8-0074-05ECBDE8FD74}"/>
          </ac:spMkLst>
        </pc:spChg>
        <pc:spChg chg="mod">
          <ac:chgData name="Reuben Issac Jacob" userId="a26d73c9-1689-41bd-af50-ef825e838770" providerId="ADAL" clId="{F452BC9E-5BE8-4A0B-9F00-66A7219A31DE}" dt="2022-06-29T06:53:55.929" v="1352" actId="1076"/>
          <ac:spMkLst>
            <pc:docMk/>
            <pc:sldMk cId="389114252" sldId="2147470202"/>
            <ac:spMk id="162" creationId="{C929A528-96D0-9EB6-255D-51392BC55660}"/>
          </ac:spMkLst>
        </pc:spChg>
        <pc:spChg chg="mod">
          <ac:chgData name="Reuben Issac Jacob" userId="a26d73c9-1689-41bd-af50-ef825e838770" providerId="ADAL" clId="{F452BC9E-5BE8-4A0B-9F00-66A7219A31DE}" dt="2022-06-29T06:53:55.929" v="1352" actId="1076"/>
          <ac:spMkLst>
            <pc:docMk/>
            <pc:sldMk cId="389114252" sldId="2147470202"/>
            <ac:spMk id="164" creationId="{156375F4-A34E-6506-69F5-545717BC5AD3}"/>
          </ac:spMkLst>
        </pc:spChg>
        <pc:spChg chg="mod">
          <ac:chgData name="Reuben Issac Jacob" userId="a26d73c9-1689-41bd-af50-ef825e838770" providerId="ADAL" clId="{F452BC9E-5BE8-4A0B-9F00-66A7219A31DE}" dt="2022-06-29T06:53:55.929" v="1352" actId="1076"/>
          <ac:spMkLst>
            <pc:docMk/>
            <pc:sldMk cId="389114252" sldId="2147470202"/>
            <ac:spMk id="166" creationId="{371001CC-8B31-21DF-BD0F-533A6E6EE748}"/>
          </ac:spMkLst>
        </pc:spChg>
        <pc:spChg chg="mod">
          <ac:chgData name="Reuben Issac Jacob" userId="a26d73c9-1689-41bd-af50-ef825e838770" providerId="ADAL" clId="{F452BC9E-5BE8-4A0B-9F00-66A7219A31DE}" dt="2022-06-29T06:53:55.929" v="1352" actId="1076"/>
          <ac:spMkLst>
            <pc:docMk/>
            <pc:sldMk cId="389114252" sldId="2147470202"/>
            <ac:spMk id="167" creationId="{78A42072-8113-FD93-3E3D-2717AC529F50}"/>
          </ac:spMkLst>
        </pc:spChg>
        <pc:spChg chg="mod">
          <ac:chgData name="Reuben Issac Jacob" userId="a26d73c9-1689-41bd-af50-ef825e838770" providerId="ADAL" clId="{F452BC9E-5BE8-4A0B-9F00-66A7219A31DE}" dt="2022-06-29T06:53:55.929" v="1352" actId="1076"/>
          <ac:spMkLst>
            <pc:docMk/>
            <pc:sldMk cId="389114252" sldId="2147470202"/>
            <ac:spMk id="168" creationId="{EC1A5C31-A021-FB36-E7F1-24BFF46C1EC1}"/>
          </ac:spMkLst>
        </pc:spChg>
        <pc:spChg chg="mod">
          <ac:chgData name="Reuben Issac Jacob" userId="a26d73c9-1689-41bd-af50-ef825e838770" providerId="ADAL" clId="{F452BC9E-5BE8-4A0B-9F00-66A7219A31DE}" dt="2022-06-29T06:53:55.929" v="1352" actId="1076"/>
          <ac:spMkLst>
            <pc:docMk/>
            <pc:sldMk cId="389114252" sldId="2147470202"/>
            <ac:spMk id="169" creationId="{CAE30F9D-E9DD-22DA-0E5D-51D8D1837C5B}"/>
          </ac:spMkLst>
        </pc:spChg>
        <pc:spChg chg="mod">
          <ac:chgData name="Reuben Issac Jacob" userId="a26d73c9-1689-41bd-af50-ef825e838770" providerId="ADAL" clId="{F452BC9E-5BE8-4A0B-9F00-66A7219A31DE}" dt="2022-06-29T06:53:55.929" v="1352" actId="1076"/>
          <ac:spMkLst>
            <pc:docMk/>
            <pc:sldMk cId="389114252" sldId="2147470202"/>
            <ac:spMk id="170" creationId="{5C425915-7D62-9FC7-CB8C-8A8A3BAF3B7B}"/>
          </ac:spMkLst>
        </pc:spChg>
        <pc:spChg chg="mod">
          <ac:chgData name="Reuben Issac Jacob" userId="a26d73c9-1689-41bd-af50-ef825e838770" providerId="ADAL" clId="{F452BC9E-5BE8-4A0B-9F00-66A7219A31DE}" dt="2022-06-29T06:53:55.929" v="1352" actId="1076"/>
          <ac:spMkLst>
            <pc:docMk/>
            <pc:sldMk cId="389114252" sldId="2147470202"/>
            <ac:spMk id="171" creationId="{5E5736CA-5C06-775B-7068-45506965DE4C}"/>
          </ac:spMkLst>
        </pc:spChg>
        <pc:spChg chg="mod">
          <ac:chgData name="Reuben Issac Jacob" userId="a26d73c9-1689-41bd-af50-ef825e838770" providerId="ADAL" clId="{F452BC9E-5BE8-4A0B-9F00-66A7219A31DE}" dt="2022-06-29T06:53:55.929" v="1352" actId="1076"/>
          <ac:spMkLst>
            <pc:docMk/>
            <pc:sldMk cId="389114252" sldId="2147470202"/>
            <ac:spMk id="172" creationId="{0172FA4B-FCE8-D738-1382-6AC75B59229A}"/>
          </ac:spMkLst>
        </pc:spChg>
        <pc:spChg chg="mod">
          <ac:chgData name="Reuben Issac Jacob" userId="a26d73c9-1689-41bd-af50-ef825e838770" providerId="ADAL" clId="{F452BC9E-5BE8-4A0B-9F00-66A7219A31DE}" dt="2022-06-29T06:53:55.929" v="1352" actId="1076"/>
          <ac:spMkLst>
            <pc:docMk/>
            <pc:sldMk cId="389114252" sldId="2147470202"/>
            <ac:spMk id="173" creationId="{AB7137C9-2980-03B4-E657-69160AB69125}"/>
          </ac:spMkLst>
        </pc:spChg>
        <pc:spChg chg="mod">
          <ac:chgData name="Reuben Issac Jacob" userId="a26d73c9-1689-41bd-af50-ef825e838770" providerId="ADAL" clId="{F452BC9E-5BE8-4A0B-9F00-66A7219A31DE}" dt="2022-06-29T06:53:55.929" v="1352" actId="1076"/>
          <ac:spMkLst>
            <pc:docMk/>
            <pc:sldMk cId="389114252" sldId="2147470202"/>
            <ac:spMk id="174" creationId="{492E4F86-936A-382F-F665-C9445F8891AB}"/>
          </ac:spMkLst>
        </pc:spChg>
        <pc:spChg chg="mod">
          <ac:chgData name="Reuben Issac Jacob" userId="a26d73c9-1689-41bd-af50-ef825e838770" providerId="ADAL" clId="{F452BC9E-5BE8-4A0B-9F00-66A7219A31DE}" dt="2022-06-29T06:53:55.929" v="1352" actId="1076"/>
          <ac:spMkLst>
            <pc:docMk/>
            <pc:sldMk cId="389114252" sldId="2147470202"/>
            <ac:spMk id="175" creationId="{3F6D8762-5070-DF47-4ECB-614E98ADA042}"/>
          </ac:spMkLst>
        </pc:spChg>
        <pc:spChg chg="mod">
          <ac:chgData name="Reuben Issac Jacob" userId="a26d73c9-1689-41bd-af50-ef825e838770" providerId="ADAL" clId="{F452BC9E-5BE8-4A0B-9F00-66A7219A31DE}" dt="2022-06-29T06:53:55.929" v="1352" actId="1076"/>
          <ac:spMkLst>
            <pc:docMk/>
            <pc:sldMk cId="389114252" sldId="2147470202"/>
            <ac:spMk id="176" creationId="{06B15183-BF5B-5A7B-56CD-321FF5F992F4}"/>
          </ac:spMkLst>
        </pc:spChg>
        <pc:spChg chg="mod">
          <ac:chgData name="Reuben Issac Jacob" userId="a26d73c9-1689-41bd-af50-ef825e838770" providerId="ADAL" clId="{F452BC9E-5BE8-4A0B-9F00-66A7219A31DE}" dt="2022-06-29T06:53:55.929" v="1352" actId="1076"/>
          <ac:spMkLst>
            <pc:docMk/>
            <pc:sldMk cId="389114252" sldId="2147470202"/>
            <ac:spMk id="177" creationId="{424B6EF6-5B8A-4C90-DF45-4BD09F53FE0E}"/>
          </ac:spMkLst>
        </pc:spChg>
        <pc:spChg chg="mod">
          <ac:chgData name="Reuben Issac Jacob" userId="a26d73c9-1689-41bd-af50-ef825e838770" providerId="ADAL" clId="{F452BC9E-5BE8-4A0B-9F00-66A7219A31DE}" dt="2022-06-29T06:53:55.929" v="1352" actId="1076"/>
          <ac:spMkLst>
            <pc:docMk/>
            <pc:sldMk cId="389114252" sldId="2147470202"/>
            <ac:spMk id="178" creationId="{CF789C22-1130-7ACE-392B-0EFCC243E003}"/>
          </ac:spMkLst>
        </pc:spChg>
        <pc:spChg chg="mod">
          <ac:chgData name="Reuben Issac Jacob" userId="a26d73c9-1689-41bd-af50-ef825e838770" providerId="ADAL" clId="{F452BC9E-5BE8-4A0B-9F00-66A7219A31DE}" dt="2022-06-29T06:53:55.929" v="1352" actId="1076"/>
          <ac:spMkLst>
            <pc:docMk/>
            <pc:sldMk cId="389114252" sldId="2147470202"/>
            <ac:spMk id="179" creationId="{F492A0F1-AAAD-91B8-9909-20CCD08BC228}"/>
          </ac:spMkLst>
        </pc:spChg>
        <pc:spChg chg="mod">
          <ac:chgData name="Reuben Issac Jacob" userId="a26d73c9-1689-41bd-af50-ef825e838770" providerId="ADAL" clId="{F452BC9E-5BE8-4A0B-9F00-66A7219A31DE}" dt="2022-06-29T06:53:55.929" v="1352" actId="1076"/>
          <ac:spMkLst>
            <pc:docMk/>
            <pc:sldMk cId="389114252" sldId="2147470202"/>
            <ac:spMk id="180" creationId="{042ED91A-32C7-B43B-20DD-204796EA39F2}"/>
          </ac:spMkLst>
        </pc:spChg>
        <pc:spChg chg="mod">
          <ac:chgData name="Reuben Issac Jacob" userId="a26d73c9-1689-41bd-af50-ef825e838770" providerId="ADAL" clId="{F452BC9E-5BE8-4A0B-9F00-66A7219A31DE}" dt="2022-06-29T06:53:55.929" v="1352" actId="1076"/>
          <ac:spMkLst>
            <pc:docMk/>
            <pc:sldMk cId="389114252" sldId="2147470202"/>
            <ac:spMk id="182" creationId="{9D9791F1-2F38-C20B-E896-2229D5654F5A}"/>
          </ac:spMkLst>
        </pc:spChg>
        <pc:spChg chg="mod">
          <ac:chgData name="Reuben Issac Jacob" userId="a26d73c9-1689-41bd-af50-ef825e838770" providerId="ADAL" clId="{F452BC9E-5BE8-4A0B-9F00-66A7219A31DE}" dt="2022-06-29T06:53:55.929" v="1352" actId="1076"/>
          <ac:spMkLst>
            <pc:docMk/>
            <pc:sldMk cId="389114252" sldId="2147470202"/>
            <ac:spMk id="184" creationId="{0B96D67E-B1EF-80CE-EC3A-1770B07A67C1}"/>
          </ac:spMkLst>
        </pc:spChg>
        <pc:spChg chg="mod">
          <ac:chgData name="Reuben Issac Jacob" userId="a26d73c9-1689-41bd-af50-ef825e838770" providerId="ADAL" clId="{F452BC9E-5BE8-4A0B-9F00-66A7219A31DE}" dt="2022-06-29T06:53:55.929" v="1352" actId="1076"/>
          <ac:spMkLst>
            <pc:docMk/>
            <pc:sldMk cId="389114252" sldId="2147470202"/>
            <ac:spMk id="185" creationId="{D3F9BF4E-C908-741E-E464-991148224936}"/>
          </ac:spMkLst>
        </pc:spChg>
        <pc:spChg chg="mod">
          <ac:chgData name="Reuben Issac Jacob" userId="a26d73c9-1689-41bd-af50-ef825e838770" providerId="ADAL" clId="{F452BC9E-5BE8-4A0B-9F00-66A7219A31DE}" dt="2022-06-29T06:53:55.929" v="1352" actId="1076"/>
          <ac:spMkLst>
            <pc:docMk/>
            <pc:sldMk cId="389114252" sldId="2147470202"/>
            <ac:spMk id="186" creationId="{34B14B33-CE6E-D993-2421-E6ACFF2D74AC}"/>
          </ac:spMkLst>
        </pc:spChg>
        <pc:spChg chg="mod">
          <ac:chgData name="Reuben Issac Jacob" userId="a26d73c9-1689-41bd-af50-ef825e838770" providerId="ADAL" clId="{F452BC9E-5BE8-4A0B-9F00-66A7219A31DE}" dt="2022-06-29T06:53:55.929" v="1352" actId="1076"/>
          <ac:spMkLst>
            <pc:docMk/>
            <pc:sldMk cId="389114252" sldId="2147470202"/>
            <ac:spMk id="187" creationId="{F0C48488-0CE9-7547-88FC-69147480D968}"/>
          </ac:spMkLst>
        </pc:spChg>
        <pc:spChg chg="mod">
          <ac:chgData name="Reuben Issac Jacob" userId="a26d73c9-1689-41bd-af50-ef825e838770" providerId="ADAL" clId="{F452BC9E-5BE8-4A0B-9F00-66A7219A31DE}" dt="2022-06-29T06:53:55.929" v="1352" actId="1076"/>
          <ac:spMkLst>
            <pc:docMk/>
            <pc:sldMk cId="389114252" sldId="2147470202"/>
            <ac:spMk id="188" creationId="{35F478D6-6797-5CB7-0FEB-8860B321BF7F}"/>
          </ac:spMkLst>
        </pc:spChg>
        <pc:spChg chg="mod">
          <ac:chgData name="Reuben Issac Jacob" userId="a26d73c9-1689-41bd-af50-ef825e838770" providerId="ADAL" clId="{F452BC9E-5BE8-4A0B-9F00-66A7219A31DE}" dt="2022-06-29T06:53:55.929" v="1352" actId="1076"/>
          <ac:spMkLst>
            <pc:docMk/>
            <pc:sldMk cId="389114252" sldId="2147470202"/>
            <ac:spMk id="189" creationId="{5F0C67A3-424E-CC97-45AA-E924950FD08F}"/>
          </ac:spMkLst>
        </pc:spChg>
        <pc:spChg chg="mod">
          <ac:chgData name="Reuben Issac Jacob" userId="a26d73c9-1689-41bd-af50-ef825e838770" providerId="ADAL" clId="{F452BC9E-5BE8-4A0B-9F00-66A7219A31DE}" dt="2022-06-29T06:53:55.929" v="1352" actId="1076"/>
          <ac:spMkLst>
            <pc:docMk/>
            <pc:sldMk cId="389114252" sldId="2147470202"/>
            <ac:spMk id="190" creationId="{64DD2914-C90D-08BB-6BAC-9615F8B93D23}"/>
          </ac:spMkLst>
        </pc:spChg>
        <pc:spChg chg="mod">
          <ac:chgData name="Reuben Issac Jacob" userId="a26d73c9-1689-41bd-af50-ef825e838770" providerId="ADAL" clId="{F452BC9E-5BE8-4A0B-9F00-66A7219A31DE}" dt="2022-06-29T06:53:55.929" v="1352" actId="1076"/>
          <ac:spMkLst>
            <pc:docMk/>
            <pc:sldMk cId="389114252" sldId="2147470202"/>
            <ac:spMk id="191" creationId="{675891A5-9E8D-56E4-5B50-EA2F2970C507}"/>
          </ac:spMkLst>
        </pc:spChg>
        <pc:spChg chg="mod">
          <ac:chgData name="Reuben Issac Jacob" userId="a26d73c9-1689-41bd-af50-ef825e838770" providerId="ADAL" clId="{F452BC9E-5BE8-4A0B-9F00-66A7219A31DE}" dt="2022-06-29T06:53:55.929" v="1352" actId="1076"/>
          <ac:spMkLst>
            <pc:docMk/>
            <pc:sldMk cId="389114252" sldId="2147470202"/>
            <ac:spMk id="192" creationId="{0EB7AE5C-95BF-EE94-7B88-61271D629FF5}"/>
          </ac:spMkLst>
        </pc:spChg>
        <pc:spChg chg="mod">
          <ac:chgData name="Reuben Issac Jacob" userId="a26d73c9-1689-41bd-af50-ef825e838770" providerId="ADAL" clId="{F452BC9E-5BE8-4A0B-9F00-66A7219A31DE}" dt="2022-06-29T06:53:55.929" v="1352" actId="1076"/>
          <ac:spMkLst>
            <pc:docMk/>
            <pc:sldMk cId="389114252" sldId="2147470202"/>
            <ac:spMk id="193" creationId="{1B01BED4-2B9C-5653-7CE0-904ED9045D3F}"/>
          </ac:spMkLst>
        </pc:spChg>
        <pc:spChg chg="mod">
          <ac:chgData name="Reuben Issac Jacob" userId="a26d73c9-1689-41bd-af50-ef825e838770" providerId="ADAL" clId="{F452BC9E-5BE8-4A0B-9F00-66A7219A31DE}" dt="2022-06-29T06:53:55.929" v="1352" actId="1076"/>
          <ac:spMkLst>
            <pc:docMk/>
            <pc:sldMk cId="389114252" sldId="2147470202"/>
            <ac:spMk id="194" creationId="{CA638392-71D8-CEE6-AF7D-30E71D3A0E2A}"/>
          </ac:spMkLst>
        </pc:spChg>
        <pc:spChg chg="mod">
          <ac:chgData name="Reuben Issac Jacob" userId="a26d73c9-1689-41bd-af50-ef825e838770" providerId="ADAL" clId="{F452BC9E-5BE8-4A0B-9F00-66A7219A31DE}" dt="2022-06-29T06:53:55.929" v="1352" actId="1076"/>
          <ac:spMkLst>
            <pc:docMk/>
            <pc:sldMk cId="389114252" sldId="2147470202"/>
            <ac:spMk id="195" creationId="{207694AF-C06E-4DEF-4FC9-06ED4A357259}"/>
          </ac:spMkLst>
        </pc:spChg>
        <pc:spChg chg="mod">
          <ac:chgData name="Reuben Issac Jacob" userId="a26d73c9-1689-41bd-af50-ef825e838770" providerId="ADAL" clId="{F452BC9E-5BE8-4A0B-9F00-66A7219A31DE}" dt="2022-06-29T06:53:55.929" v="1352" actId="1076"/>
          <ac:spMkLst>
            <pc:docMk/>
            <pc:sldMk cId="389114252" sldId="2147470202"/>
            <ac:spMk id="196" creationId="{C03A800F-901A-B2BA-5A1C-02208015AD79}"/>
          </ac:spMkLst>
        </pc:spChg>
        <pc:spChg chg="mod">
          <ac:chgData name="Reuben Issac Jacob" userId="a26d73c9-1689-41bd-af50-ef825e838770" providerId="ADAL" clId="{F452BC9E-5BE8-4A0B-9F00-66A7219A31DE}" dt="2022-06-29T06:53:55.929" v="1352" actId="1076"/>
          <ac:spMkLst>
            <pc:docMk/>
            <pc:sldMk cId="389114252" sldId="2147470202"/>
            <ac:spMk id="197" creationId="{7BC249AB-F742-A733-08AF-C2016E8805F9}"/>
          </ac:spMkLst>
        </pc:spChg>
        <pc:spChg chg="mod">
          <ac:chgData name="Reuben Issac Jacob" userId="a26d73c9-1689-41bd-af50-ef825e838770" providerId="ADAL" clId="{F452BC9E-5BE8-4A0B-9F00-66A7219A31DE}" dt="2022-06-29T06:53:55.929" v="1352" actId="1076"/>
          <ac:spMkLst>
            <pc:docMk/>
            <pc:sldMk cId="389114252" sldId="2147470202"/>
            <ac:spMk id="198" creationId="{EECE1E26-9024-8B13-A361-3C0060BC5AED}"/>
          </ac:spMkLst>
        </pc:spChg>
        <pc:spChg chg="add del mod ord">
          <ac:chgData name="Reuben Issac Jacob" userId="a26d73c9-1689-41bd-af50-ef825e838770" providerId="ADAL" clId="{F452BC9E-5BE8-4A0B-9F00-66A7219A31DE}" dt="2022-06-29T06:01:58.990" v="1040"/>
          <ac:spMkLst>
            <pc:docMk/>
            <pc:sldMk cId="389114252" sldId="2147470202"/>
            <ac:spMk id="201" creationId="{B8843E54-0D49-9183-89AC-1600F456F218}"/>
          </ac:spMkLst>
        </pc:spChg>
        <pc:spChg chg="add mod topLvl">
          <ac:chgData name="Reuben Issac Jacob" userId="a26d73c9-1689-41bd-af50-ef825e838770" providerId="ADAL" clId="{F452BC9E-5BE8-4A0B-9F00-66A7219A31DE}" dt="2022-06-29T20:16:04.225" v="3599" actId="164"/>
          <ac:spMkLst>
            <pc:docMk/>
            <pc:sldMk cId="389114252" sldId="2147470202"/>
            <ac:spMk id="203" creationId="{0CE952C4-FAD7-E0E8-E3C1-BA62FA51EDB9}"/>
          </ac:spMkLst>
        </pc:spChg>
        <pc:spChg chg="add mod topLvl">
          <ac:chgData name="Reuben Issac Jacob" userId="a26d73c9-1689-41bd-af50-ef825e838770" providerId="ADAL" clId="{F452BC9E-5BE8-4A0B-9F00-66A7219A31DE}" dt="2022-06-29T20:16:04.225" v="3599" actId="164"/>
          <ac:spMkLst>
            <pc:docMk/>
            <pc:sldMk cId="389114252" sldId="2147470202"/>
            <ac:spMk id="204" creationId="{3F66D6F2-6D65-6445-08D9-DE63F47407A0}"/>
          </ac:spMkLst>
        </pc:spChg>
        <pc:spChg chg="add mod topLvl">
          <ac:chgData name="Reuben Issac Jacob" userId="a26d73c9-1689-41bd-af50-ef825e838770" providerId="ADAL" clId="{F452BC9E-5BE8-4A0B-9F00-66A7219A31DE}" dt="2022-06-29T20:16:04.225" v="3599" actId="164"/>
          <ac:spMkLst>
            <pc:docMk/>
            <pc:sldMk cId="389114252" sldId="2147470202"/>
            <ac:spMk id="205" creationId="{131F01F4-6B1F-1E8D-E293-8913AC654506}"/>
          </ac:spMkLst>
        </pc:spChg>
        <pc:spChg chg="add mod topLvl">
          <ac:chgData name="Reuben Issac Jacob" userId="a26d73c9-1689-41bd-af50-ef825e838770" providerId="ADAL" clId="{F452BC9E-5BE8-4A0B-9F00-66A7219A31DE}" dt="2022-06-29T20:16:04.225" v="3599" actId="164"/>
          <ac:spMkLst>
            <pc:docMk/>
            <pc:sldMk cId="389114252" sldId="2147470202"/>
            <ac:spMk id="206" creationId="{7A93DCA1-0A0D-45BF-4171-FA2BEEF1391A}"/>
          </ac:spMkLst>
        </pc:spChg>
        <pc:spChg chg="add mod topLvl">
          <ac:chgData name="Reuben Issac Jacob" userId="a26d73c9-1689-41bd-af50-ef825e838770" providerId="ADAL" clId="{F452BC9E-5BE8-4A0B-9F00-66A7219A31DE}" dt="2022-06-29T20:16:04.225" v="3599" actId="164"/>
          <ac:spMkLst>
            <pc:docMk/>
            <pc:sldMk cId="389114252" sldId="2147470202"/>
            <ac:spMk id="207" creationId="{B181EDAC-66B1-3206-CD71-7776A2C1E0ED}"/>
          </ac:spMkLst>
        </pc:spChg>
        <pc:spChg chg="add mod topLvl">
          <ac:chgData name="Reuben Issac Jacob" userId="a26d73c9-1689-41bd-af50-ef825e838770" providerId="ADAL" clId="{F452BC9E-5BE8-4A0B-9F00-66A7219A31DE}" dt="2022-06-29T20:16:04.225" v="3599" actId="164"/>
          <ac:spMkLst>
            <pc:docMk/>
            <pc:sldMk cId="389114252" sldId="2147470202"/>
            <ac:spMk id="208" creationId="{F3741C3A-5991-3D86-8C33-4952E4E4A0A9}"/>
          </ac:spMkLst>
        </pc:spChg>
        <pc:spChg chg="add mod topLvl">
          <ac:chgData name="Reuben Issac Jacob" userId="a26d73c9-1689-41bd-af50-ef825e838770" providerId="ADAL" clId="{F452BC9E-5BE8-4A0B-9F00-66A7219A31DE}" dt="2022-06-29T20:16:04.225" v="3599" actId="164"/>
          <ac:spMkLst>
            <pc:docMk/>
            <pc:sldMk cId="389114252" sldId="2147470202"/>
            <ac:spMk id="209" creationId="{4A596F45-D6F7-3F51-A90A-6302A1E33FBF}"/>
          </ac:spMkLst>
        </pc:spChg>
        <pc:spChg chg="add mod">
          <ac:chgData name="Reuben Issac Jacob" userId="a26d73c9-1689-41bd-af50-ef825e838770" providerId="ADAL" clId="{F452BC9E-5BE8-4A0B-9F00-66A7219A31DE}" dt="2022-06-29T20:16:04.225" v="3599" actId="164"/>
          <ac:spMkLst>
            <pc:docMk/>
            <pc:sldMk cId="389114252" sldId="2147470202"/>
            <ac:spMk id="227" creationId="{31F441B1-31A9-B8D1-EB86-0F15F07919BD}"/>
          </ac:spMkLst>
        </pc:spChg>
        <pc:spChg chg="add mod">
          <ac:chgData name="Reuben Issac Jacob" userId="a26d73c9-1689-41bd-af50-ef825e838770" providerId="ADAL" clId="{F452BC9E-5BE8-4A0B-9F00-66A7219A31DE}" dt="2022-06-29T20:16:04.225" v="3599" actId="164"/>
          <ac:spMkLst>
            <pc:docMk/>
            <pc:sldMk cId="389114252" sldId="2147470202"/>
            <ac:spMk id="228" creationId="{2AE5049C-9EBB-DB4A-2382-EC7D4CA0DA7C}"/>
          </ac:spMkLst>
        </pc:spChg>
        <pc:spChg chg="add mod">
          <ac:chgData name="Reuben Issac Jacob" userId="a26d73c9-1689-41bd-af50-ef825e838770" providerId="ADAL" clId="{F452BC9E-5BE8-4A0B-9F00-66A7219A31DE}" dt="2022-06-29T20:16:04.225" v="3599" actId="164"/>
          <ac:spMkLst>
            <pc:docMk/>
            <pc:sldMk cId="389114252" sldId="2147470202"/>
            <ac:spMk id="229" creationId="{E4FF6337-D726-31E5-2666-204387364AF8}"/>
          </ac:spMkLst>
        </pc:spChg>
        <pc:spChg chg="add mod">
          <ac:chgData name="Reuben Issac Jacob" userId="a26d73c9-1689-41bd-af50-ef825e838770" providerId="ADAL" clId="{F452BC9E-5BE8-4A0B-9F00-66A7219A31DE}" dt="2022-06-29T20:16:04.225" v="3599" actId="164"/>
          <ac:spMkLst>
            <pc:docMk/>
            <pc:sldMk cId="389114252" sldId="2147470202"/>
            <ac:spMk id="295" creationId="{5EAB2EC2-1948-6104-818F-65BED6BF36C6}"/>
          </ac:spMkLst>
        </pc:spChg>
        <pc:spChg chg="add mod">
          <ac:chgData name="Reuben Issac Jacob" userId="a26d73c9-1689-41bd-af50-ef825e838770" providerId="ADAL" clId="{F452BC9E-5BE8-4A0B-9F00-66A7219A31DE}" dt="2022-06-29T20:16:04.225" v="3599" actId="164"/>
          <ac:spMkLst>
            <pc:docMk/>
            <pc:sldMk cId="389114252" sldId="2147470202"/>
            <ac:spMk id="296" creationId="{90066935-F5A0-79A1-D221-3075EA521042}"/>
          </ac:spMkLst>
        </pc:spChg>
        <pc:spChg chg="add mod">
          <ac:chgData name="Reuben Issac Jacob" userId="a26d73c9-1689-41bd-af50-ef825e838770" providerId="ADAL" clId="{F452BC9E-5BE8-4A0B-9F00-66A7219A31DE}" dt="2022-06-29T20:16:04.225" v="3599" actId="164"/>
          <ac:spMkLst>
            <pc:docMk/>
            <pc:sldMk cId="389114252" sldId="2147470202"/>
            <ac:spMk id="297" creationId="{7BE23766-8B1E-6BFD-251E-603DB11FC489}"/>
          </ac:spMkLst>
        </pc:spChg>
        <pc:spChg chg="add mod">
          <ac:chgData name="Reuben Issac Jacob" userId="a26d73c9-1689-41bd-af50-ef825e838770" providerId="ADAL" clId="{F452BC9E-5BE8-4A0B-9F00-66A7219A31DE}" dt="2022-06-29T20:16:04.225" v="3599" actId="164"/>
          <ac:spMkLst>
            <pc:docMk/>
            <pc:sldMk cId="389114252" sldId="2147470202"/>
            <ac:spMk id="298" creationId="{07960FB7-2584-E707-EAAD-B44AF1605AE2}"/>
          </ac:spMkLst>
        </pc:spChg>
        <pc:spChg chg="add mod">
          <ac:chgData name="Reuben Issac Jacob" userId="a26d73c9-1689-41bd-af50-ef825e838770" providerId="ADAL" clId="{F452BC9E-5BE8-4A0B-9F00-66A7219A31DE}" dt="2022-06-29T20:16:04.225" v="3599" actId="164"/>
          <ac:spMkLst>
            <pc:docMk/>
            <pc:sldMk cId="389114252" sldId="2147470202"/>
            <ac:spMk id="299" creationId="{84AC7A42-5464-7C58-FE8D-B8D43632F447}"/>
          </ac:spMkLst>
        </pc:spChg>
        <pc:spChg chg="add mod">
          <ac:chgData name="Reuben Issac Jacob" userId="a26d73c9-1689-41bd-af50-ef825e838770" providerId="ADAL" clId="{F452BC9E-5BE8-4A0B-9F00-66A7219A31DE}" dt="2022-06-29T20:16:04.225" v="3599" actId="164"/>
          <ac:spMkLst>
            <pc:docMk/>
            <pc:sldMk cId="389114252" sldId="2147470202"/>
            <ac:spMk id="300" creationId="{A1FDE3C1-9768-776F-D64B-B0A705631195}"/>
          </ac:spMkLst>
        </pc:spChg>
        <pc:spChg chg="add mod">
          <ac:chgData name="Reuben Issac Jacob" userId="a26d73c9-1689-41bd-af50-ef825e838770" providerId="ADAL" clId="{F452BC9E-5BE8-4A0B-9F00-66A7219A31DE}" dt="2022-06-29T20:16:04.225" v="3599" actId="164"/>
          <ac:spMkLst>
            <pc:docMk/>
            <pc:sldMk cId="389114252" sldId="2147470202"/>
            <ac:spMk id="301" creationId="{82FDE0C5-4874-EB27-5E74-518129D16C83}"/>
          </ac:spMkLst>
        </pc:spChg>
        <pc:spChg chg="add mod">
          <ac:chgData name="Reuben Issac Jacob" userId="a26d73c9-1689-41bd-af50-ef825e838770" providerId="ADAL" clId="{F452BC9E-5BE8-4A0B-9F00-66A7219A31DE}" dt="2022-06-29T20:16:04.225" v="3599" actId="164"/>
          <ac:spMkLst>
            <pc:docMk/>
            <pc:sldMk cId="389114252" sldId="2147470202"/>
            <ac:spMk id="302" creationId="{75A9C67A-3154-750E-1267-64455A47FCA7}"/>
          </ac:spMkLst>
        </pc:spChg>
        <pc:spChg chg="add mod">
          <ac:chgData name="Reuben Issac Jacob" userId="a26d73c9-1689-41bd-af50-ef825e838770" providerId="ADAL" clId="{F452BC9E-5BE8-4A0B-9F00-66A7219A31DE}" dt="2022-06-29T20:16:04.225" v="3599" actId="164"/>
          <ac:spMkLst>
            <pc:docMk/>
            <pc:sldMk cId="389114252" sldId="2147470202"/>
            <ac:spMk id="303" creationId="{DB1905CB-A1D3-CEDF-573D-91DC19DE29F5}"/>
          </ac:spMkLst>
        </pc:spChg>
        <pc:spChg chg="add del mod">
          <ac:chgData name="Reuben Issac Jacob" userId="a26d73c9-1689-41bd-af50-ef825e838770" providerId="ADAL" clId="{F452BC9E-5BE8-4A0B-9F00-66A7219A31DE}" dt="2022-06-29T06:52:53.427" v="1318"/>
          <ac:spMkLst>
            <pc:docMk/>
            <pc:sldMk cId="389114252" sldId="2147470202"/>
            <ac:spMk id="304" creationId="{8B832874-9ED8-B7BC-44EB-53C80C71B539}"/>
          </ac:spMkLst>
        </pc:spChg>
        <pc:spChg chg="add del mod">
          <ac:chgData name="Reuben Issac Jacob" userId="a26d73c9-1689-41bd-af50-ef825e838770" providerId="ADAL" clId="{F452BC9E-5BE8-4A0B-9F00-66A7219A31DE}" dt="2022-06-29T06:52:53.427" v="1318"/>
          <ac:spMkLst>
            <pc:docMk/>
            <pc:sldMk cId="389114252" sldId="2147470202"/>
            <ac:spMk id="305" creationId="{3DE7FD4C-E68F-9B3E-FFC4-F9CAC3F2A3BF}"/>
          </ac:spMkLst>
        </pc:spChg>
        <pc:spChg chg="add del mod">
          <ac:chgData name="Reuben Issac Jacob" userId="a26d73c9-1689-41bd-af50-ef825e838770" providerId="ADAL" clId="{F452BC9E-5BE8-4A0B-9F00-66A7219A31DE}" dt="2022-06-29T06:52:53.427" v="1318"/>
          <ac:spMkLst>
            <pc:docMk/>
            <pc:sldMk cId="389114252" sldId="2147470202"/>
            <ac:spMk id="306" creationId="{FCDF8E67-F26E-2AAF-F6B4-952C4A2FDDB3}"/>
          </ac:spMkLst>
        </pc:spChg>
        <pc:spChg chg="add del mod">
          <ac:chgData name="Reuben Issac Jacob" userId="a26d73c9-1689-41bd-af50-ef825e838770" providerId="ADAL" clId="{F452BC9E-5BE8-4A0B-9F00-66A7219A31DE}" dt="2022-06-29T06:52:53.427" v="1318"/>
          <ac:spMkLst>
            <pc:docMk/>
            <pc:sldMk cId="389114252" sldId="2147470202"/>
            <ac:spMk id="307" creationId="{E9EA892E-A176-418F-CF3D-21C0B81647D5}"/>
          </ac:spMkLst>
        </pc:spChg>
        <pc:spChg chg="add del mod">
          <ac:chgData name="Reuben Issac Jacob" userId="a26d73c9-1689-41bd-af50-ef825e838770" providerId="ADAL" clId="{F452BC9E-5BE8-4A0B-9F00-66A7219A31DE}" dt="2022-06-29T06:53:02.813" v="1321" actId="478"/>
          <ac:spMkLst>
            <pc:docMk/>
            <pc:sldMk cId="389114252" sldId="2147470202"/>
            <ac:spMk id="308" creationId="{30CBF5AF-63CF-B951-3320-96D2F4408353}"/>
          </ac:spMkLst>
        </pc:spChg>
        <pc:spChg chg="add del mod">
          <ac:chgData name="Reuben Issac Jacob" userId="a26d73c9-1689-41bd-af50-ef825e838770" providerId="ADAL" clId="{F452BC9E-5BE8-4A0B-9F00-66A7219A31DE}" dt="2022-06-29T06:53:02.813" v="1321" actId="478"/>
          <ac:spMkLst>
            <pc:docMk/>
            <pc:sldMk cId="389114252" sldId="2147470202"/>
            <ac:spMk id="309" creationId="{5AA69BAB-62F3-C536-A811-B4C3FA37F653}"/>
          </ac:spMkLst>
        </pc:spChg>
        <pc:spChg chg="add del mod">
          <ac:chgData name="Reuben Issac Jacob" userId="a26d73c9-1689-41bd-af50-ef825e838770" providerId="ADAL" clId="{F452BC9E-5BE8-4A0B-9F00-66A7219A31DE}" dt="2022-06-29T06:53:08.318" v="1322" actId="21"/>
          <ac:spMkLst>
            <pc:docMk/>
            <pc:sldMk cId="389114252" sldId="2147470202"/>
            <ac:spMk id="310" creationId="{9BA2D44F-5AFF-3011-937D-E51AAF4C5189}"/>
          </ac:spMkLst>
        </pc:spChg>
        <pc:spChg chg="add del mod">
          <ac:chgData name="Reuben Issac Jacob" userId="a26d73c9-1689-41bd-af50-ef825e838770" providerId="ADAL" clId="{F452BC9E-5BE8-4A0B-9F00-66A7219A31DE}" dt="2022-06-29T06:53:02.813" v="1321" actId="478"/>
          <ac:spMkLst>
            <pc:docMk/>
            <pc:sldMk cId="389114252" sldId="2147470202"/>
            <ac:spMk id="311" creationId="{29F1C058-88F6-E037-CCA7-D85762E5CBCF}"/>
          </ac:spMkLst>
        </pc:spChg>
        <pc:spChg chg="add mod">
          <ac:chgData name="Reuben Issac Jacob" userId="a26d73c9-1689-41bd-af50-ef825e838770" providerId="ADAL" clId="{F452BC9E-5BE8-4A0B-9F00-66A7219A31DE}" dt="2022-06-29T20:16:04.225" v="3599" actId="164"/>
          <ac:spMkLst>
            <pc:docMk/>
            <pc:sldMk cId="389114252" sldId="2147470202"/>
            <ac:spMk id="312" creationId="{9154A681-9EBC-2661-5B53-63A8F88E9775}"/>
          </ac:spMkLst>
        </pc:spChg>
        <pc:spChg chg="add mod ord">
          <ac:chgData name="Reuben Issac Jacob" userId="a26d73c9-1689-41bd-af50-ef825e838770" providerId="ADAL" clId="{F452BC9E-5BE8-4A0B-9F00-66A7219A31DE}" dt="2022-06-29T06:54:26.076" v="1358" actId="207"/>
          <ac:spMkLst>
            <pc:docMk/>
            <pc:sldMk cId="389114252" sldId="2147470202"/>
            <ac:spMk id="313" creationId="{00370136-E93F-5714-4C87-436DB93B9D37}"/>
          </ac:spMkLst>
        </pc:spChg>
        <pc:spChg chg="add mod topLvl">
          <ac:chgData name="Reuben Issac Jacob" userId="a26d73c9-1689-41bd-af50-ef825e838770" providerId="ADAL" clId="{F452BC9E-5BE8-4A0B-9F00-66A7219A31DE}" dt="2022-06-29T20:16:04.225" v="3599" actId="164"/>
          <ac:spMkLst>
            <pc:docMk/>
            <pc:sldMk cId="389114252" sldId="2147470202"/>
            <ac:spMk id="1024" creationId="{ACF628C2-E9FC-DC6C-B10F-C7F5DE7CBCF6}"/>
          </ac:spMkLst>
        </pc:spChg>
        <pc:spChg chg="add mod topLvl">
          <ac:chgData name="Reuben Issac Jacob" userId="a26d73c9-1689-41bd-af50-ef825e838770" providerId="ADAL" clId="{F452BC9E-5BE8-4A0B-9F00-66A7219A31DE}" dt="2022-06-29T20:16:04.225" v="3599" actId="164"/>
          <ac:spMkLst>
            <pc:docMk/>
            <pc:sldMk cId="389114252" sldId="2147470202"/>
            <ac:spMk id="1025" creationId="{949604B3-73DD-7313-3C3B-AE8114C55433}"/>
          </ac:spMkLst>
        </pc:spChg>
        <pc:spChg chg="add mod">
          <ac:chgData name="Reuben Issac Jacob" userId="a26d73c9-1689-41bd-af50-ef825e838770" providerId="ADAL" clId="{F452BC9E-5BE8-4A0B-9F00-66A7219A31DE}" dt="2022-06-29T20:16:04.225" v="3599" actId="164"/>
          <ac:spMkLst>
            <pc:docMk/>
            <pc:sldMk cId="389114252" sldId="2147470202"/>
            <ac:spMk id="1042" creationId="{2A8FABBA-D6C4-D5AF-DF18-EE217DC11EAD}"/>
          </ac:spMkLst>
        </pc:spChg>
        <pc:grpChg chg="add mod">
          <ac:chgData name="Reuben Issac Jacob" userId="a26d73c9-1689-41bd-af50-ef825e838770" providerId="ADAL" clId="{F452BC9E-5BE8-4A0B-9F00-66A7219A31DE}" dt="2022-06-29T20:16:04.225" v="3599" actId="164"/>
          <ac:grpSpMkLst>
            <pc:docMk/>
            <pc:sldMk cId="389114252" sldId="2147470202"/>
            <ac:grpSpMk id="2" creationId="{4EC5A3D0-63BA-D955-ACE1-C5D1A44577D4}"/>
          </ac:grpSpMkLst>
        </pc:grpChg>
        <pc:grpChg chg="add mod">
          <ac:chgData name="Reuben Issac Jacob" userId="a26d73c9-1689-41bd-af50-ef825e838770" providerId="ADAL" clId="{F452BC9E-5BE8-4A0B-9F00-66A7219A31DE}" dt="2022-06-29T05:46:24.284" v="877" actId="164"/>
          <ac:grpSpMkLst>
            <pc:docMk/>
            <pc:sldMk cId="389114252" sldId="2147470202"/>
            <ac:grpSpMk id="4" creationId="{6C059CD7-5033-CB4E-35C6-575721994038}"/>
          </ac:grpSpMkLst>
        </pc:grpChg>
        <pc:grpChg chg="add del mod">
          <ac:chgData name="Reuben Issac Jacob" userId="a26d73c9-1689-41bd-af50-ef825e838770" providerId="ADAL" clId="{F452BC9E-5BE8-4A0B-9F00-66A7219A31DE}" dt="2022-06-29T05:45:51.695" v="863" actId="165"/>
          <ac:grpSpMkLst>
            <pc:docMk/>
            <pc:sldMk cId="389114252" sldId="2147470202"/>
            <ac:grpSpMk id="5" creationId="{0E3E8A5D-D8EA-2992-F358-90D5A567A7D9}"/>
          </ac:grpSpMkLst>
        </pc:grpChg>
        <pc:grpChg chg="del mod topLvl">
          <ac:chgData name="Reuben Issac Jacob" userId="a26d73c9-1689-41bd-af50-ef825e838770" providerId="ADAL" clId="{F452BC9E-5BE8-4A0B-9F00-66A7219A31DE}" dt="2022-06-29T05:45:51.955" v="864" actId="165"/>
          <ac:grpSpMkLst>
            <pc:docMk/>
            <pc:sldMk cId="389114252" sldId="2147470202"/>
            <ac:grpSpMk id="6" creationId="{3B15FABF-B27F-9F09-BA5C-C1574930B345}"/>
          </ac:grpSpMkLst>
        </pc:grpChg>
        <pc:grpChg chg="add del mod topLvl">
          <ac:chgData name="Reuben Issac Jacob" userId="a26d73c9-1689-41bd-af50-ef825e838770" providerId="ADAL" clId="{F452BC9E-5BE8-4A0B-9F00-66A7219A31DE}" dt="2022-06-29T05:46:03.104" v="871" actId="165"/>
          <ac:grpSpMkLst>
            <pc:docMk/>
            <pc:sldMk cId="389114252" sldId="2147470202"/>
            <ac:grpSpMk id="9" creationId="{613C8920-04AA-8572-9CA0-4C08AC6E5B4C}"/>
          </ac:grpSpMkLst>
        </pc:grpChg>
        <pc:grpChg chg="add mod topLvl">
          <ac:chgData name="Reuben Issac Jacob" userId="a26d73c9-1689-41bd-af50-ef825e838770" providerId="ADAL" clId="{F452BC9E-5BE8-4A0B-9F00-66A7219A31DE}" dt="2022-06-29T20:16:04.225" v="3599" actId="164"/>
          <ac:grpSpMkLst>
            <pc:docMk/>
            <pc:sldMk cId="389114252" sldId="2147470202"/>
            <ac:grpSpMk id="30" creationId="{CB4A266A-4600-AF79-66E4-343E84900E06}"/>
          </ac:grpSpMkLst>
        </pc:grpChg>
        <pc:grpChg chg="add del mod topLvl">
          <ac:chgData name="Reuben Issac Jacob" userId="a26d73c9-1689-41bd-af50-ef825e838770" providerId="ADAL" clId="{F452BC9E-5BE8-4A0B-9F00-66A7219A31DE}" dt="2022-06-29T06:30:44.393" v="1135" actId="165"/>
          <ac:grpSpMkLst>
            <pc:docMk/>
            <pc:sldMk cId="389114252" sldId="2147470202"/>
            <ac:grpSpMk id="31" creationId="{A96DF42A-0B2F-1C8C-3D31-56DFA36226CA}"/>
          </ac:grpSpMkLst>
        </pc:grpChg>
        <pc:grpChg chg="add del mod topLvl">
          <ac:chgData name="Reuben Issac Jacob" userId="a26d73c9-1689-41bd-af50-ef825e838770" providerId="ADAL" clId="{F452BC9E-5BE8-4A0B-9F00-66A7219A31DE}" dt="2022-06-29T06:30:44.393" v="1135" actId="165"/>
          <ac:grpSpMkLst>
            <pc:docMk/>
            <pc:sldMk cId="389114252" sldId="2147470202"/>
            <ac:grpSpMk id="33" creationId="{20F41E61-CF53-6E0A-0592-BB31DBD6B5CD}"/>
          </ac:grpSpMkLst>
        </pc:grpChg>
        <pc:grpChg chg="mod topLvl">
          <ac:chgData name="Reuben Issac Jacob" userId="a26d73c9-1689-41bd-af50-ef825e838770" providerId="ADAL" clId="{F452BC9E-5BE8-4A0B-9F00-66A7219A31DE}" dt="2022-06-29T20:16:04.225" v="3599" actId="164"/>
          <ac:grpSpMkLst>
            <pc:docMk/>
            <pc:sldMk cId="389114252" sldId="2147470202"/>
            <ac:grpSpMk id="35" creationId="{F2B0F149-32BD-75E2-C6FA-FC0D2521D870}"/>
          </ac:grpSpMkLst>
        </pc:grpChg>
        <pc:grpChg chg="add del mod">
          <ac:chgData name="Reuben Issac Jacob" userId="a26d73c9-1689-41bd-af50-ef825e838770" providerId="ADAL" clId="{F452BC9E-5BE8-4A0B-9F00-66A7219A31DE}" dt="2022-06-29T06:24:04.826" v="1054" actId="165"/>
          <ac:grpSpMkLst>
            <pc:docMk/>
            <pc:sldMk cId="389114252" sldId="2147470202"/>
            <ac:grpSpMk id="55" creationId="{A7A213D9-3502-440F-A7FA-5E2C5677EAFA}"/>
          </ac:grpSpMkLst>
        </pc:grpChg>
        <pc:grpChg chg="del mod topLvl">
          <ac:chgData name="Reuben Issac Jacob" userId="a26d73c9-1689-41bd-af50-ef825e838770" providerId="ADAL" clId="{F452BC9E-5BE8-4A0B-9F00-66A7219A31DE}" dt="2022-06-29T06:24:05.142" v="1055" actId="165"/>
          <ac:grpSpMkLst>
            <pc:docMk/>
            <pc:sldMk cId="389114252" sldId="2147470202"/>
            <ac:grpSpMk id="57" creationId="{653F64DB-AF31-A22A-550B-510A2AD07426}"/>
          </ac:grpSpMkLst>
        </pc:grpChg>
        <pc:grpChg chg="add mod topLvl">
          <ac:chgData name="Reuben Issac Jacob" userId="a26d73c9-1689-41bd-af50-ef825e838770" providerId="ADAL" clId="{F452BC9E-5BE8-4A0B-9F00-66A7219A31DE}" dt="2022-06-29T20:16:04.225" v="3599" actId="164"/>
          <ac:grpSpMkLst>
            <pc:docMk/>
            <pc:sldMk cId="389114252" sldId="2147470202"/>
            <ac:grpSpMk id="73" creationId="{7CE22531-8786-F5F2-C798-77711F004D65}"/>
          </ac:grpSpMkLst>
        </pc:grpChg>
        <pc:grpChg chg="mod">
          <ac:chgData name="Reuben Issac Jacob" userId="a26d73c9-1689-41bd-af50-ef825e838770" providerId="ADAL" clId="{F452BC9E-5BE8-4A0B-9F00-66A7219A31DE}" dt="2022-06-29T06:53:55.929" v="1352" actId="1076"/>
          <ac:grpSpMkLst>
            <pc:docMk/>
            <pc:sldMk cId="389114252" sldId="2147470202"/>
            <ac:grpSpMk id="75" creationId="{72ED767C-277F-2BD4-1252-36575CBDA2F5}"/>
          </ac:grpSpMkLst>
        </pc:grpChg>
        <pc:grpChg chg="add mod topLvl">
          <ac:chgData name="Reuben Issac Jacob" userId="a26d73c9-1689-41bd-af50-ef825e838770" providerId="ADAL" clId="{F452BC9E-5BE8-4A0B-9F00-66A7219A31DE}" dt="2022-06-29T20:16:04.225" v="3599" actId="164"/>
          <ac:grpSpMkLst>
            <pc:docMk/>
            <pc:sldMk cId="389114252" sldId="2147470202"/>
            <ac:grpSpMk id="91" creationId="{895BC787-4399-4307-6962-83A583E76065}"/>
          </ac:grpSpMkLst>
        </pc:grpChg>
        <pc:grpChg chg="mod">
          <ac:chgData name="Reuben Issac Jacob" userId="a26d73c9-1689-41bd-af50-ef825e838770" providerId="ADAL" clId="{F452BC9E-5BE8-4A0B-9F00-66A7219A31DE}" dt="2022-06-29T06:53:55.929" v="1352" actId="1076"/>
          <ac:grpSpMkLst>
            <pc:docMk/>
            <pc:sldMk cId="389114252" sldId="2147470202"/>
            <ac:grpSpMk id="93" creationId="{E461A1D5-03AC-C97D-5683-79956031391D}"/>
          </ac:grpSpMkLst>
        </pc:grpChg>
        <pc:grpChg chg="add mod topLvl">
          <ac:chgData name="Reuben Issac Jacob" userId="a26d73c9-1689-41bd-af50-ef825e838770" providerId="ADAL" clId="{F452BC9E-5BE8-4A0B-9F00-66A7219A31DE}" dt="2022-06-29T20:16:04.225" v="3599" actId="164"/>
          <ac:grpSpMkLst>
            <pc:docMk/>
            <pc:sldMk cId="389114252" sldId="2147470202"/>
            <ac:grpSpMk id="109" creationId="{CF60CEAF-D634-F845-CB83-FCD15B013F2D}"/>
          </ac:grpSpMkLst>
        </pc:grpChg>
        <pc:grpChg chg="mod">
          <ac:chgData name="Reuben Issac Jacob" userId="a26d73c9-1689-41bd-af50-ef825e838770" providerId="ADAL" clId="{F452BC9E-5BE8-4A0B-9F00-66A7219A31DE}" dt="2022-06-29T06:53:55.929" v="1352" actId="1076"/>
          <ac:grpSpMkLst>
            <pc:docMk/>
            <pc:sldMk cId="389114252" sldId="2147470202"/>
            <ac:grpSpMk id="111" creationId="{EADF1E96-6444-A82D-8D91-E43CC6D38977}"/>
          </ac:grpSpMkLst>
        </pc:grpChg>
        <pc:grpChg chg="add mod topLvl">
          <ac:chgData name="Reuben Issac Jacob" userId="a26d73c9-1689-41bd-af50-ef825e838770" providerId="ADAL" clId="{F452BC9E-5BE8-4A0B-9F00-66A7219A31DE}" dt="2022-06-29T20:16:04.225" v="3599" actId="164"/>
          <ac:grpSpMkLst>
            <pc:docMk/>
            <pc:sldMk cId="389114252" sldId="2147470202"/>
            <ac:grpSpMk id="127" creationId="{CB14875D-115B-9D9E-479C-38FAC51EECD3}"/>
          </ac:grpSpMkLst>
        </pc:grpChg>
        <pc:grpChg chg="mod">
          <ac:chgData name="Reuben Issac Jacob" userId="a26d73c9-1689-41bd-af50-ef825e838770" providerId="ADAL" clId="{F452BC9E-5BE8-4A0B-9F00-66A7219A31DE}" dt="2022-06-29T06:53:55.929" v="1352" actId="1076"/>
          <ac:grpSpMkLst>
            <pc:docMk/>
            <pc:sldMk cId="389114252" sldId="2147470202"/>
            <ac:grpSpMk id="129" creationId="{61EA9709-8659-966C-BC87-31F55C906EB6}"/>
          </ac:grpSpMkLst>
        </pc:grpChg>
        <pc:grpChg chg="add mod topLvl">
          <ac:chgData name="Reuben Issac Jacob" userId="a26d73c9-1689-41bd-af50-ef825e838770" providerId="ADAL" clId="{F452BC9E-5BE8-4A0B-9F00-66A7219A31DE}" dt="2022-06-29T20:16:04.225" v="3599" actId="164"/>
          <ac:grpSpMkLst>
            <pc:docMk/>
            <pc:sldMk cId="389114252" sldId="2147470202"/>
            <ac:grpSpMk id="145" creationId="{8323598A-58A2-804C-095B-6435A12A47CA}"/>
          </ac:grpSpMkLst>
        </pc:grpChg>
        <pc:grpChg chg="mod">
          <ac:chgData name="Reuben Issac Jacob" userId="a26d73c9-1689-41bd-af50-ef825e838770" providerId="ADAL" clId="{F452BC9E-5BE8-4A0B-9F00-66A7219A31DE}" dt="2022-06-29T06:53:55.929" v="1352" actId="1076"/>
          <ac:grpSpMkLst>
            <pc:docMk/>
            <pc:sldMk cId="389114252" sldId="2147470202"/>
            <ac:grpSpMk id="147" creationId="{BAB23385-FB64-5274-B421-1EB3B3555EF6}"/>
          </ac:grpSpMkLst>
        </pc:grpChg>
        <pc:grpChg chg="add mod topLvl">
          <ac:chgData name="Reuben Issac Jacob" userId="a26d73c9-1689-41bd-af50-ef825e838770" providerId="ADAL" clId="{F452BC9E-5BE8-4A0B-9F00-66A7219A31DE}" dt="2022-06-29T20:16:04.225" v="3599" actId="164"/>
          <ac:grpSpMkLst>
            <pc:docMk/>
            <pc:sldMk cId="389114252" sldId="2147470202"/>
            <ac:grpSpMk id="163" creationId="{212BB3E5-C2F6-FCEA-CCEC-8796C5D04A34}"/>
          </ac:grpSpMkLst>
        </pc:grpChg>
        <pc:grpChg chg="mod">
          <ac:chgData name="Reuben Issac Jacob" userId="a26d73c9-1689-41bd-af50-ef825e838770" providerId="ADAL" clId="{F452BC9E-5BE8-4A0B-9F00-66A7219A31DE}" dt="2022-06-29T06:53:55.929" v="1352" actId="1076"/>
          <ac:grpSpMkLst>
            <pc:docMk/>
            <pc:sldMk cId="389114252" sldId="2147470202"/>
            <ac:grpSpMk id="165" creationId="{66806B3E-8596-325E-5F59-6DC7FCCC3289}"/>
          </ac:grpSpMkLst>
        </pc:grpChg>
        <pc:grpChg chg="add mod topLvl">
          <ac:chgData name="Reuben Issac Jacob" userId="a26d73c9-1689-41bd-af50-ef825e838770" providerId="ADAL" clId="{F452BC9E-5BE8-4A0B-9F00-66A7219A31DE}" dt="2022-06-29T20:16:04.225" v="3599" actId="164"/>
          <ac:grpSpMkLst>
            <pc:docMk/>
            <pc:sldMk cId="389114252" sldId="2147470202"/>
            <ac:grpSpMk id="181" creationId="{F9216181-27FD-7DED-AAD8-60A11F24054A}"/>
          </ac:grpSpMkLst>
        </pc:grpChg>
        <pc:grpChg chg="mod">
          <ac:chgData name="Reuben Issac Jacob" userId="a26d73c9-1689-41bd-af50-ef825e838770" providerId="ADAL" clId="{F452BC9E-5BE8-4A0B-9F00-66A7219A31DE}" dt="2022-06-29T06:53:55.929" v="1352" actId="1076"/>
          <ac:grpSpMkLst>
            <pc:docMk/>
            <pc:sldMk cId="389114252" sldId="2147470202"/>
            <ac:grpSpMk id="183" creationId="{83A9D5EF-3EFC-DC8C-A9C6-ED7F378E130F}"/>
          </ac:grpSpMkLst>
        </pc:grpChg>
        <pc:grpChg chg="add del mod topLvl">
          <ac:chgData name="Reuben Issac Jacob" userId="a26d73c9-1689-41bd-af50-ef825e838770" providerId="ADAL" clId="{F452BC9E-5BE8-4A0B-9F00-66A7219A31DE}" dt="2022-06-29T06:30:44.393" v="1135" actId="165"/>
          <ac:grpSpMkLst>
            <pc:docMk/>
            <pc:sldMk cId="389114252" sldId="2147470202"/>
            <ac:grpSpMk id="1027" creationId="{61516504-AFEC-BCE6-EC67-64ED432A7B68}"/>
          </ac:grpSpMkLst>
        </pc:grpChg>
        <pc:grpChg chg="add del mod topLvl">
          <ac:chgData name="Reuben Issac Jacob" userId="a26d73c9-1689-41bd-af50-ef825e838770" providerId="ADAL" clId="{F452BC9E-5BE8-4A0B-9F00-66A7219A31DE}" dt="2022-06-29T06:30:44.393" v="1135" actId="165"/>
          <ac:grpSpMkLst>
            <pc:docMk/>
            <pc:sldMk cId="389114252" sldId="2147470202"/>
            <ac:grpSpMk id="1028" creationId="{8CD0BBFC-D819-B007-41D5-8B0FA8BB127F}"/>
          </ac:grpSpMkLst>
        </pc:grpChg>
        <pc:grpChg chg="add del mod topLvl">
          <ac:chgData name="Reuben Issac Jacob" userId="a26d73c9-1689-41bd-af50-ef825e838770" providerId="ADAL" clId="{F452BC9E-5BE8-4A0B-9F00-66A7219A31DE}" dt="2022-06-29T06:30:44.393" v="1135" actId="165"/>
          <ac:grpSpMkLst>
            <pc:docMk/>
            <pc:sldMk cId="389114252" sldId="2147470202"/>
            <ac:grpSpMk id="1029" creationId="{FFE3D1A5-E663-C973-391D-5FB58F0FB49E}"/>
          </ac:grpSpMkLst>
        </pc:grpChg>
        <pc:grpChg chg="add del mod topLvl">
          <ac:chgData name="Reuben Issac Jacob" userId="a26d73c9-1689-41bd-af50-ef825e838770" providerId="ADAL" clId="{F452BC9E-5BE8-4A0B-9F00-66A7219A31DE}" dt="2022-06-29T06:30:44.393" v="1135" actId="165"/>
          <ac:grpSpMkLst>
            <pc:docMk/>
            <pc:sldMk cId="389114252" sldId="2147470202"/>
            <ac:grpSpMk id="1030" creationId="{279BACE4-1858-CF0D-30C9-20E06502A510}"/>
          </ac:grpSpMkLst>
        </pc:grpChg>
        <pc:grpChg chg="add mod topLvl">
          <ac:chgData name="Reuben Issac Jacob" userId="a26d73c9-1689-41bd-af50-ef825e838770" providerId="ADAL" clId="{F452BC9E-5BE8-4A0B-9F00-66A7219A31DE}" dt="2022-06-29T20:16:04.225" v="3599" actId="164"/>
          <ac:grpSpMkLst>
            <pc:docMk/>
            <pc:sldMk cId="389114252" sldId="2147470202"/>
            <ac:grpSpMk id="1031" creationId="{02BC596E-E57E-3C40-EFC4-F90EB0D9384B}"/>
          </ac:grpSpMkLst>
        </pc:grpChg>
        <pc:grpChg chg="add del mod topLvl">
          <ac:chgData name="Reuben Issac Jacob" userId="a26d73c9-1689-41bd-af50-ef825e838770" providerId="ADAL" clId="{F452BC9E-5BE8-4A0B-9F00-66A7219A31DE}" dt="2022-06-29T06:30:44.393" v="1135" actId="165"/>
          <ac:grpSpMkLst>
            <pc:docMk/>
            <pc:sldMk cId="389114252" sldId="2147470202"/>
            <ac:grpSpMk id="1032" creationId="{05BF0910-A463-B4AF-0724-A6E4AB7EC388}"/>
          </ac:grpSpMkLst>
        </pc:grpChg>
        <pc:grpChg chg="add del mod topLvl">
          <ac:chgData name="Reuben Issac Jacob" userId="a26d73c9-1689-41bd-af50-ef825e838770" providerId="ADAL" clId="{F452BC9E-5BE8-4A0B-9F00-66A7219A31DE}" dt="2022-06-29T06:30:44.393" v="1135" actId="165"/>
          <ac:grpSpMkLst>
            <pc:docMk/>
            <pc:sldMk cId="389114252" sldId="2147470202"/>
            <ac:grpSpMk id="1033" creationId="{3FC8B42E-470B-8ACF-968C-651C40F4A477}"/>
          </ac:grpSpMkLst>
        </pc:grpChg>
        <pc:grpChg chg="add del mod">
          <ac:chgData name="Reuben Issac Jacob" userId="a26d73c9-1689-41bd-af50-ef825e838770" providerId="ADAL" clId="{F452BC9E-5BE8-4A0B-9F00-66A7219A31DE}" dt="2022-06-29T06:30:43.693" v="1134" actId="165"/>
          <ac:grpSpMkLst>
            <pc:docMk/>
            <pc:sldMk cId="389114252" sldId="2147470202"/>
            <ac:grpSpMk id="1034" creationId="{46D95165-B76D-2ABC-5283-03D1AD6677F7}"/>
          </ac:grpSpMkLst>
        </pc:grpChg>
        <pc:picChg chg="add del mod">
          <ac:chgData name="Reuben Issac Jacob" userId="a26d73c9-1689-41bd-af50-ef825e838770" providerId="ADAL" clId="{F452BC9E-5BE8-4A0B-9F00-66A7219A31DE}" dt="2022-06-29T06:47:34.925" v="1233" actId="478"/>
          <ac:picMkLst>
            <pc:docMk/>
            <pc:sldMk cId="389114252" sldId="2147470202"/>
            <ac:picMk id="218" creationId="{06252416-83D0-ABFB-D0A2-915F470F3314}"/>
          </ac:picMkLst>
        </pc:picChg>
        <pc:picChg chg="add del mod">
          <ac:chgData name="Reuben Issac Jacob" userId="a26d73c9-1689-41bd-af50-ef825e838770" providerId="ADAL" clId="{F452BC9E-5BE8-4A0B-9F00-66A7219A31DE}" dt="2022-06-29T06:27:41.368" v="1108" actId="478"/>
          <ac:picMkLst>
            <pc:docMk/>
            <pc:sldMk cId="389114252" sldId="2147470202"/>
            <ac:picMk id="1026" creationId="{95A5A0F2-138E-F953-CF38-25AD11CF3358}"/>
          </ac:picMkLst>
        </pc:picChg>
        <pc:cxnChg chg="add mod">
          <ac:chgData name="Reuben Issac Jacob" userId="a26d73c9-1689-41bd-af50-ef825e838770" providerId="ADAL" clId="{F452BC9E-5BE8-4A0B-9F00-66A7219A31DE}" dt="2022-06-29T20:16:04.225" v="3599" actId="164"/>
          <ac:cxnSpMkLst>
            <pc:docMk/>
            <pc:sldMk cId="389114252" sldId="2147470202"/>
            <ac:cxnSpMk id="199" creationId="{47F49A85-68B1-1857-07D1-BE7CAB8D3BE8}"/>
          </ac:cxnSpMkLst>
        </pc:cxnChg>
        <pc:cxnChg chg="add mod">
          <ac:chgData name="Reuben Issac Jacob" userId="a26d73c9-1689-41bd-af50-ef825e838770" providerId="ADAL" clId="{F452BC9E-5BE8-4A0B-9F00-66A7219A31DE}" dt="2022-06-29T20:16:04.225" v="3599" actId="164"/>
          <ac:cxnSpMkLst>
            <pc:docMk/>
            <pc:sldMk cId="389114252" sldId="2147470202"/>
            <ac:cxnSpMk id="202" creationId="{B874D285-6F4A-4F6F-D057-294EBE41EAAE}"/>
          </ac:cxnSpMkLst>
        </pc:cxnChg>
        <pc:cxnChg chg="add mod">
          <ac:chgData name="Reuben Issac Jacob" userId="a26d73c9-1689-41bd-af50-ef825e838770" providerId="ADAL" clId="{F452BC9E-5BE8-4A0B-9F00-66A7219A31DE}" dt="2022-06-29T20:16:04.225" v="3599" actId="164"/>
          <ac:cxnSpMkLst>
            <pc:docMk/>
            <pc:sldMk cId="389114252" sldId="2147470202"/>
            <ac:cxnSpMk id="211" creationId="{DF94CF71-55D4-8D8C-0B5C-F16AF6F1D4E6}"/>
          </ac:cxnSpMkLst>
        </pc:cxnChg>
        <pc:cxnChg chg="add mod">
          <ac:chgData name="Reuben Issac Jacob" userId="a26d73c9-1689-41bd-af50-ef825e838770" providerId="ADAL" clId="{F452BC9E-5BE8-4A0B-9F00-66A7219A31DE}" dt="2022-06-29T20:16:04.225" v="3599" actId="164"/>
          <ac:cxnSpMkLst>
            <pc:docMk/>
            <pc:sldMk cId="389114252" sldId="2147470202"/>
            <ac:cxnSpMk id="213" creationId="{97EDB347-505F-88C0-54F1-FFA98BFFC738}"/>
          </ac:cxnSpMkLst>
        </pc:cxnChg>
        <pc:cxnChg chg="add mod">
          <ac:chgData name="Reuben Issac Jacob" userId="a26d73c9-1689-41bd-af50-ef825e838770" providerId="ADAL" clId="{F452BC9E-5BE8-4A0B-9F00-66A7219A31DE}" dt="2022-06-29T20:16:04.225" v="3599" actId="164"/>
          <ac:cxnSpMkLst>
            <pc:docMk/>
            <pc:sldMk cId="389114252" sldId="2147470202"/>
            <ac:cxnSpMk id="215" creationId="{C75DE349-F1F4-79FA-30CE-89C32C257F83}"/>
          </ac:cxnSpMkLst>
        </pc:cxnChg>
        <pc:cxnChg chg="add mod">
          <ac:chgData name="Reuben Issac Jacob" userId="a26d73c9-1689-41bd-af50-ef825e838770" providerId="ADAL" clId="{F452BC9E-5BE8-4A0B-9F00-66A7219A31DE}" dt="2022-06-29T20:16:04.225" v="3599" actId="164"/>
          <ac:cxnSpMkLst>
            <pc:docMk/>
            <pc:sldMk cId="389114252" sldId="2147470202"/>
            <ac:cxnSpMk id="217" creationId="{C63E845E-19A5-B799-D005-D659104497A5}"/>
          </ac:cxnSpMkLst>
        </pc:cxnChg>
        <pc:cxnChg chg="add mod">
          <ac:chgData name="Reuben Issac Jacob" userId="a26d73c9-1689-41bd-af50-ef825e838770" providerId="ADAL" clId="{F452BC9E-5BE8-4A0B-9F00-66A7219A31DE}" dt="2022-06-29T20:16:04.225" v="3599" actId="164"/>
          <ac:cxnSpMkLst>
            <pc:docMk/>
            <pc:sldMk cId="389114252" sldId="2147470202"/>
            <ac:cxnSpMk id="220" creationId="{C605DCE4-92CA-40AA-9EB8-3CE1ED2C1391}"/>
          </ac:cxnSpMkLst>
        </pc:cxnChg>
        <pc:cxnChg chg="add mod">
          <ac:chgData name="Reuben Issac Jacob" userId="a26d73c9-1689-41bd-af50-ef825e838770" providerId="ADAL" clId="{F452BC9E-5BE8-4A0B-9F00-66A7219A31DE}" dt="2022-06-29T20:16:04.225" v="3599" actId="164"/>
          <ac:cxnSpMkLst>
            <pc:docMk/>
            <pc:sldMk cId="389114252" sldId="2147470202"/>
            <ac:cxnSpMk id="222" creationId="{8D5BF0B0-0132-7A08-5753-C159F3D66C3E}"/>
          </ac:cxnSpMkLst>
        </pc:cxnChg>
        <pc:cxnChg chg="add mod">
          <ac:chgData name="Reuben Issac Jacob" userId="a26d73c9-1689-41bd-af50-ef825e838770" providerId="ADAL" clId="{F452BC9E-5BE8-4A0B-9F00-66A7219A31DE}" dt="2022-06-29T20:16:04.225" v="3599" actId="164"/>
          <ac:cxnSpMkLst>
            <pc:docMk/>
            <pc:sldMk cId="389114252" sldId="2147470202"/>
            <ac:cxnSpMk id="224" creationId="{58BA351D-3F6E-1476-A807-C3FF6457462F}"/>
          </ac:cxnSpMkLst>
        </pc:cxnChg>
        <pc:cxnChg chg="add mod">
          <ac:chgData name="Reuben Issac Jacob" userId="a26d73c9-1689-41bd-af50-ef825e838770" providerId="ADAL" clId="{F452BC9E-5BE8-4A0B-9F00-66A7219A31DE}" dt="2022-06-29T20:16:04.225" v="3599" actId="164"/>
          <ac:cxnSpMkLst>
            <pc:docMk/>
            <pc:sldMk cId="389114252" sldId="2147470202"/>
            <ac:cxnSpMk id="226" creationId="{E488B796-E9A2-4A72-43AD-F77BA27D2BE9}"/>
          </ac:cxnSpMkLst>
        </pc:cxnChg>
        <pc:cxnChg chg="add mod">
          <ac:chgData name="Reuben Issac Jacob" userId="a26d73c9-1689-41bd-af50-ef825e838770" providerId="ADAL" clId="{F452BC9E-5BE8-4A0B-9F00-66A7219A31DE}" dt="2022-06-29T20:16:04.225" v="3599" actId="164"/>
          <ac:cxnSpMkLst>
            <pc:docMk/>
            <pc:sldMk cId="389114252" sldId="2147470202"/>
            <ac:cxnSpMk id="231" creationId="{A7099565-B21C-ADD3-5897-16198BA9BE4D}"/>
          </ac:cxnSpMkLst>
        </pc:cxnChg>
        <pc:cxnChg chg="add del mod">
          <ac:chgData name="Reuben Issac Jacob" userId="a26d73c9-1689-41bd-af50-ef825e838770" providerId="ADAL" clId="{F452BC9E-5BE8-4A0B-9F00-66A7219A31DE}" dt="2022-06-29T06:39:52.302" v="1192" actId="478"/>
          <ac:cxnSpMkLst>
            <pc:docMk/>
            <pc:sldMk cId="389114252" sldId="2147470202"/>
            <ac:cxnSpMk id="232" creationId="{687377D7-DA33-5636-E707-3D2860173E36}"/>
          </ac:cxnSpMkLst>
        </pc:cxnChg>
        <pc:cxnChg chg="add del">
          <ac:chgData name="Reuben Issac Jacob" userId="a26d73c9-1689-41bd-af50-ef825e838770" providerId="ADAL" clId="{F452BC9E-5BE8-4A0B-9F00-66A7219A31DE}" dt="2022-06-29T06:41:31.974" v="1202" actId="11529"/>
          <ac:cxnSpMkLst>
            <pc:docMk/>
            <pc:sldMk cId="389114252" sldId="2147470202"/>
            <ac:cxnSpMk id="234" creationId="{2D637C4C-5BD3-4431-5941-140AF814F520}"/>
          </ac:cxnSpMkLst>
        </pc:cxnChg>
        <pc:cxnChg chg="add mod">
          <ac:chgData name="Reuben Issac Jacob" userId="a26d73c9-1689-41bd-af50-ef825e838770" providerId="ADAL" clId="{F452BC9E-5BE8-4A0B-9F00-66A7219A31DE}" dt="2022-06-29T20:16:04.225" v="3599" actId="164"/>
          <ac:cxnSpMkLst>
            <pc:docMk/>
            <pc:sldMk cId="389114252" sldId="2147470202"/>
            <ac:cxnSpMk id="236" creationId="{0E0D98D8-D6D0-5DDF-0CE6-A80F0606E5ED}"/>
          </ac:cxnSpMkLst>
        </pc:cxnChg>
        <pc:cxnChg chg="add mod">
          <ac:chgData name="Reuben Issac Jacob" userId="a26d73c9-1689-41bd-af50-ef825e838770" providerId="ADAL" clId="{F452BC9E-5BE8-4A0B-9F00-66A7219A31DE}" dt="2022-06-29T20:16:04.225" v="3599" actId="164"/>
          <ac:cxnSpMkLst>
            <pc:docMk/>
            <pc:sldMk cId="389114252" sldId="2147470202"/>
            <ac:cxnSpMk id="238" creationId="{AD8FF2C2-966E-E44B-89AB-EE4ED2792349}"/>
          </ac:cxnSpMkLst>
        </pc:cxnChg>
        <pc:cxnChg chg="add mod">
          <ac:chgData name="Reuben Issac Jacob" userId="a26d73c9-1689-41bd-af50-ef825e838770" providerId="ADAL" clId="{F452BC9E-5BE8-4A0B-9F00-66A7219A31DE}" dt="2022-06-29T20:16:04.225" v="3599" actId="164"/>
          <ac:cxnSpMkLst>
            <pc:docMk/>
            <pc:sldMk cId="389114252" sldId="2147470202"/>
            <ac:cxnSpMk id="240" creationId="{4C8F26DE-1DFF-16DF-A0F7-B7C9BE0622DD}"/>
          </ac:cxnSpMkLst>
        </pc:cxnChg>
        <pc:cxnChg chg="add mod">
          <ac:chgData name="Reuben Issac Jacob" userId="a26d73c9-1689-41bd-af50-ef825e838770" providerId="ADAL" clId="{F452BC9E-5BE8-4A0B-9F00-66A7219A31DE}" dt="2022-06-29T20:16:04.225" v="3599" actId="164"/>
          <ac:cxnSpMkLst>
            <pc:docMk/>
            <pc:sldMk cId="389114252" sldId="2147470202"/>
            <ac:cxnSpMk id="242" creationId="{42F9A37D-67A4-E8CA-7AC4-AEA517ADED31}"/>
          </ac:cxnSpMkLst>
        </pc:cxnChg>
        <pc:cxnChg chg="add mod">
          <ac:chgData name="Reuben Issac Jacob" userId="a26d73c9-1689-41bd-af50-ef825e838770" providerId="ADAL" clId="{F452BC9E-5BE8-4A0B-9F00-66A7219A31DE}" dt="2022-06-29T20:16:04.225" v="3599" actId="164"/>
          <ac:cxnSpMkLst>
            <pc:docMk/>
            <pc:sldMk cId="389114252" sldId="2147470202"/>
            <ac:cxnSpMk id="244" creationId="{943F28AB-43B5-EFD4-F0B5-4E2218E5F661}"/>
          </ac:cxnSpMkLst>
        </pc:cxnChg>
        <pc:cxnChg chg="add del mod">
          <ac:chgData name="Reuben Issac Jacob" userId="a26d73c9-1689-41bd-af50-ef825e838770" providerId="ADAL" clId="{F452BC9E-5BE8-4A0B-9F00-66A7219A31DE}" dt="2022-06-29T06:43:52.602" v="1214" actId="11529"/>
          <ac:cxnSpMkLst>
            <pc:docMk/>
            <pc:sldMk cId="389114252" sldId="2147470202"/>
            <ac:cxnSpMk id="248" creationId="{1A2BB1BF-793D-2A9A-11B9-4B5D7CC04043}"/>
          </ac:cxnSpMkLst>
        </pc:cxnChg>
        <pc:cxnChg chg="add mod">
          <ac:chgData name="Reuben Issac Jacob" userId="a26d73c9-1689-41bd-af50-ef825e838770" providerId="ADAL" clId="{F452BC9E-5BE8-4A0B-9F00-66A7219A31DE}" dt="2022-06-29T20:16:04.225" v="3599" actId="164"/>
          <ac:cxnSpMkLst>
            <pc:docMk/>
            <pc:sldMk cId="389114252" sldId="2147470202"/>
            <ac:cxnSpMk id="250" creationId="{51F55846-CEB5-2028-25BF-AB9FE1576C01}"/>
          </ac:cxnSpMkLst>
        </pc:cxnChg>
        <pc:cxnChg chg="add mod">
          <ac:chgData name="Reuben Issac Jacob" userId="a26d73c9-1689-41bd-af50-ef825e838770" providerId="ADAL" clId="{F452BC9E-5BE8-4A0B-9F00-66A7219A31DE}" dt="2022-06-29T20:16:04.225" v="3599" actId="164"/>
          <ac:cxnSpMkLst>
            <pc:docMk/>
            <pc:sldMk cId="389114252" sldId="2147470202"/>
            <ac:cxnSpMk id="252" creationId="{EDA11605-CDE5-9201-A305-DA81D45F5EDB}"/>
          </ac:cxnSpMkLst>
        </pc:cxnChg>
        <pc:cxnChg chg="add mod">
          <ac:chgData name="Reuben Issac Jacob" userId="a26d73c9-1689-41bd-af50-ef825e838770" providerId="ADAL" clId="{F452BC9E-5BE8-4A0B-9F00-66A7219A31DE}" dt="2022-06-29T20:16:04.225" v="3599" actId="164"/>
          <ac:cxnSpMkLst>
            <pc:docMk/>
            <pc:sldMk cId="389114252" sldId="2147470202"/>
            <ac:cxnSpMk id="254" creationId="{07CE40D5-0F74-A0C8-B133-E1E63AFCE11B}"/>
          </ac:cxnSpMkLst>
        </pc:cxnChg>
        <pc:cxnChg chg="add del mod">
          <ac:chgData name="Reuben Issac Jacob" userId="a26d73c9-1689-41bd-af50-ef825e838770" providerId="ADAL" clId="{F452BC9E-5BE8-4A0B-9F00-66A7219A31DE}" dt="2022-06-29T06:33:27.101" v="1142" actId="11529"/>
          <ac:cxnSpMkLst>
            <pc:docMk/>
            <pc:sldMk cId="389114252" sldId="2147470202"/>
            <ac:cxnSpMk id="1036" creationId="{96C81008-63C6-561B-5A71-680B0E399DD9}"/>
          </ac:cxnSpMkLst>
        </pc:cxnChg>
        <pc:cxnChg chg="add del mod">
          <ac:chgData name="Reuben Issac Jacob" userId="a26d73c9-1689-41bd-af50-ef825e838770" providerId="ADAL" clId="{F452BC9E-5BE8-4A0B-9F00-66A7219A31DE}" dt="2022-06-29T06:35:14.051" v="1147" actId="478"/>
          <ac:cxnSpMkLst>
            <pc:docMk/>
            <pc:sldMk cId="389114252" sldId="2147470202"/>
            <ac:cxnSpMk id="1039" creationId="{6932D4D1-D838-0FC1-DCE2-B45732D1ABAE}"/>
          </ac:cxnSpMkLst>
        </pc:cxnChg>
        <pc:cxnChg chg="add del mod">
          <ac:chgData name="Reuben Issac Jacob" userId="a26d73c9-1689-41bd-af50-ef825e838770" providerId="ADAL" clId="{F452BC9E-5BE8-4A0B-9F00-66A7219A31DE}" dt="2022-06-29T06:35:14.051" v="1147" actId="478"/>
          <ac:cxnSpMkLst>
            <pc:docMk/>
            <pc:sldMk cId="389114252" sldId="2147470202"/>
            <ac:cxnSpMk id="1041" creationId="{199959E2-933D-5CE3-09CA-0DB732D99709}"/>
          </ac:cxnSpMkLst>
        </pc:cxnChg>
        <pc:cxnChg chg="add mod">
          <ac:chgData name="Reuben Issac Jacob" userId="a26d73c9-1689-41bd-af50-ef825e838770" providerId="ADAL" clId="{F452BC9E-5BE8-4A0B-9F00-66A7219A31DE}" dt="2022-06-29T20:16:04.225" v="3599" actId="164"/>
          <ac:cxnSpMkLst>
            <pc:docMk/>
            <pc:sldMk cId="389114252" sldId="2147470202"/>
            <ac:cxnSpMk id="1044" creationId="{A73A57A0-9256-534A-EEAC-B68189FE9064}"/>
          </ac:cxnSpMkLst>
        </pc:cxnChg>
        <pc:cxnChg chg="add mod">
          <ac:chgData name="Reuben Issac Jacob" userId="a26d73c9-1689-41bd-af50-ef825e838770" providerId="ADAL" clId="{F452BC9E-5BE8-4A0B-9F00-66A7219A31DE}" dt="2022-06-29T20:16:04.225" v="3599" actId="164"/>
          <ac:cxnSpMkLst>
            <pc:docMk/>
            <pc:sldMk cId="389114252" sldId="2147470202"/>
            <ac:cxnSpMk id="1046" creationId="{44CB93B2-3427-145A-ED87-4511CB7C7EEC}"/>
          </ac:cxnSpMkLst>
        </pc:cxnChg>
        <pc:cxnChg chg="add mod">
          <ac:chgData name="Reuben Issac Jacob" userId="a26d73c9-1689-41bd-af50-ef825e838770" providerId="ADAL" clId="{F452BC9E-5BE8-4A0B-9F00-66A7219A31DE}" dt="2022-06-29T20:16:04.225" v="3599" actId="164"/>
          <ac:cxnSpMkLst>
            <pc:docMk/>
            <pc:sldMk cId="389114252" sldId="2147470202"/>
            <ac:cxnSpMk id="1048" creationId="{9AF2CC30-8878-BF4C-326F-2B93971E5A51}"/>
          </ac:cxnSpMkLst>
        </pc:cxnChg>
        <pc:cxnChg chg="add mod">
          <ac:chgData name="Reuben Issac Jacob" userId="a26d73c9-1689-41bd-af50-ef825e838770" providerId="ADAL" clId="{F452BC9E-5BE8-4A0B-9F00-66A7219A31DE}" dt="2022-06-29T20:16:04.225" v="3599" actId="164"/>
          <ac:cxnSpMkLst>
            <pc:docMk/>
            <pc:sldMk cId="389114252" sldId="2147470202"/>
            <ac:cxnSpMk id="1050" creationId="{13A80BD1-54E7-C25F-AFE0-EA3334069365}"/>
          </ac:cxnSpMkLst>
        </pc:cxnChg>
        <pc:cxnChg chg="add mod">
          <ac:chgData name="Reuben Issac Jacob" userId="a26d73c9-1689-41bd-af50-ef825e838770" providerId="ADAL" clId="{F452BC9E-5BE8-4A0B-9F00-66A7219A31DE}" dt="2022-06-29T20:16:04.225" v="3599" actId="164"/>
          <ac:cxnSpMkLst>
            <pc:docMk/>
            <pc:sldMk cId="389114252" sldId="2147470202"/>
            <ac:cxnSpMk id="1052" creationId="{E3F976FA-400C-B2F9-31A8-1EEF97628BD8}"/>
          </ac:cxnSpMkLst>
        </pc:cxnChg>
        <pc:cxnChg chg="add mod">
          <ac:chgData name="Reuben Issac Jacob" userId="a26d73c9-1689-41bd-af50-ef825e838770" providerId="ADAL" clId="{F452BC9E-5BE8-4A0B-9F00-66A7219A31DE}" dt="2022-06-29T20:16:04.225" v="3599" actId="164"/>
          <ac:cxnSpMkLst>
            <pc:docMk/>
            <pc:sldMk cId="389114252" sldId="2147470202"/>
            <ac:cxnSpMk id="1054" creationId="{C0DE487E-2F83-39D2-DC5D-0827914118DF}"/>
          </ac:cxnSpMkLst>
        </pc:cxnChg>
        <pc:cxnChg chg="add mod">
          <ac:chgData name="Reuben Issac Jacob" userId="a26d73c9-1689-41bd-af50-ef825e838770" providerId="ADAL" clId="{F452BC9E-5BE8-4A0B-9F00-66A7219A31DE}" dt="2022-06-29T20:16:04.225" v="3599" actId="164"/>
          <ac:cxnSpMkLst>
            <pc:docMk/>
            <pc:sldMk cId="389114252" sldId="2147470202"/>
            <ac:cxnSpMk id="1056" creationId="{D46C1C13-29F3-D9B8-8644-0331D3785AE2}"/>
          </ac:cxnSpMkLst>
        </pc:cxnChg>
        <pc:cxnChg chg="add mod">
          <ac:chgData name="Reuben Issac Jacob" userId="a26d73c9-1689-41bd-af50-ef825e838770" providerId="ADAL" clId="{F452BC9E-5BE8-4A0B-9F00-66A7219A31DE}" dt="2022-06-29T20:16:04.225" v="3599" actId="164"/>
          <ac:cxnSpMkLst>
            <pc:docMk/>
            <pc:sldMk cId="389114252" sldId="2147470202"/>
            <ac:cxnSpMk id="1058" creationId="{1B108630-8448-7A72-4842-1544ADF6B652}"/>
          </ac:cxnSpMkLst>
        </pc:cxnChg>
        <pc:cxnChg chg="add mod">
          <ac:chgData name="Reuben Issac Jacob" userId="a26d73c9-1689-41bd-af50-ef825e838770" providerId="ADAL" clId="{F452BC9E-5BE8-4A0B-9F00-66A7219A31DE}" dt="2022-06-29T20:16:04.225" v="3599" actId="164"/>
          <ac:cxnSpMkLst>
            <pc:docMk/>
            <pc:sldMk cId="389114252" sldId="2147470202"/>
            <ac:cxnSpMk id="1060" creationId="{E353F045-F09B-7AE1-E6EC-3BCF3270D17D}"/>
          </ac:cxnSpMkLst>
        </pc:cxnChg>
        <pc:cxnChg chg="add mod">
          <ac:chgData name="Reuben Issac Jacob" userId="a26d73c9-1689-41bd-af50-ef825e838770" providerId="ADAL" clId="{F452BC9E-5BE8-4A0B-9F00-66A7219A31DE}" dt="2022-06-29T20:16:04.225" v="3599" actId="164"/>
          <ac:cxnSpMkLst>
            <pc:docMk/>
            <pc:sldMk cId="389114252" sldId="2147470202"/>
            <ac:cxnSpMk id="1062" creationId="{826FBC5F-A7B3-EF60-0521-32410A7DD830}"/>
          </ac:cxnSpMkLst>
        </pc:cxnChg>
      </pc:sldChg>
      <pc:sldChg chg="addSp delSp modSp add mod modClrScheme modAnim chgLayout">
        <pc:chgData name="Reuben Issac Jacob" userId="a26d73c9-1689-41bd-af50-ef825e838770" providerId="ADAL" clId="{F452BC9E-5BE8-4A0B-9F00-66A7219A31DE}" dt="2022-06-29T20:26:03.999" v="3701"/>
        <pc:sldMkLst>
          <pc:docMk/>
          <pc:sldMk cId="948348094" sldId="2147470203"/>
        </pc:sldMkLst>
        <pc:spChg chg="del">
          <ac:chgData name="Reuben Issac Jacob" userId="a26d73c9-1689-41bd-af50-ef825e838770" providerId="ADAL" clId="{F452BC9E-5BE8-4A0B-9F00-66A7219A31DE}" dt="2022-06-29T07:01:42.841" v="1441" actId="478"/>
          <ac:spMkLst>
            <pc:docMk/>
            <pc:sldMk cId="948348094" sldId="2147470203"/>
            <ac:spMk id="2" creationId="{8C71C751-49D6-4948-857C-C858B666A496}"/>
          </ac:spMkLst>
        </pc:spChg>
        <pc:spChg chg="mod ord">
          <ac:chgData name="Reuben Issac Jacob" userId="a26d73c9-1689-41bd-af50-ef825e838770" providerId="ADAL" clId="{F452BC9E-5BE8-4A0B-9F00-66A7219A31DE}" dt="2022-06-29T07:02:13.033" v="1449"/>
          <ac:spMkLst>
            <pc:docMk/>
            <pc:sldMk cId="948348094" sldId="2147470203"/>
            <ac:spMk id="3" creationId="{1D006154-4293-4869-B84F-DCE0CD70BB54}"/>
          </ac:spMkLst>
        </pc:spChg>
        <pc:spChg chg="del">
          <ac:chgData name="Reuben Issac Jacob" userId="a26d73c9-1689-41bd-af50-ef825e838770" providerId="ADAL" clId="{F452BC9E-5BE8-4A0B-9F00-66A7219A31DE}" dt="2022-06-29T07:01:41.561" v="1440" actId="478"/>
          <ac:spMkLst>
            <pc:docMk/>
            <pc:sldMk cId="948348094" sldId="2147470203"/>
            <ac:spMk id="5" creationId="{CFAECF37-EFA1-40C3-95C9-0DD13A08A8DF}"/>
          </ac:spMkLst>
        </pc:spChg>
        <pc:spChg chg="del">
          <ac:chgData name="Reuben Issac Jacob" userId="a26d73c9-1689-41bd-af50-ef825e838770" providerId="ADAL" clId="{F452BC9E-5BE8-4A0B-9F00-66A7219A31DE}" dt="2022-06-29T07:01:41.561" v="1440" actId="478"/>
          <ac:spMkLst>
            <pc:docMk/>
            <pc:sldMk cId="948348094" sldId="2147470203"/>
            <ac:spMk id="6" creationId="{C7120402-5C3A-492C-95D5-846C5E58124F}"/>
          </ac:spMkLst>
        </pc:spChg>
        <pc:spChg chg="del">
          <ac:chgData name="Reuben Issac Jacob" userId="a26d73c9-1689-41bd-af50-ef825e838770" providerId="ADAL" clId="{F452BC9E-5BE8-4A0B-9F00-66A7219A31DE}" dt="2022-06-29T07:01:41.561" v="1440" actId="478"/>
          <ac:spMkLst>
            <pc:docMk/>
            <pc:sldMk cId="948348094" sldId="2147470203"/>
            <ac:spMk id="9" creationId="{7FF3A39F-0A31-4A47-BDC7-3C2D1DDF549E}"/>
          </ac:spMkLst>
        </pc:spChg>
        <pc:spChg chg="del">
          <ac:chgData name="Reuben Issac Jacob" userId="a26d73c9-1689-41bd-af50-ef825e838770" providerId="ADAL" clId="{F452BC9E-5BE8-4A0B-9F00-66A7219A31DE}" dt="2022-06-29T07:01:41.561" v="1440" actId="478"/>
          <ac:spMkLst>
            <pc:docMk/>
            <pc:sldMk cId="948348094" sldId="2147470203"/>
            <ac:spMk id="10" creationId="{C7C29985-626F-4F5E-9E7F-5FB1AAF615D0}"/>
          </ac:spMkLst>
        </pc:spChg>
        <pc:spChg chg="del">
          <ac:chgData name="Reuben Issac Jacob" userId="a26d73c9-1689-41bd-af50-ef825e838770" providerId="ADAL" clId="{F452BC9E-5BE8-4A0B-9F00-66A7219A31DE}" dt="2022-06-29T07:01:41.561" v="1440" actId="478"/>
          <ac:spMkLst>
            <pc:docMk/>
            <pc:sldMk cId="948348094" sldId="2147470203"/>
            <ac:spMk id="11" creationId="{9752ED6A-CABE-40AF-89FB-4ADE9D636FA2}"/>
          </ac:spMkLst>
        </pc:spChg>
        <pc:spChg chg="del">
          <ac:chgData name="Reuben Issac Jacob" userId="a26d73c9-1689-41bd-af50-ef825e838770" providerId="ADAL" clId="{F452BC9E-5BE8-4A0B-9F00-66A7219A31DE}" dt="2022-06-29T07:01:41.561" v="1440" actId="478"/>
          <ac:spMkLst>
            <pc:docMk/>
            <pc:sldMk cId="948348094" sldId="2147470203"/>
            <ac:spMk id="12" creationId="{79C48E8B-FC88-496D-8EDA-8B17757323AF}"/>
          </ac:spMkLst>
        </pc:spChg>
        <pc:spChg chg="del">
          <ac:chgData name="Reuben Issac Jacob" userId="a26d73c9-1689-41bd-af50-ef825e838770" providerId="ADAL" clId="{F452BC9E-5BE8-4A0B-9F00-66A7219A31DE}" dt="2022-06-29T07:01:41.561" v="1440" actId="478"/>
          <ac:spMkLst>
            <pc:docMk/>
            <pc:sldMk cId="948348094" sldId="2147470203"/>
            <ac:spMk id="13" creationId="{E2A36F78-4080-4A33-B81C-6579CB917A8A}"/>
          </ac:spMkLst>
        </pc:spChg>
        <pc:spChg chg="del">
          <ac:chgData name="Reuben Issac Jacob" userId="a26d73c9-1689-41bd-af50-ef825e838770" providerId="ADAL" clId="{F452BC9E-5BE8-4A0B-9F00-66A7219A31DE}" dt="2022-06-29T07:01:41.561" v="1440" actId="478"/>
          <ac:spMkLst>
            <pc:docMk/>
            <pc:sldMk cId="948348094" sldId="2147470203"/>
            <ac:spMk id="14" creationId="{9B144972-155C-43FE-966D-E2185179BF2C}"/>
          </ac:spMkLst>
        </pc:spChg>
        <pc:spChg chg="del">
          <ac:chgData name="Reuben Issac Jacob" userId="a26d73c9-1689-41bd-af50-ef825e838770" providerId="ADAL" clId="{F452BC9E-5BE8-4A0B-9F00-66A7219A31DE}" dt="2022-06-29T07:01:41.561" v="1440" actId="478"/>
          <ac:spMkLst>
            <pc:docMk/>
            <pc:sldMk cId="948348094" sldId="2147470203"/>
            <ac:spMk id="15" creationId="{DDEA8E53-4623-4D66-9C45-6FEA50F21FE2}"/>
          </ac:spMkLst>
        </pc:spChg>
        <pc:spChg chg="del">
          <ac:chgData name="Reuben Issac Jacob" userId="a26d73c9-1689-41bd-af50-ef825e838770" providerId="ADAL" clId="{F452BC9E-5BE8-4A0B-9F00-66A7219A31DE}" dt="2022-06-29T07:01:41.561" v="1440" actId="478"/>
          <ac:spMkLst>
            <pc:docMk/>
            <pc:sldMk cId="948348094" sldId="2147470203"/>
            <ac:spMk id="16" creationId="{B6B60B65-A81F-4C52-AE24-8A52F71C0C49}"/>
          </ac:spMkLst>
        </pc:spChg>
        <pc:spChg chg="del">
          <ac:chgData name="Reuben Issac Jacob" userId="a26d73c9-1689-41bd-af50-ef825e838770" providerId="ADAL" clId="{F452BC9E-5BE8-4A0B-9F00-66A7219A31DE}" dt="2022-06-29T07:01:41.561" v="1440" actId="478"/>
          <ac:spMkLst>
            <pc:docMk/>
            <pc:sldMk cId="948348094" sldId="2147470203"/>
            <ac:spMk id="21" creationId="{1F0F31F0-C28C-4A44-88B5-058AD85E8822}"/>
          </ac:spMkLst>
        </pc:spChg>
        <pc:spChg chg="del">
          <ac:chgData name="Reuben Issac Jacob" userId="a26d73c9-1689-41bd-af50-ef825e838770" providerId="ADAL" clId="{F452BC9E-5BE8-4A0B-9F00-66A7219A31DE}" dt="2022-06-29T07:01:41.561" v="1440" actId="478"/>
          <ac:spMkLst>
            <pc:docMk/>
            <pc:sldMk cId="948348094" sldId="2147470203"/>
            <ac:spMk id="22" creationId="{843391CD-3E9D-40D2-82CB-2042485FC105}"/>
          </ac:spMkLst>
        </pc:spChg>
        <pc:spChg chg="del">
          <ac:chgData name="Reuben Issac Jacob" userId="a26d73c9-1689-41bd-af50-ef825e838770" providerId="ADAL" clId="{F452BC9E-5BE8-4A0B-9F00-66A7219A31DE}" dt="2022-06-29T07:01:41.561" v="1440" actId="478"/>
          <ac:spMkLst>
            <pc:docMk/>
            <pc:sldMk cId="948348094" sldId="2147470203"/>
            <ac:spMk id="23" creationId="{1D1BD2DC-96D9-4070-8A85-DBB67909D3D8}"/>
          </ac:spMkLst>
        </pc:spChg>
        <pc:spChg chg="del">
          <ac:chgData name="Reuben Issac Jacob" userId="a26d73c9-1689-41bd-af50-ef825e838770" providerId="ADAL" clId="{F452BC9E-5BE8-4A0B-9F00-66A7219A31DE}" dt="2022-06-29T07:01:41.561" v="1440" actId="478"/>
          <ac:spMkLst>
            <pc:docMk/>
            <pc:sldMk cId="948348094" sldId="2147470203"/>
            <ac:spMk id="27" creationId="{47EEFF69-CEFE-4786-9C5A-21B5023D16F5}"/>
          </ac:spMkLst>
        </pc:spChg>
        <pc:spChg chg="del">
          <ac:chgData name="Reuben Issac Jacob" userId="a26d73c9-1689-41bd-af50-ef825e838770" providerId="ADAL" clId="{F452BC9E-5BE8-4A0B-9F00-66A7219A31DE}" dt="2022-06-29T07:01:41.561" v="1440" actId="478"/>
          <ac:spMkLst>
            <pc:docMk/>
            <pc:sldMk cId="948348094" sldId="2147470203"/>
            <ac:spMk id="30" creationId="{039C6C45-EDB4-4A4C-8221-F22882A8096E}"/>
          </ac:spMkLst>
        </pc:spChg>
        <pc:spChg chg="del">
          <ac:chgData name="Reuben Issac Jacob" userId="a26d73c9-1689-41bd-af50-ef825e838770" providerId="ADAL" clId="{F452BC9E-5BE8-4A0B-9F00-66A7219A31DE}" dt="2022-06-29T07:01:41.561" v="1440" actId="478"/>
          <ac:spMkLst>
            <pc:docMk/>
            <pc:sldMk cId="948348094" sldId="2147470203"/>
            <ac:spMk id="31" creationId="{EB35BA8C-BEF9-490B-AD30-05132EDD0B55}"/>
          </ac:spMkLst>
        </pc:spChg>
        <pc:spChg chg="add mod topLvl">
          <ac:chgData name="Reuben Issac Jacob" userId="a26d73c9-1689-41bd-af50-ef825e838770" providerId="ADAL" clId="{F452BC9E-5BE8-4A0B-9F00-66A7219A31DE}" dt="2022-06-29T14:57:56.912" v="3226" actId="207"/>
          <ac:spMkLst>
            <pc:docMk/>
            <pc:sldMk cId="948348094" sldId="2147470203"/>
            <ac:spMk id="35" creationId="{2C723F43-A9D2-0FDD-5134-29EDB3EB0D80}"/>
          </ac:spMkLst>
        </pc:spChg>
        <pc:spChg chg="add mod topLvl">
          <ac:chgData name="Reuben Issac Jacob" userId="a26d73c9-1689-41bd-af50-ef825e838770" providerId="ADAL" clId="{F452BC9E-5BE8-4A0B-9F00-66A7219A31DE}" dt="2022-06-29T14:57:56.912" v="3226" actId="207"/>
          <ac:spMkLst>
            <pc:docMk/>
            <pc:sldMk cId="948348094" sldId="2147470203"/>
            <ac:spMk id="36" creationId="{9747D158-7E0B-770E-EE0C-805EE6BD1BCE}"/>
          </ac:spMkLst>
        </pc:spChg>
        <pc:spChg chg="add mod topLvl">
          <ac:chgData name="Reuben Issac Jacob" userId="a26d73c9-1689-41bd-af50-ef825e838770" providerId="ADAL" clId="{F452BC9E-5BE8-4A0B-9F00-66A7219A31DE}" dt="2022-06-29T14:57:56.912" v="3226" actId="207"/>
          <ac:spMkLst>
            <pc:docMk/>
            <pc:sldMk cId="948348094" sldId="2147470203"/>
            <ac:spMk id="37" creationId="{E7FB2CFA-E042-8519-2877-FD8B06F7A9A7}"/>
          </ac:spMkLst>
        </pc:spChg>
        <pc:spChg chg="add mod">
          <ac:chgData name="Reuben Issac Jacob" userId="a26d73c9-1689-41bd-af50-ef825e838770" providerId="ADAL" clId="{F452BC9E-5BE8-4A0B-9F00-66A7219A31DE}" dt="2022-06-29T20:19:52.086" v="3636" actId="164"/>
          <ac:spMkLst>
            <pc:docMk/>
            <pc:sldMk cId="948348094" sldId="2147470203"/>
            <ac:spMk id="38" creationId="{4BD252DC-F8E9-19DA-153E-3899DA31BF9E}"/>
          </ac:spMkLst>
        </pc:spChg>
        <pc:spChg chg="del">
          <ac:chgData name="Reuben Issac Jacob" userId="a26d73c9-1689-41bd-af50-ef825e838770" providerId="ADAL" clId="{F452BC9E-5BE8-4A0B-9F00-66A7219A31DE}" dt="2022-06-29T07:01:41.561" v="1440" actId="478"/>
          <ac:spMkLst>
            <pc:docMk/>
            <pc:sldMk cId="948348094" sldId="2147470203"/>
            <ac:spMk id="39" creationId="{F899F96F-82F3-481A-8BA3-8193193C08B4}"/>
          </ac:spMkLst>
        </pc:spChg>
        <pc:spChg chg="del">
          <ac:chgData name="Reuben Issac Jacob" userId="a26d73c9-1689-41bd-af50-ef825e838770" providerId="ADAL" clId="{F452BC9E-5BE8-4A0B-9F00-66A7219A31DE}" dt="2022-06-29T07:01:41.561" v="1440" actId="478"/>
          <ac:spMkLst>
            <pc:docMk/>
            <pc:sldMk cId="948348094" sldId="2147470203"/>
            <ac:spMk id="41" creationId="{E3FA3E52-AA97-499E-9EBE-BE8F8163D092}"/>
          </ac:spMkLst>
        </pc:spChg>
        <pc:spChg chg="del">
          <ac:chgData name="Reuben Issac Jacob" userId="a26d73c9-1689-41bd-af50-ef825e838770" providerId="ADAL" clId="{F452BC9E-5BE8-4A0B-9F00-66A7219A31DE}" dt="2022-06-29T07:01:41.561" v="1440" actId="478"/>
          <ac:spMkLst>
            <pc:docMk/>
            <pc:sldMk cId="948348094" sldId="2147470203"/>
            <ac:spMk id="42" creationId="{988E255D-0452-4DE8-9EC0-E2A626A77D97}"/>
          </ac:spMkLst>
        </pc:spChg>
        <pc:spChg chg="add mod">
          <ac:chgData name="Reuben Issac Jacob" userId="a26d73c9-1689-41bd-af50-ef825e838770" providerId="ADAL" clId="{F452BC9E-5BE8-4A0B-9F00-66A7219A31DE}" dt="2022-06-29T20:23:38.955" v="3682" actId="164"/>
          <ac:spMkLst>
            <pc:docMk/>
            <pc:sldMk cId="948348094" sldId="2147470203"/>
            <ac:spMk id="47" creationId="{9A82321F-A252-09A4-42E8-2040C2E14CE2}"/>
          </ac:spMkLst>
        </pc:spChg>
        <pc:spChg chg="add mod">
          <ac:chgData name="Reuben Issac Jacob" userId="a26d73c9-1689-41bd-af50-ef825e838770" providerId="ADAL" clId="{F452BC9E-5BE8-4A0B-9F00-66A7219A31DE}" dt="2022-06-29T20:20:16.228" v="3641" actId="164"/>
          <ac:spMkLst>
            <pc:docMk/>
            <pc:sldMk cId="948348094" sldId="2147470203"/>
            <ac:spMk id="49" creationId="{80C87A8C-C41F-D004-C4B0-37E6AC20A52A}"/>
          </ac:spMkLst>
        </pc:spChg>
        <pc:spChg chg="add mod">
          <ac:chgData name="Reuben Issac Jacob" userId="a26d73c9-1689-41bd-af50-ef825e838770" providerId="ADAL" clId="{F452BC9E-5BE8-4A0B-9F00-66A7219A31DE}" dt="2022-06-29T20:22:32.211" v="3669" actId="164"/>
          <ac:spMkLst>
            <pc:docMk/>
            <pc:sldMk cId="948348094" sldId="2147470203"/>
            <ac:spMk id="50" creationId="{AB49A610-E441-8BA0-594E-8225FF76CB35}"/>
          </ac:spMkLst>
        </pc:spChg>
        <pc:spChg chg="add mod">
          <ac:chgData name="Reuben Issac Jacob" userId="a26d73c9-1689-41bd-af50-ef825e838770" providerId="ADAL" clId="{F452BC9E-5BE8-4A0B-9F00-66A7219A31DE}" dt="2022-06-29T20:21:33.026" v="3657" actId="164"/>
          <ac:spMkLst>
            <pc:docMk/>
            <pc:sldMk cId="948348094" sldId="2147470203"/>
            <ac:spMk id="51" creationId="{B0179584-724C-D439-E475-F5359DFF1C8B}"/>
          </ac:spMkLst>
        </pc:spChg>
        <pc:spChg chg="add mod">
          <ac:chgData name="Reuben Issac Jacob" userId="a26d73c9-1689-41bd-af50-ef825e838770" providerId="ADAL" clId="{F452BC9E-5BE8-4A0B-9F00-66A7219A31DE}" dt="2022-06-29T20:24:39.594" v="3690" actId="164"/>
          <ac:spMkLst>
            <pc:docMk/>
            <pc:sldMk cId="948348094" sldId="2147470203"/>
            <ac:spMk id="52" creationId="{D5140CF9-E5D3-1430-ADCD-21E13050A8FD}"/>
          </ac:spMkLst>
        </pc:spChg>
        <pc:spChg chg="add mod">
          <ac:chgData name="Reuben Issac Jacob" userId="a26d73c9-1689-41bd-af50-ef825e838770" providerId="ADAL" clId="{F452BC9E-5BE8-4A0B-9F00-66A7219A31DE}" dt="2022-06-29T20:20:16.228" v="3641" actId="164"/>
          <ac:spMkLst>
            <pc:docMk/>
            <pc:sldMk cId="948348094" sldId="2147470203"/>
            <ac:spMk id="53" creationId="{D24150A6-A15B-45E6-219C-1332A84A085A}"/>
          </ac:spMkLst>
        </pc:spChg>
        <pc:spChg chg="add mod">
          <ac:chgData name="Reuben Issac Jacob" userId="a26d73c9-1689-41bd-af50-ef825e838770" providerId="ADAL" clId="{F452BC9E-5BE8-4A0B-9F00-66A7219A31DE}" dt="2022-06-29T20:21:33.026" v="3657" actId="164"/>
          <ac:spMkLst>
            <pc:docMk/>
            <pc:sldMk cId="948348094" sldId="2147470203"/>
            <ac:spMk id="54" creationId="{C4EBE87F-FE0D-1E30-1204-0924E47D9505}"/>
          </ac:spMkLst>
        </pc:spChg>
        <pc:spChg chg="add mod">
          <ac:chgData name="Reuben Issac Jacob" userId="a26d73c9-1689-41bd-af50-ef825e838770" providerId="ADAL" clId="{F452BC9E-5BE8-4A0B-9F00-66A7219A31DE}" dt="2022-06-29T20:22:32.211" v="3669" actId="164"/>
          <ac:spMkLst>
            <pc:docMk/>
            <pc:sldMk cId="948348094" sldId="2147470203"/>
            <ac:spMk id="55" creationId="{47CAAF5C-06E4-3B8D-4CCA-92F141FBA2FC}"/>
          </ac:spMkLst>
        </pc:spChg>
        <pc:spChg chg="add mod">
          <ac:chgData name="Reuben Issac Jacob" userId="a26d73c9-1689-41bd-af50-ef825e838770" providerId="ADAL" clId="{F452BC9E-5BE8-4A0B-9F00-66A7219A31DE}" dt="2022-06-29T20:21:14.004" v="3654" actId="164"/>
          <ac:spMkLst>
            <pc:docMk/>
            <pc:sldMk cId="948348094" sldId="2147470203"/>
            <ac:spMk id="59" creationId="{01810F88-F09F-6A31-BA56-51C7D3D2193C}"/>
          </ac:spMkLst>
        </pc:spChg>
        <pc:spChg chg="add mod">
          <ac:chgData name="Reuben Issac Jacob" userId="a26d73c9-1689-41bd-af50-ef825e838770" providerId="ADAL" clId="{F452BC9E-5BE8-4A0B-9F00-66A7219A31DE}" dt="2022-06-29T20:21:14.004" v="3654" actId="164"/>
          <ac:spMkLst>
            <pc:docMk/>
            <pc:sldMk cId="948348094" sldId="2147470203"/>
            <ac:spMk id="60" creationId="{F3E7B420-ED33-FE28-6556-F8B0EBCB3E5E}"/>
          </ac:spMkLst>
        </pc:spChg>
        <pc:spChg chg="add mod">
          <ac:chgData name="Reuben Issac Jacob" userId="a26d73c9-1689-41bd-af50-ef825e838770" providerId="ADAL" clId="{F452BC9E-5BE8-4A0B-9F00-66A7219A31DE}" dt="2022-06-29T20:22:19.314" v="3666" actId="164"/>
          <ac:spMkLst>
            <pc:docMk/>
            <pc:sldMk cId="948348094" sldId="2147470203"/>
            <ac:spMk id="61" creationId="{A869262E-FC01-410D-E97F-CDAC9CD94D4C}"/>
          </ac:spMkLst>
        </pc:spChg>
        <pc:spChg chg="add mod">
          <ac:chgData name="Reuben Issac Jacob" userId="a26d73c9-1689-41bd-af50-ef825e838770" providerId="ADAL" clId="{F452BC9E-5BE8-4A0B-9F00-66A7219A31DE}" dt="2022-06-29T20:21:35.965" v="3658" actId="164"/>
          <ac:spMkLst>
            <pc:docMk/>
            <pc:sldMk cId="948348094" sldId="2147470203"/>
            <ac:spMk id="62" creationId="{61BB1A0B-DD35-96A6-F198-D12987F610ED}"/>
          </ac:spMkLst>
        </pc:spChg>
        <pc:spChg chg="add mod">
          <ac:chgData name="Reuben Issac Jacob" userId="a26d73c9-1689-41bd-af50-ef825e838770" providerId="ADAL" clId="{F452BC9E-5BE8-4A0B-9F00-66A7219A31DE}" dt="2022-06-29T20:22:19.314" v="3666" actId="164"/>
          <ac:spMkLst>
            <pc:docMk/>
            <pc:sldMk cId="948348094" sldId="2147470203"/>
            <ac:spMk id="63" creationId="{5E6C7377-E5D7-EEAD-7940-437418334870}"/>
          </ac:spMkLst>
        </pc:spChg>
        <pc:spChg chg="add mod">
          <ac:chgData name="Reuben Issac Jacob" userId="a26d73c9-1689-41bd-af50-ef825e838770" providerId="ADAL" clId="{F452BC9E-5BE8-4A0B-9F00-66A7219A31DE}" dt="2022-06-29T20:21:35.965" v="3658" actId="164"/>
          <ac:spMkLst>
            <pc:docMk/>
            <pc:sldMk cId="948348094" sldId="2147470203"/>
            <ac:spMk id="64" creationId="{2B752B4F-FCD2-23D4-7366-EC60D87B7047}"/>
          </ac:spMkLst>
        </pc:spChg>
        <pc:spChg chg="add mod">
          <ac:chgData name="Reuben Issac Jacob" userId="a26d73c9-1689-41bd-af50-ef825e838770" providerId="ADAL" clId="{F452BC9E-5BE8-4A0B-9F00-66A7219A31DE}" dt="2022-06-29T20:21:14.004" v="3654" actId="164"/>
          <ac:spMkLst>
            <pc:docMk/>
            <pc:sldMk cId="948348094" sldId="2147470203"/>
            <ac:spMk id="66" creationId="{E0A87AF1-A5A6-966D-4C51-99289C3B1349}"/>
          </ac:spMkLst>
        </pc:spChg>
        <pc:spChg chg="add mod">
          <ac:chgData name="Reuben Issac Jacob" userId="a26d73c9-1689-41bd-af50-ef825e838770" providerId="ADAL" clId="{F452BC9E-5BE8-4A0B-9F00-66A7219A31DE}" dt="2022-06-29T20:21:14.004" v="3654" actId="164"/>
          <ac:spMkLst>
            <pc:docMk/>
            <pc:sldMk cId="948348094" sldId="2147470203"/>
            <ac:spMk id="67" creationId="{D0B841CD-360D-6405-61E7-1D50AE6BE1A3}"/>
          </ac:spMkLst>
        </pc:spChg>
        <pc:spChg chg="del">
          <ac:chgData name="Reuben Issac Jacob" userId="a26d73c9-1689-41bd-af50-ef825e838770" providerId="ADAL" clId="{F452BC9E-5BE8-4A0B-9F00-66A7219A31DE}" dt="2022-06-29T07:01:54.556" v="1442" actId="478"/>
          <ac:spMkLst>
            <pc:docMk/>
            <pc:sldMk cId="948348094" sldId="2147470203"/>
            <ac:spMk id="174" creationId="{3E268E3D-3F25-44DE-AC53-9D719FED69C2}"/>
          </ac:spMkLst>
        </pc:spChg>
        <pc:grpChg chg="add del mod">
          <ac:chgData name="Reuben Issac Jacob" userId="a26d73c9-1689-41bd-af50-ef825e838770" providerId="ADAL" clId="{F452BC9E-5BE8-4A0B-9F00-66A7219A31DE}" dt="2022-06-29T07:03:55.176" v="1538" actId="165"/>
          <ac:grpSpMkLst>
            <pc:docMk/>
            <pc:sldMk cId="948348094" sldId="2147470203"/>
            <ac:grpSpMk id="4" creationId="{709E1613-6D79-F82A-9CBB-30B6E92CF18B}"/>
          </ac:grpSpMkLst>
        </pc:grpChg>
        <pc:grpChg chg="add mod">
          <ac:chgData name="Reuben Issac Jacob" userId="a26d73c9-1689-41bd-af50-ef825e838770" providerId="ADAL" clId="{F452BC9E-5BE8-4A0B-9F00-66A7219A31DE}" dt="2022-06-29T20:19:52.086" v="3636" actId="164"/>
          <ac:grpSpMkLst>
            <pc:docMk/>
            <pc:sldMk cId="948348094" sldId="2147470203"/>
            <ac:grpSpMk id="8" creationId="{F730E212-069F-B8AF-1BFF-8DBC8CDA4AC1}"/>
          </ac:grpSpMkLst>
        </pc:grpChg>
        <pc:grpChg chg="add mod">
          <ac:chgData name="Reuben Issac Jacob" userId="a26d73c9-1689-41bd-af50-ef825e838770" providerId="ADAL" clId="{F452BC9E-5BE8-4A0B-9F00-66A7219A31DE}" dt="2022-06-29T20:20:16.228" v="3641" actId="164"/>
          <ac:grpSpMkLst>
            <pc:docMk/>
            <pc:sldMk cId="948348094" sldId="2147470203"/>
            <ac:grpSpMk id="17" creationId="{5038E646-F493-E8D1-1A65-81F6C5A4B13D}"/>
          </ac:grpSpMkLst>
        </pc:grpChg>
        <pc:grpChg chg="add mod">
          <ac:chgData name="Reuben Issac Jacob" userId="a26d73c9-1689-41bd-af50-ef825e838770" providerId="ADAL" clId="{F452BC9E-5BE8-4A0B-9F00-66A7219A31DE}" dt="2022-06-29T20:21:14.004" v="3654" actId="164"/>
          <ac:grpSpMkLst>
            <pc:docMk/>
            <pc:sldMk cId="948348094" sldId="2147470203"/>
            <ac:grpSpMk id="18" creationId="{22CE6E40-489D-7A93-91D6-EEB8F4CC1959}"/>
          </ac:grpSpMkLst>
        </pc:grpChg>
        <pc:grpChg chg="add mod">
          <ac:chgData name="Reuben Issac Jacob" userId="a26d73c9-1689-41bd-af50-ef825e838770" providerId="ADAL" clId="{F452BC9E-5BE8-4A0B-9F00-66A7219A31DE}" dt="2022-06-29T20:21:33.026" v="3657" actId="164"/>
          <ac:grpSpMkLst>
            <pc:docMk/>
            <pc:sldMk cId="948348094" sldId="2147470203"/>
            <ac:grpSpMk id="19" creationId="{83E9F26D-9781-A049-6C47-E42A9E48E4F1}"/>
          </ac:grpSpMkLst>
        </pc:grpChg>
        <pc:grpChg chg="add mod">
          <ac:chgData name="Reuben Issac Jacob" userId="a26d73c9-1689-41bd-af50-ef825e838770" providerId="ADAL" clId="{F452BC9E-5BE8-4A0B-9F00-66A7219A31DE}" dt="2022-06-29T20:21:35.965" v="3658" actId="164"/>
          <ac:grpSpMkLst>
            <pc:docMk/>
            <pc:sldMk cId="948348094" sldId="2147470203"/>
            <ac:grpSpMk id="20" creationId="{FC83288D-5E4D-93FF-922C-9E83AE02224C}"/>
          </ac:grpSpMkLst>
        </pc:grpChg>
        <pc:grpChg chg="add mod">
          <ac:chgData name="Reuben Issac Jacob" userId="a26d73c9-1689-41bd-af50-ef825e838770" providerId="ADAL" clId="{F452BC9E-5BE8-4A0B-9F00-66A7219A31DE}" dt="2022-06-29T20:22:19.314" v="3666" actId="164"/>
          <ac:grpSpMkLst>
            <pc:docMk/>
            <pc:sldMk cId="948348094" sldId="2147470203"/>
            <ac:grpSpMk id="24" creationId="{54AD8C9A-D22E-CDA5-E987-6BDD9864D351}"/>
          </ac:grpSpMkLst>
        </pc:grpChg>
        <pc:grpChg chg="add mod">
          <ac:chgData name="Reuben Issac Jacob" userId="a26d73c9-1689-41bd-af50-ef825e838770" providerId="ADAL" clId="{F452BC9E-5BE8-4A0B-9F00-66A7219A31DE}" dt="2022-06-29T20:23:08.808" v="3676" actId="164"/>
          <ac:grpSpMkLst>
            <pc:docMk/>
            <pc:sldMk cId="948348094" sldId="2147470203"/>
            <ac:grpSpMk id="25" creationId="{63709EC3-F618-D5E0-6AD5-A7B62DBAD819}"/>
          </ac:grpSpMkLst>
        </pc:grpChg>
        <pc:grpChg chg="add mod">
          <ac:chgData name="Reuben Issac Jacob" userId="a26d73c9-1689-41bd-af50-ef825e838770" providerId="ADAL" clId="{F452BC9E-5BE8-4A0B-9F00-66A7219A31DE}" dt="2022-06-29T20:23:08.808" v="3676" actId="164"/>
          <ac:grpSpMkLst>
            <pc:docMk/>
            <pc:sldMk cId="948348094" sldId="2147470203"/>
            <ac:grpSpMk id="26" creationId="{298FA58B-F03B-47AC-C024-74C3645D1A36}"/>
          </ac:grpSpMkLst>
        </pc:grpChg>
        <pc:grpChg chg="add mod">
          <ac:chgData name="Reuben Issac Jacob" userId="a26d73c9-1689-41bd-af50-ef825e838770" providerId="ADAL" clId="{F452BC9E-5BE8-4A0B-9F00-66A7219A31DE}" dt="2022-06-29T20:23:38.955" v="3682" actId="164"/>
          <ac:grpSpMkLst>
            <pc:docMk/>
            <pc:sldMk cId="948348094" sldId="2147470203"/>
            <ac:grpSpMk id="28" creationId="{D6996920-DDB2-9515-2006-82FA23A7F616}"/>
          </ac:grpSpMkLst>
        </pc:grpChg>
        <pc:grpChg chg="add mod">
          <ac:chgData name="Reuben Issac Jacob" userId="a26d73c9-1689-41bd-af50-ef825e838770" providerId="ADAL" clId="{F452BC9E-5BE8-4A0B-9F00-66A7219A31DE}" dt="2022-06-29T20:24:39.594" v="3690" actId="164"/>
          <ac:grpSpMkLst>
            <pc:docMk/>
            <pc:sldMk cId="948348094" sldId="2147470203"/>
            <ac:grpSpMk id="32" creationId="{7319CEF5-37AA-DDCB-41C1-9B9918FEF07D}"/>
          </ac:grpSpMkLst>
        </pc:grpChg>
        <pc:grpChg chg="del">
          <ac:chgData name="Reuben Issac Jacob" userId="a26d73c9-1689-41bd-af50-ef825e838770" providerId="ADAL" clId="{F452BC9E-5BE8-4A0B-9F00-66A7219A31DE}" dt="2022-06-29T07:01:41.561" v="1440" actId="478"/>
          <ac:grpSpMkLst>
            <pc:docMk/>
            <pc:sldMk cId="948348094" sldId="2147470203"/>
            <ac:grpSpMk id="40" creationId="{F18A258D-27B1-4A26-9B2A-CD93000EDDE8}"/>
          </ac:grpSpMkLst>
        </pc:grpChg>
        <pc:picChg chg="add del mod">
          <ac:chgData name="Reuben Issac Jacob" userId="a26d73c9-1689-41bd-af50-ef825e838770" providerId="ADAL" clId="{F452BC9E-5BE8-4A0B-9F00-66A7219A31DE}" dt="2022-06-29T07:05:47.527" v="1564"/>
          <ac:picMkLst>
            <pc:docMk/>
            <pc:sldMk cId="948348094" sldId="2147470203"/>
            <ac:picMk id="7" creationId="{7C37A859-3230-4DD4-C737-1D39D0B31E4C}"/>
          </ac:picMkLst>
        </pc:picChg>
        <pc:picChg chg="del">
          <ac:chgData name="Reuben Issac Jacob" userId="a26d73c9-1689-41bd-af50-ef825e838770" providerId="ADAL" clId="{F452BC9E-5BE8-4A0B-9F00-66A7219A31DE}" dt="2022-06-29T07:01:41.561" v="1440" actId="478"/>
          <ac:picMkLst>
            <pc:docMk/>
            <pc:sldMk cId="948348094" sldId="2147470203"/>
            <ac:picMk id="29" creationId="{5C57D7CE-82C5-4605-9D02-3D696164F1C5}"/>
          </ac:picMkLst>
        </pc:picChg>
        <pc:picChg chg="del">
          <ac:chgData name="Reuben Issac Jacob" userId="a26d73c9-1689-41bd-af50-ef825e838770" providerId="ADAL" clId="{F452BC9E-5BE8-4A0B-9F00-66A7219A31DE}" dt="2022-06-29T07:01:41.561" v="1440" actId="478"/>
          <ac:picMkLst>
            <pc:docMk/>
            <pc:sldMk cId="948348094" sldId="2147470203"/>
            <ac:picMk id="33" creationId="{F91DFF57-242D-472F-A8B2-2F0187698AAF}"/>
          </ac:picMkLst>
        </pc:picChg>
        <pc:picChg chg="del">
          <ac:chgData name="Reuben Issac Jacob" userId="a26d73c9-1689-41bd-af50-ef825e838770" providerId="ADAL" clId="{F452BC9E-5BE8-4A0B-9F00-66A7219A31DE}" dt="2022-06-29T07:01:41.561" v="1440" actId="478"/>
          <ac:picMkLst>
            <pc:docMk/>
            <pc:sldMk cId="948348094" sldId="2147470203"/>
            <ac:picMk id="34" creationId="{D54634F3-BB0D-498C-BADA-B7AF9F093312}"/>
          </ac:picMkLst>
        </pc:picChg>
        <pc:picChg chg="add del mod">
          <ac:chgData name="Reuben Issac Jacob" userId="a26d73c9-1689-41bd-af50-ef825e838770" providerId="ADAL" clId="{F452BC9E-5BE8-4A0B-9F00-66A7219A31DE}" dt="2022-06-29T07:05:36.450" v="1560"/>
          <ac:picMkLst>
            <pc:docMk/>
            <pc:sldMk cId="948348094" sldId="2147470203"/>
            <ac:picMk id="45" creationId="{E2CE4F26-FFB0-DD34-3994-B38792E38F32}"/>
          </ac:picMkLst>
        </pc:picChg>
        <pc:picChg chg="add mod">
          <ac:chgData name="Reuben Issac Jacob" userId="a26d73c9-1689-41bd-af50-ef825e838770" providerId="ADAL" clId="{F452BC9E-5BE8-4A0B-9F00-66A7219A31DE}" dt="2022-06-29T20:19:52.086" v="3636" actId="164"/>
          <ac:picMkLst>
            <pc:docMk/>
            <pc:sldMk cId="948348094" sldId="2147470203"/>
            <ac:picMk id="46" creationId="{5E0A62DA-E6A6-F097-4F08-60AA21002352}"/>
          </ac:picMkLst>
        </pc:picChg>
        <pc:picChg chg="add mod">
          <ac:chgData name="Reuben Issac Jacob" userId="a26d73c9-1689-41bd-af50-ef825e838770" providerId="ADAL" clId="{F452BC9E-5BE8-4A0B-9F00-66A7219A31DE}" dt="2022-06-29T20:23:38.955" v="3682" actId="164"/>
          <ac:picMkLst>
            <pc:docMk/>
            <pc:sldMk cId="948348094" sldId="2147470203"/>
            <ac:picMk id="48" creationId="{058F19E5-C619-414F-1117-638778BB39AA}"/>
          </ac:picMkLst>
        </pc:picChg>
        <pc:picChg chg="add mod">
          <ac:chgData name="Reuben Issac Jacob" userId="a26d73c9-1689-41bd-af50-ef825e838770" providerId="ADAL" clId="{F452BC9E-5BE8-4A0B-9F00-66A7219A31DE}" dt="2022-06-29T20:20:16.228" v="3641" actId="164"/>
          <ac:picMkLst>
            <pc:docMk/>
            <pc:sldMk cId="948348094" sldId="2147470203"/>
            <ac:picMk id="56" creationId="{A214EE2A-3A7C-CA63-8D50-F554C3FBF831}"/>
          </ac:picMkLst>
        </pc:picChg>
        <pc:picChg chg="add mod">
          <ac:chgData name="Reuben Issac Jacob" userId="a26d73c9-1689-41bd-af50-ef825e838770" providerId="ADAL" clId="{F452BC9E-5BE8-4A0B-9F00-66A7219A31DE}" dt="2022-06-29T20:23:08.808" v="3676" actId="164"/>
          <ac:picMkLst>
            <pc:docMk/>
            <pc:sldMk cId="948348094" sldId="2147470203"/>
            <ac:picMk id="57" creationId="{3AF4EBE4-B947-1117-E9B6-D436BEDAF21D}"/>
          </ac:picMkLst>
        </pc:picChg>
        <pc:picChg chg="add mod">
          <ac:chgData name="Reuben Issac Jacob" userId="a26d73c9-1689-41bd-af50-ef825e838770" providerId="ADAL" clId="{F452BC9E-5BE8-4A0B-9F00-66A7219A31DE}" dt="2022-06-29T20:24:39.594" v="3690" actId="164"/>
          <ac:picMkLst>
            <pc:docMk/>
            <pc:sldMk cId="948348094" sldId="2147470203"/>
            <ac:picMk id="58" creationId="{A5B0B3D3-25B4-9214-CEB5-46CB4B8568C3}"/>
          </ac:picMkLst>
        </pc:picChg>
        <pc:picChg chg="add mod">
          <ac:chgData name="Reuben Issac Jacob" userId="a26d73c9-1689-41bd-af50-ef825e838770" providerId="ADAL" clId="{F452BC9E-5BE8-4A0B-9F00-66A7219A31DE}" dt="2022-06-29T20:21:14.004" v="3654" actId="164"/>
          <ac:picMkLst>
            <pc:docMk/>
            <pc:sldMk cId="948348094" sldId="2147470203"/>
            <ac:picMk id="65" creationId="{39441B92-A1CA-CCE0-8DFD-3E4F2D586DF0}"/>
          </ac:picMkLst>
        </pc:picChg>
        <pc:picChg chg="del">
          <ac:chgData name="Reuben Issac Jacob" userId="a26d73c9-1689-41bd-af50-ef825e838770" providerId="ADAL" clId="{F452BC9E-5BE8-4A0B-9F00-66A7219A31DE}" dt="2022-06-29T07:01:41.561" v="1440" actId="478"/>
          <ac:picMkLst>
            <pc:docMk/>
            <pc:sldMk cId="948348094" sldId="2147470203"/>
            <ac:picMk id="8194" creationId="{A40ADFC0-118D-497E-B211-0B59A5B9AC50}"/>
          </ac:picMkLst>
        </pc:picChg>
        <pc:picChg chg="del">
          <ac:chgData name="Reuben Issac Jacob" userId="a26d73c9-1689-41bd-af50-ef825e838770" providerId="ADAL" clId="{F452BC9E-5BE8-4A0B-9F00-66A7219A31DE}" dt="2022-06-29T07:01:41.561" v="1440" actId="478"/>
          <ac:picMkLst>
            <pc:docMk/>
            <pc:sldMk cId="948348094" sldId="2147470203"/>
            <ac:picMk id="8196" creationId="{C2C7D18C-1C55-4B49-9615-41EB10C3C0C2}"/>
          </ac:picMkLst>
        </pc:picChg>
        <pc:picChg chg="del">
          <ac:chgData name="Reuben Issac Jacob" userId="a26d73c9-1689-41bd-af50-ef825e838770" providerId="ADAL" clId="{F452BC9E-5BE8-4A0B-9F00-66A7219A31DE}" dt="2022-06-29T07:01:41.561" v="1440" actId="478"/>
          <ac:picMkLst>
            <pc:docMk/>
            <pc:sldMk cId="948348094" sldId="2147470203"/>
            <ac:picMk id="8198" creationId="{84C14AE9-D7FC-4D3E-9A96-56360B47748C}"/>
          </ac:picMkLst>
        </pc:picChg>
        <pc:picChg chg="del">
          <ac:chgData name="Reuben Issac Jacob" userId="a26d73c9-1689-41bd-af50-ef825e838770" providerId="ADAL" clId="{F452BC9E-5BE8-4A0B-9F00-66A7219A31DE}" dt="2022-06-29T07:01:41.561" v="1440" actId="478"/>
          <ac:picMkLst>
            <pc:docMk/>
            <pc:sldMk cId="948348094" sldId="2147470203"/>
            <ac:picMk id="8200" creationId="{693BD87C-CFB8-42C7-AA10-32CC6AFEA372}"/>
          </ac:picMkLst>
        </pc:picChg>
      </pc:sldChg>
      <pc:sldChg chg="addSp delSp modSp add mod modAnim chgLayout">
        <pc:chgData name="Reuben Issac Jacob" userId="a26d73c9-1689-41bd-af50-ef825e838770" providerId="ADAL" clId="{F452BC9E-5BE8-4A0B-9F00-66A7219A31DE}" dt="2022-06-29T20:30:00.031" v="3738"/>
        <pc:sldMkLst>
          <pc:docMk/>
          <pc:sldMk cId="3775020641" sldId="2147470204"/>
        </pc:sldMkLst>
        <pc:spChg chg="add mod ord">
          <ac:chgData name="Reuben Issac Jacob" userId="a26d73c9-1689-41bd-af50-ef825e838770" providerId="ADAL" clId="{F452BC9E-5BE8-4A0B-9F00-66A7219A31DE}" dt="2022-06-29T13:30:27.642" v="1819" actId="404"/>
          <ac:spMkLst>
            <pc:docMk/>
            <pc:sldMk cId="3775020641" sldId="2147470204"/>
            <ac:spMk id="4" creationId="{777E5681-60EC-0E39-F74E-A66F2C9619FD}"/>
          </ac:spMkLst>
        </pc:spChg>
        <pc:spChg chg="mod ord">
          <ac:chgData name="Reuben Issac Jacob" userId="a26d73c9-1689-41bd-af50-ef825e838770" providerId="ADAL" clId="{F452BC9E-5BE8-4A0B-9F00-66A7219A31DE}" dt="2022-06-29T13:28:51.446" v="1799" actId="207"/>
          <ac:spMkLst>
            <pc:docMk/>
            <pc:sldMk cId="3775020641" sldId="2147470204"/>
            <ac:spMk id="5" creationId="{F8D7B108-A837-7CD9-02BA-2131187B820E}"/>
          </ac:spMkLst>
        </pc:spChg>
        <pc:spChg chg="add del mod ord">
          <ac:chgData name="Reuben Issac Jacob" userId="a26d73c9-1689-41bd-af50-ef825e838770" providerId="ADAL" clId="{F452BC9E-5BE8-4A0B-9F00-66A7219A31DE}" dt="2022-06-29T13:29:03.207" v="1800" actId="478"/>
          <ac:spMkLst>
            <pc:docMk/>
            <pc:sldMk cId="3775020641" sldId="2147470204"/>
            <ac:spMk id="10" creationId="{39A40880-15C7-52C8-FECD-414346B1642A}"/>
          </ac:spMkLst>
        </pc:spChg>
        <pc:spChg chg="add del mod">
          <ac:chgData name="Reuben Issac Jacob" userId="a26d73c9-1689-41bd-af50-ef825e838770" providerId="ADAL" clId="{F452BC9E-5BE8-4A0B-9F00-66A7219A31DE}" dt="2022-06-29T13:28:02.320" v="1793"/>
          <ac:spMkLst>
            <pc:docMk/>
            <pc:sldMk cId="3775020641" sldId="2147470204"/>
            <ac:spMk id="18" creationId="{AFB0CA20-D020-5111-593E-0E45D6A013D2}"/>
          </ac:spMkLst>
        </pc:spChg>
        <pc:spChg chg="add mod">
          <ac:chgData name="Reuben Issac Jacob" userId="a26d73c9-1689-41bd-af50-ef825e838770" providerId="ADAL" clId="{F452BC9E-5BE8-4A0B-9F00-66A7219A31DE}" dt="2022-06-29T13:30:59.963" v="1821" actId="207"/>
          <ac:spMkLst>
            <pc:docMk/>
            <pc:sldMk cId="3775020641" sldId="2147470204"/>
            <ac:spMk id="21" creationId="{5729059E-DD6F-3865-DC67-7520335D3907}"/>
          </ac:spMkLst>
        </pc:spChg>
        <pc:spChg chg="add mod">
          <ac:chgData name="Reuben Issac Jacob" userId="a26d73c9-1689-41bd-af50-ef825e838770" providerId="ADAL" clId="{F452BC9E-5BE8-4A0B-9F00-66A7219A31DE}" dt="2022-06-29T13:31:19.656" v="1823" actId="114"/>
          <ac:spMkLst>
            <pc:docMk/>
            <pc:sldMk cId="3775020641" sldId="2147470204"/>
            <ac:spMk id="22" creationId="{53629F0A-B58E-9785-D372-3C0CA730DE22}"/>
          </ac:spMkLst>
        </pc:spChg>
        <pc:grpChg chg="mod">
          <ac:chgData name="Reuben Issac Jacob" userId="a26d73c9-1689-41bd-af50-ef825e838770" providerId="ADAL" clId="{F452BC9E-5BE8-4A0B-9F00-66A7219A31DE}" dt="2022-06-29T13:29:06.611" v="1801" actId="1076"/>
          <ac:grpSpMkLst>
            <pc:docMk/>
            <pc:sldMk cId="3775020641" sldId="2147470204"/>
            <ac:grpSpMk id="2" creationId="{E5B39B43-FB6D-4469-8EEC-FB001B8001FF}"/>
          </ac:grpSpMkLst>
        </pc:grpChg>
        <pc:grpChg chg="del">
          <ac:chgData name="Reuben Issac Jacob" userId="a26d73c9-1689-41bd-af50-ef825e838770" providerId="ADAL" clId="{F452BC9E-5BE8-4A0B-9F00-66A7219A31DE}" dt="2022-06-29T13:26:52.892" v="1777" actId="478"/>
          <ac:grpSpMkLst>
            <pc:docMk/>
            <pc:sldMk cId="3775020641" sldId="2147470204"/>
            <ac:grpSpMk id="6" creationId="{F6234252-F699-4CE0-955D-97D3E2F3BE36}"/>
          </ac:grpSpMkLst>
        </pc:grpChg>
        <pc:grpChg chg="del">
          <ac:chgData name="Reuben Issac Jacob" userId="a26d73c9-1689-41bd-af50-ef825e838770" providerId="ADAL" clId="{F452BC9E-5BE8-4A0B-9F00-66A7219A31DE}" dt="2022-06-29T13:26:52.892" v="1777" actId="478"/>
          <ac:grpSpMkLst>
            <pc:docMk/>
            <pc:sldMk cId="3775020641" sldId="2147470204"/>
            <ac:grpSpMk id="7" creationId="{FD22557D-8264-4AD4-B4FF-A5CEBD6B7E18}"/>
          </ac:grpSpMkLst>
        </pc:grpChg>
        <pc:grpChg chg="del">
          <ac:chgData name="Reuben Issac Jacob" userId="a26d73c9-1689-41bd-af50-ef825e838770" providerId="ADAL" clId="{F452BC9E-5BE8-4A0B-9F00-66A7219A31DE}" dt="2022-06-29T13:26:52.892" v="1777" actId="478"/>
          <ac:grpSpMkLst>
            <pc:docMk/>
            <pc:sldMk cId="3775020641" sldId="2147470204"/>
            <ac:grpSpMk id="9" creationId="{328B6A1C-F554-4BB0-8A6E-A5F9F0D5EBF8}"/>
          </ac:grpSpMkLst>
        </pc:grpChg>
        <pc:picChg chg="del">
          <ac:chgData name="Reuben Issac Jacob" userId="a26d73c9-1689-41bd-af50-ef825e838770" providerId="ADAL" clId="{F452BC9E-5BE8-4A0B-9F00-66A7219A31DE}" dt="2022-06-29T13:26:52.892" v="1777" actId="478"/>
          <ac:picMkLst>
            <pc:docMk/>
            <pc:sldMk cId="3775020641" sldId="2147470204"/>
            <ac:picMk id="15" creationId="{DB45B4D0-187C-2830-C4BE-CCF06D798630}"/>
          </ac:picMkLst>
        </pc:picChg>
        <pc:picChg chg="mod">
          <ac:chgData name="Reuben Issac Jacob" userId="a26d73c9-1689-41bd-af50-ef825e838770" providerId="ADAL" clId="{F452BC9E-5BE8-4A0B-9F00-66A7219A31DE}" dt="2022-06-29T13:29:06.611" v="1801" actId="1076"/>
          <ac:picMkLst>
            <pc:docMk/>
            <pc:sldMk cId="3775020641" sldId="2147470204"/>
            <ac:picMk id="91" creationId="{1FBC54F8-E421-4D8B-8936-CF38CED95DC9}"/>
          </ac:picMkLst>
        </pc:picChg>
        <pc:picChg chg="mod">
          <ac:chgData name="Reuben Issac Jacob" userId="a26d73c9-1689-41bd-af50-ef825e838770" providerId="ADAL" clId="{F452BC9E-5BE8-4A0B-9F00-66A7219A31DE}" dt="2022-06-29T13:29:06.611" v="1801" actId="1076"/>
          <ac:picMkLst>
            <pc:docMk/>
            <pc:sldMk cId="3775020641" sldId="2147470204"/>
            <ac:picMk id="34818" creationId="{2853AE16-E275-4E47-8984-771843AA1C56}"/>
          </ac:picMkLst>
        </pc:picChg>
      </pc:sldChg>
      <pc:sldChg chg="addSp delSp modSp new mod modAnim">
        <pc:chgData name="Reuben Issac Jacob" userId="a26d73c9-1689-41bd-af50-ef825e838770" providerId="ADAL" clId="{F452BC9E-5BE8-4A0B-9F00-66A7219A31DE}" dt="2022-06-29T20:31:22.997" v="3758"/>
        <pc:sldMkLst>
          <pc:docMk/>
          <pc:sldMk cId="339005326" sldId="2147470205"/>
        </pc:sldMkLst>
        <pc:spChg chg="mod">
          <ac:chgData name="Reuben Issac Jacob" userId="a26d73c9-1689-41bd-af50-ef825e838770" providerId="ADAL" clId="{F452BC9E-5BE8-4A0B-9F00-66A7219A31DE}" dt="2022-06-29T13:33:01.905" v="1834"/>
          <ac:spMkLst>
            <pc:docMk/>
            <pc:sldMk cId="339005326" sldId="2147470205"/>
            <ac:spMk id="2" creationId="{10D6EC01-5336-CB54-8812-07BA7020A9FB}"/>
          </ac:spMkLst>
        </pc:spChg>
        <pc:spChg chg="mod">
          <ac:chgData name="Reuben Issac Jacob" userId="a26d73c9-1689-41bd-af50-ef825e838770" providerId="ADAL" clId="{F452BC9E-5BE8-4A0B-9F00-66A7219A31DE}" dt="2022-06-29T13:34:04.732" v="1842" actId="207"/>
          <ac:spMkLst>
            <pc:docMk/>
            <pc:sldMk cId="339005326" sldId="2147470205"/>
            <ac:spMk id="3" creationId="{B3E35195-19AD-F2F5-972E-4E2265A091BE}"/>
          </ac:spMkLst>
        </pc:spChg>
        <pc:spChg chg="del">
          <ac:chgData name="Reuben Issac Jacob" userId="a26d73c9-1689-41bd-af50-ef825e838770" providerId="ADAL" clId="{F452BC9E-5BE8-4A0B-9F00-66A7219A31DE}" dt="2022-06-29T13:35:29.790" v="1857" actId="478"/>
          <ac:spMkLst>
            <pc:docMk/>
            <pc:sldMk cId="339005326" sldId="2147470205"/>
            <ac:spMk id="4" creationId="{877CE7C3-7963-055C-3D64-F2F4FF0AB4EB}"/>
          </ac:spMkLst>
        </pc:spChg>
        <pc:spChg chg="add mod">
          <ac:chgData name="Reuben Issac Jacob" userId="a26d73c9-1689-41bd-af50-ef825e838770" providerId="ADAL" clId="{F452BC9E-5BE8-4A0B-9F00-66A7219A31DE}" dt="2022-06-29T13:34:30.753" v="1846" actId="207"/>
          <ac:spMkLst>
            <pc:docMk/>
            <pc:sldMk cId="339005326" sldId="2147470205"/>
            <ac:spMk id="5" creationId="{B9C1D823-250C-79D6-2F2B-1489D5353964}"/>
          </ac:spMkLst>
        </pc:spChg>
        <pc:spChg chg="add mod">
          <ac:chgData name="Reuben Issac Jacob" userId="a26d73c9-1689-41bd-af50-ef825e838770" providerId="ADAL" clId="{F452BC9E-5BE8-4A0B-9F00-66A7219A31DE}" dt="2022-06-29T13:34:41.183" v="1848" actId="208"/>
          <ac:spMkLst>
            <pc:docMk/>
            <pc:sldMk cId="339005326" sldId="2147470205"/>
            <ac:spMk id="6" creationId="{19933413-A87F-0A36-F66B-AB8C1BFC2EFB}"/>
          </ac:spMkLst>
        </pc:spChg>
        <pc:grpChg chg="add mod">
          <ac:chgData name="Reuben Issac Jacob" userId="a26d73c9-1689-41bd-af50-ef825e838770" providerId="ADAL" clId="{F452BC9E-5BE8-4A0B-9F00-66A7219A31DE}" dt="2022-06-29T20:30:34.941" v="3746" actId="1076"/>
          <ac:grpSpMkLst>
            <pc:docMk/>
            <pc:sldMk cId="339005326" sldId="2147470205"/>
            <ac:grpSpMk id="9" creationId="{9AEFE56C-A93C-5613-97EF-808E60EAB9E8}"/>
          </ac:grpSpMkLst>
        </pc:grpChg>
        <pc:picChg chg="add mod ord">
          <ac:chgData name="Reuben Issac Jacob" userId="a26d73c9-1689-41bd-af50-ef825e838770" providerId="ADAL" clId="{F452BC9E-5BE8-4A0B-9F00-66A7219A31DE}" dt="2022-06-29T13:36:53.622" v="1888" actId="164"/>
          <ac:picMkLst>
            <pc:docMk/>
            <pc:sldMk cId="339005326" sldId="2147470205"/>
            <ac:picMk id="7" creationId="{E44B64F4-8162-C43A-7BF7-53EB481A14F1}"/>
          </ac:picMkLst>
        </pc:picChg>
        <pc:picChg chg="add mod">
          <ac:chgData name="Reuben Issac Jacob" userId="a26d73c9-1689-41bd-af50-ef825e838770" providerId="ADAL" clId="{F452BC9E-5BE8-4A0B-9F00-66A7219A31DE}" dt="2022-06-29T13:36:53.622" v="1888" actId="164"/>
          <ac:picMkLst>
            <pc:docMk/>
            <pc:sldMk cId="339005326" sldId="2147470205"/>
            <ac:picMk id="8" creationId="{D8C311F4-6ECA-D84A-E8A1-A60C20DC3A40}"/>
          </ac:picMkLst>
        </pc:picChg>
      </pc:sldChg>
      <pc:sldChg chg="addSp delSp modSp new mod modClrScheme modAnim chgLayout">
        <pc:chgData name="Reuben Issac Jacob" userId="a26d73c9-1689-41bd-af50-ef825e838770" providerId="ADAL" clId="{F452BC9E-5BE8-4A0B-9F00-66A7219A31DE}" dt="2022-06-29T20:38:28.937" v="3829"/>
        <pc:sldMkLst>
          <pc:docMk/>
          <pc:sldMk cId="374825654" sldId="2147470206"/>
        </pc:sldMkLst>
        <pc:spChg chg="add del">
          <ac:chgData name="Reuben Issac Jacob" userId="a26d73c9-1689-41bd-af50-ef825e838770" providerId="ADAL" clId="{F452BC9E-5BE8-4A0B-9F00-66A7219A31DE}" dt="2022-06-29T13:49:21.610" v="2024" actId="700"/>
          <ac:spMkLst>
            <pc:docMk/>
            <pc:sldMk cId="374825654" sldId="2147470206"/>
            <ac:spMk id="2" creationId="{7D30F641-257F-24B1-1AB8-75FC9787E7D2}"/>
          </ac:spMkLst>
        </pc:spChg>
        <pc:spChg chg="mod ord">
          <ac:chgData name="Reuben Issac Jacob" userId="a26d73c9-1689-41bd-af50-ef825e838770" providerId="ADAL" clId="{F452BC9E-5BE8-4A0B-9F00-66A7219A31DE}" dt="2022-06-29T13:49:25.620" v="2025" actId="700"/>
          <ac:spMkLst>
            <pc:docMk/>
            <pc:sldMk cId="374825654" sldId="2147470206"/>
            <ac:spMk id="3" creationId="{AF1A0433-B89A-5F95-8CF8-CA7B1E91C391}"/>
          </ac:spMkLst>
        </pc:spChg>
        <pc:spChg chg="add mod">
          <ac:chgData name="Reuben Issac Jacob" userId="a26d73c9-1689-41bd-af50-ef825e838770" providerId="ADAL" clId="{F452BC9E-5BE8-4A0B-9F00-66A7219A31DE}" dt="2022-06-29T13:55:23.560" v="2082" actId="14100"/>
          <ac:spMkLst>
            <pc:docMk/>
            <pc:sldMk cId="374825654" sldId="2147470206"/>
            <ac:spMk id="4" creationId="{CBA6559B-C5A5-6CE4-EDB9-85D2D52E8248}"/>
          </ac:spMkLst>
        </pc:spChg>
        <pc:spChg chg="add mod">
          <ac:chgData name="Reuben Issac Jacob" userId="a26d73c9-1689-41bd-af50-ef825e838770" providerId="ADAL" clId="{F452BC9E-5BE8-4A0B-9F00-66A7219A31DE}" dt="2022-06-29T14:15:09.452" v="2213" actId="553"/>
          <ac:spMkLst>
            <pc:docMk/>
            <pc:sldMk cId="374825654" sldId="2147470206"/>
            <ac:spMk id="5" creationId="{5138D2FB-DD1F-2EC0-F7D5-3FAC8A263B08}"/>
          </ac:spMkLst>
        </pc:spChg>
        <pc:spChg chg="add mod">
          <ac:chgData name="Reuben Issac Jacob" userId="a26d73c9-1689-41bd-af50-ef825e838770" providerId="ADAL" clId="{F452BC9E-5BE8-4A0B-9F00-66A7219A31DE}" dt="2022-06-29T20:35:19.896" v="3791" actId="164"/>
          <ac:spMkLst>
            <pc:docMk/>
            <pc:sldMk cId="374825654" sldId="2147470206"/>
            <ac:spMk id="6" creationId="{B004511F-D05E-36F2-C55D-CE69491FCE7F}"/>
          </ac:spMkLst>
        </pc:spChg>
        <pc:spChg chg="add mod">
          <ac:chgData name="Reuben Issac Jacob" userId="a26d73c9-1689-41bd-af50-ef825e838770" providerId="ADAL" clId="{F452BC9E-5BE8-4A0B-9F00-66A7219A31DE}" dt="2022-06-29T20:35:28.738" v="3792" actId="164"/>
          <ac:spMkLst>
            <pc:docMk/>
            <pc:sldMk cId="374825654" sldId="2147470206"/>
            <ac:spMk id="7" creationId="{23D916EF-0313-C7CD-8418-FF3262B8B750}"/>
          </ac:spMkLst>
        </pc:spChg>
        <pc:spChg chg="add mod">
          <ac:chgData name="Reuben Issac Jacob" userId="a26d73c9-1689-41bd-af50-ef825e838770" providerId="ADAL" clId="{F452BC9E-5BE8-4A0B-9F00-66A7219A31DE}" dt="2022-06-29T20:35:35.834" v="3794" actId="164"/>
          <ac:spMkLst>
            <pc:docMk/>
            <pc:sldMk cId="374825654" sldId="2147470206"/>
            <ac:spMk id="8" creationId="{E50FCDD5-6C66-C31B-5273-C7AD2C4EEADC}"/>
          </ac:spMkLst>
        </pc:spChg>
        <pc:spChg chg="add mod">
          <ac:chgData name="Reuben Issac Jacob" userId="a26d73c9-1689-41bd-af50-ef825e838770" providerId="ADAL" clId="{F452BC9E-5BE8-4A0B-9F00-66A7219A31DE}" dt="2022-06-29T20:35:31.978" v="3793" actId="164"/>
          <ac:spMkLst>
            <pc:docMk/>
            <pc:sldMk cId="374825654" sldId="2147470206"/>
            <ac:spMk id="9" creationId="{F0470C19-3F86-BAC0-AEA8-B69B977DE836}"/>
          </ac:spMkLst>
        </pc:spChg>
        <pc:spChg chg="add mod">
          <ac:chgData name="Reuben Issac Jacob" userId="a26d73c9-1689-41bd-af50-ef825e838770" providerId="ADAL" clId="{F452BC9E-5BE8-4A0B-9F00-66A7219A31DE}" dt="2022-06-29T20:35:39.591" v="3795" actId="164"/>
          <ac:spMkLst>
            <pc:docMk/>
            <pc:sldMk cId="374825654" sldId="2147470206"/>
            <ac:spMk id="10" creationId="{C9BB3919-E4A7-A246-3D24-5C89DBC4CBEF}"/>
          </ac:spMkLst>
        </pc:spChg>
        <pc:spChg chg="mod">
          <ac:chgData name="Reuben Issac Jacob" userId="a26d73c9-1689-41bd-af50-ef825e838770" providerId="ADAL" clId="{F452BC9E-5BE8-4A0B-9F00-66A7219A31DE}" dt="2022-06-29T13:55:00.700" v="2078"/>
          <ac:spMkLst>
            <pc:docMk/>
            <pc:sldMk cId="374825654" sldId="2147470206"/>
            <ac:spMk id="18" creationId="{E4B607B8-A86D-E06B-BFCB-8FBE3DF0C588}"/>
          </ac:spMkLst>
        </pc:spChg>
        <pc:spChg chg="mod">
          <ac:chgData name="Reuben Issac Jacob" userId="a26d73c9-1689-41bd-af50-ef825e838770" providerId="ADAL" clId="{F452BC9E-5BE8-4A0B-9F00-66A7219A31DE}" dt="2022-06-29T13:55:00.700" v="2078"/>
          <ac:spMkLst>
            <pc:docMk/>
            <pc:sldMk cId="374825654" sldId="2147470206"/>
            <ac:spMk id="19" creationId="{66C7814A-B970-781E-60B6-83447CF851DD}"/>
          </ac:spMkLst>
        </pc:spChg>
        <pc:spChg chg="mod">
          <ac:chgData name="Reuben Issac Jacob" userId="a26d73c9-1689-41bd-af50-ef825e838770" providerId="ADAL" clId="{F452BC9E-5BE8-4A0B-9F00-66A7219A31DE}" dt="2022-06-29T13:55:00.700" v="2078"/>
          <ac:spMkLst>
            <pc:docMk/>
            <pc:sldMk cId="374825654" sldId="2147470206"/>
            <ac:spMk id="20" creationId="{850C2E0F-4F6A-5314-396A-DBDB2CB86920}"/>
          </ac:spMkLst>
        </pc:spChg>
        <pc:spChg chg="add mod">
          <ac:chgData name="Reuben Issac Jacob" userId="a26d73c9-1689-41bd-af50-ef825e838770" providerId="ADAL" clId="{F452BC9E-5BE8-4A0B-9F00-66A7219A31DE}" dt="2022-06-29T20:35:19.896" v="3791" actId="164"/>
          <ac:spMkLst>
            <pc:docMk/>
            <pc:sldMk cId="374825654" sldId="2147470206"/>
            <ac:spMk id="21" creationId="{8ACC687B-803A-BB64-0FB0-943D9247C2EC}"/>
          </ac:spMkLst>
        </pc:spChg>
        <pc:spChg chg="add mod">
          <ac:chgData name="Reuben Issac Jacob" userId="a26d73c9-1689-41bd-af50-ef825e838770" providerId="ADAL" clId="{F452BC9E-5BE8-4A0B-9F00-66A7219A31DE}" dt="2022-06-29T20:35:28.738" v="3792" actId="164"/>
          <ac:spMkLst>
            <pc:docMk/>
            <pc:sldMk cId="374825654" sldId="2147470206"/>
            <ac:spMk id="22" creationId="{2BF392F7-7BFF-7F90-AE6E-2AEFB1C7D666}"/>
          </ac:spMkLst>
        </pc:spChg>
        <pc:spChg chg="add mod">
          <ac:chgData name="Reuben Issac Jacob" userId="a26d73c9-1689-41bd-af50-ef825e838770" providerId="ADAL" clId="{F452BC9E-5BE8-4A0B-9F00-66A7219A31DE}" dt="2022-06-29T20:35:35.834" v="3794" actId="164"/>
          <ac:spMkLst>
            <pc:docMk/>
            <pc:sldMk cId="374825654" sldId="2147470206"/>
            <ac:spMk id="23" creationId="{D09F0440-DD30-7E99-8FF3-763ADD58D62A}"/>
          </ac:spMkLst>
        </pc:spChg>
        <pc:spChg chg="add mod">
          <ac:chgData name="Reuben Issac Jacob" userId="a26d73c9-1689-41bd-af50-ef825e838770" providerId="ADAL" clId="{F452BC9E-5BE8-4A0B-9F00-66A7219A31DE}" dt="2022-06-29T20:35:31.978" v="3793" actId="164"/>
          <ac:spMkLst>
            <pc:docMk/>
            <pc:sldMk cId="374825654" sldId="2147470206"/>
            <ac:spMk id="24" creationId="{9642E5BB-C305-C291-F2AE-0CFAE8096A03}"/>
          </ac:spMkLst>
        </pc:spChg>
        <pc:spChg chg="add mod">
          <ac:chgData name="Reuben Issac Jacob" userId="a26d73c9-1689-41bd-af50-ef825e838770" providerId="ADAL" clId="{F452BC9E-5BE8-4A0B-9F00-66A7219A31DE}" dt="2022-06-29T20:35:39.591" v="3795" actId="164"/>
          <ac:spMkLst>
            <pc:docMk/>
            <pc:sldMk cId="374825654" sldId="2147470206"/>
            <ac:spMk id="25" creationId="{38D80056-DACA-B4C5-6119-7E18147513D0}"/>
          </ac:spMkLst>
        </pc:spChg>
        <pc:spChg chg="add mod">
          <ac:chgData name="Reuben Issac Jacob" userId="a26d73c9-1689-41bd-af50-ef825e838770" providerId="ADAL" clId="{F452BC9E-5BE8-4A0B-9F00-66A7219A31DE}" dt="2022-06-29T13:59:24.418" v="2123" actId="12788"/>
          <ac:spMkLst>
            <pc:docMk/>
            <pc:sldMk cId="374825654" sldId="2147470206"/>
            <ac:spMk id="27" creationId="{2A8C00B3-D9A9-A5C2-2F68-FD6943F05A26}"/>
          </ac:spMkLst>
        </pc:spChg>
        <pc:spChg chg="add mod">
          <ac:chgData name="Reuben Issac Jacob" userId="a26d73c9-1689-41bd-af50-ef825e838770" providerId="ADAL" clId="{F452BC9E-5BE8-4A0B-9F00-66A7219A31DE}" dt="2022-06-29T13:59:24.418" v="2123" actId="12788"/>
          <ac:spMkLst>
            <pc:docMk/>
            <pc:sldMk cId="374825654" sldId="2147470206"/>
            <ac:spMk id="28" creationId="{2988D4D3-E0DC-6A62-0172-BC9474C11025}"/>
          </ac:spMkLst>
        </pc:spChg>
        <pc:spChg chg="mod topLvl">
          <ac:chgData name="Reuben Issac Jacob" userId="a26d73c9-1689-41bd-af50-ef825e838770" providerId="ADAL" clId="{F452BC9E-5BE8-4A0B-9F00-66A7219A31DE}" dt="2022-06-29T14:00:21.879" v="2132" actId="164"/>
          <ac:spMkLst>
            <pc:docMk/>
            <pc:sldMk cId="374825654" sldId="2147470206"/>
            <ac:spMk id="32" creationId="{81044BAA-C50C-E826-EEDB-4A25C755D636}"/>
          </ac:spMkLst>
        </pc:spChg>
        <pc:spChg chg="mod topLvl">
          <ac:chgData name="Reuben Issac Jacob" userId="a26d73c9-1689-41bd-af50-ef825e838770" providerId="ADAL" clId="{F452BC9E-5BE8-4A0B-9F00-66A7219A31DE}" dt="2022-06-29T14:00:21.879" v="2132" actId="164"/>
          <ac:spMkLst>
            <pc:docMk/>
            <pc:sldMk cId="374825654" sldId="2147470206"/>
            <ac:spMk id="33" creationId="{09EC31C4-CBA9-7DEB-42B1-F1A983A7839B}"/>
          </ac:spMkLst>
        </pc:spChg>
        <pc:spChg chg="add del mod">
          <ac:chgData name="Reuben Issac Jacob" userId="a26d73c9-1689-41bd-af50-ef825e838770" providerId="ADAL" clId="{F452BC9E-5BE8-4A0B-9F00-66A7219A31DE}" dt="2022-06-29T14:00:35.566" v="2134"/>
          <ac:spMkLst>
            <pc:docMk/>
            <pc:sldMk cId="374825654" sldId="2147470206"/>
            <ac:spMk id="35" creationId="{024F86D4-26D5-B148-44AB-F1BCDC6831C5}"/>
          </ac:spMkLst>
        </pc:spChg>
        <pc:spChg chg="mod">
          <ac:chgData name="Reuben Issac Jacob" userId="a26d73c9-1689-41bd-af50-ef825e838770" providerId="ADAL" clId="{F452BC9E-5BE8-4A0B-9F00-66A7219A31DE}" dt="2022-06-29T14:00:38.146" v="2135"/>
          <ac:spMkLst>
            <pc:docMk/>
            <pc:sldMk cId="374825654" sldId="2147470206"/>
            <ac:spMk id="38" creationId="{A93C5286-739A-45CE-5BAB-69880BC2D7AF}"/>
          </ac:spMkLst>
        </pc:spChg>
        <pc:spChg chg="mod">
          <ac:chgData name="Reuben Issac Jacob" userId="a26d73c9-1689-41bd-af50-ef825e838770" providerId="ADAL" clId="{F452BC9E-5BE8-4A0B-9F00-66A7219A31DE}" dt="2022-06-29T14:00:42.872" v="2138" actId="20577"/>
          <ac:spMkLst>
            <pc:docMk/>
            <pc:sldMk cId="374825654" sldId="2147470206"/>
            <ac:spMk id="39" creationId="{05B9850D-B0DE-BBF4-2953-A3AE08B58D1B}"/>
          </ac:spMkLst>
        </pc:spChg>
        <pc:spChg chg="mod">
          <ac:chgData name="Reuben Issac Jacob" userId="a26d73c9-1689-41bd-af50-ef825e838770" providerId="ADAL" clId="{F452BC9E-5BE8-4A0B-9F00-66A7219A31DE}" dt="2022-06-29T14:00:48.774" v="2140"/>
          <ac:spMkLst>
            <pc:docMk/>
            <pc:sldMk cId="374825654" sldId="2147470206"/>
            <ac:spMk id="42" creationId="{5EEC5D3B-9BC7-1C7D-3861-BF5E01462CD8}"/>
          </ac:spMkLst>
        </pc:spChg>
        <pc:spChg chg="mod">
          <ac:chgData name="Reuben Issac Jacob" userId="a26d73c9-1689-41bd-af50-ef825e838770" providerId="ADAL" clId="{F452BC9E-5BE8-4A0B-9F00-66A7219A31DE}" dt="2022-06-29T14:14:38.917" v="2209" actId="1035"/>
          <ac:spMkLst>
            <pc:docMk/>
            <pc:sldMk cId="374825654" sldId="2147470206"/>
            <ac:spMk id="43" creationId="{AAE3BA5C-50E8-5126-8596-7B23E828C188}"/>
          </ac:spMkLst>
        </pc:spChg>
        <pc:spChg chg="mod">
          <ac:chgData name="Reuben Issac Jacob" userId="a26d73c9-1689-41bd-af50-ef825e838770" providerId="ADAL" clId="{F452BC9E-5BE8-4A0B-9F00-66A7219A31DE}" dt="2022-06-29T14:12:02.080" v="2155"/>
          <ac:spMkLst>
            <pc:docMk/>
            <pc:sldMk cId="374825654" sldId="2147470206"/>
            <ac:spMk id="46" creationId="{1C31607D-9131-F2D0-9EF5-FEF96A1ACF0E}"/>
          </ac:spMkLst>
        </pc:spChg>
        <pc:spChg chg="mod">
          <ac:chgData name="Reuben Issac Jacob" userId="a26d73c9-1689-41bd-af50-ef825e838770" providerId="ADAL" clId="{F452BC9E-5BE8-4A0B-9F00-66A7219A31DE}" dt="2022-06-29T14:12:13.730" v="2161" actId="20577"/>
          <ac:spMkLst>
            <pc:docMk/>
            <pc:sldMk cId="374825654" sldId="2147470206"/>
            <ac:spMk id="47" creationId="{EE04DD10-A9C2-6850-08E4-7D3E1B1FE047}"/>
          </ac:spMkLst>
        </pc:spChg>
        <pc:spChg chg="mod">
          <ac:chgData name="Reuben Issac Jacob" userId="a26d73c9-1689-41bd-af50-ef825e838770" providerId="ADAL" clId="{F452BC9E-5BE8-4A0B-9F00-66A7219A31DE}" dt="2022-06-29T14:12:38.353" v="2163"/>
          <ac:spMkLst>
            <pc:docMk/>
            <pc:sldMk cId="374825654" sldId="2147470206"/>
            <ac:spMk id="50" creationId="{26730CEC-02F8-AB8B-D588-C7B7186933B5}"/>
          </ac:spMkLst>
        </pc:spChg>
        <pc:spChg chg="mod">
          <ac:chgData name="Reuben Issac Jacob" userId="a26d73c9-1689-41bd-af50-ef825e838770" providerId="ADAL" clId="{F452BC9E-5BE8-4A0B-9F00-66A7219A31DE}" dt="2022-06-29T14:12:43.106" v="2166" actId="20577"/>
          <ac:spMkLst>
            <pc:docMk/>
            <pc:sldMk cId="374825654" sldId="2147470206"/>
            <ac:spMk id="51" creationId="{C5FFCFD0-BB05-F9F5-525C-EE3233DFD285}"/>
          </ac:spMkLst>
        </pc:spChg>
        <pc:spChg chg="mod">
          <ac:chgData name="Reuben Issac Jacob" userId="a26d73c9-1689-41bd-af50-ef825e838770" providerId="ADAL" clId="{F452BC9E-5BE8-4A0B-9F00-66A7219A31DE}" dt="2022-06-29T14:12:48.688" v="2168"/>
          <ac:spMkLst>
            <pc:docMk/>
            <pc:sldMk cId="374825654" sldId="2147470206"/>
            <ac:spMk id="54" creationId="{7A320E24-4A47-A890-0D48-2D82D25621E4}"/>
          </ac:spMkLst>
        </pc:spChg>
        <pc:spChg chg="mod">
          <ac:chgData name="Reuben Issac Jacob" userId="a26d73c9-1689-41bd-af50-ef825e838770" providerId="ADAL" clId="{F452BC9E-5BE8-4A0B-9F00-66A7219A31DE}" dt="2022-06-29T14:12:53.581" v="2170" actId="20577"/>
          <ac:spMkLst>
            <pc:docMk/>
            <pc:sldMk cId="374825654" sldId="2147470206"/>
            <ac:spMk id="55" creationId="{6E85C6A9-9F1B-325C-9EC5-5BE2895E9EF8}"/>
          </ac:spMkLst>
        </pc:spChg>
        <pc:spChg chg="mod">
          <ac:chgData name="Reuben Issac Jacob" userId="a26d73c9-1689-41bd-af50-ef825e838770" providerId="ADAL" clId="{F452BC9E-5BE8-4A0B-9F00-66A7219A31DE}" dt="2022-06-29T14:13:15.039" v="2174"/>
          <ac:spMkLst>
            <pc:docMk/>
            <pc:sldMk cId="374825654" sldId="2147470206"/>
            <ac:spMk id="58" creationId="{F8B3D56E-6655-4B42-E06F-8F10DAB0F04C}"/>
          </ac:spMkLst>
        </pc:spChg>
        <pc:spChg chg="mod">
          <ac:chgData name="Reuben Issac Jacob" userId="a26d73c9-1689-41bd-af50-ef825e838770" providerId="ADAL" clId="{F452BC9E-5BE8-4A0B-9F00-66A7219A31DE}" dt="2022-06-29T14:14:50.804" v="2211" actId="1036"/>
          <ac:spMkLst>
            <pc:docMk/>
            <pc:sldMk cId="374825654" sldId="2147470206"/>
            <ac:spMk id="59" creationId="{F9BD8154-7A0B-CFDF-217F-3249B803614A}"/>
          </ac:spMkLst>
        </pc:spChg>
        <pc:spChg chg="add mod">
          <ac:chgData name="Reuben Issac Jacob" userId="a26d73c9-1689-41bd-af50-ef825e838770" providerId="ADAL" clId="{F452BC9E-5BE8-4A0B-9F00-66A7219A31DE}" dt="2022-06-29T20:37:23.564" v="3813" actId="164"/>
          <ac:spMkLst>
            <pc:docMk/>
            <pc:sldMk cId="374825654" sldId="2147470206"/>
            <ac:spMk id="60" creationId="{789E4BB0-850E-24AA-09F1-FBCC20AC7FA9}"/>
          </ac:spMkLst>
        </pc:spChg>
        <pc:spChg chg="add mod">
          <ac:chgData name="Reuben Issac Jacob" userId="a26d73c9-1689-41bd-af50-ef825e838770" providerId="ADAL" clId="{F452BC9E-5BE8-4A0B-9F00-66A7219A31DE}" dt="2022-06-29T14:16:57.389" v="2231" actId="1076"/>
          <ac:spMkLst>
            <pc:docMk/>
            <pc:sldMk cId="374825654" sldId="2147470206"/>
            <ac:spMk id="61" creationId="{5CD98B1C-EB4C-F302-F5B5-EE882291FFE0}"/>
          </ac:spMkLst>
        </pc:spChg>
        <pc:spChg chg="add mod">
          <ac:chgData name="Reuben Issac Jacob" userId="a26d73c9-1689-41bd-af50-ef825e838770" providerId="ADAL" clId="{F452BC9E-5BE8-4A0B-9F00-66A7219A31DE}" dt="2022-06-29T14:16:57.389" v="2231" actId="1076"/>
          <ac:spMkLst>
            <pc:docMk/>
            <pc:sldMk cId="374825654" sldId="2147470206"/>
            <ac:spMk id="62" creationId="{DA9A1D2B-9379-6392-DA0E-450CFAE3C045}"/>
          </ac:spMkLst>
        </pc:spChg>
        <pc:spChg chg="add mod">
          <ac:chgData name="Reuben Issac Jacob" userId="a26d73c9-1689-41bd-af50-ef825e838770" providerId="ADAL" clId="{F452BC9E-5BE8-4A0B-9F00-66A7219A31DE}" dt="2022-06-29T14:16:57.389" v="2231" actId="1076"/>
          <ac:spMkLst>
            <pc:docMk/>
            <pc:sldMk cId="374825654" sldId="2147470206"/>
            <ac:spMk id="63" creationId="{6D35538C-2DCE-DAF7-B5DE-F9ABFA524491}"/>
          </ac:spMkLst>
        </pc:spChg>
        <pc:spChg chg="add mod">
          <ac:chgData name="Reuben Issac Jacob" userId="a26d73c9-1689-41bd-af50-ef825e838770" providerId="ADAL" clId="{F452BC9E-5BE8-4A0B-9F00-66A7219A31DE}" dt="2022-06-29T14:16:57.389" v="2231" actId="1076"/>
          <ac:spMkLst>
            <pc:docMk/>
            <pc:sldMk cId="374825654" sldId="2147470206"/>
            <ac:spMk id="64" creationId="{0DFD580B-7ADA-7CCD-C46C-7BAB0832148B}"/>
          </ac:spMkLst>
        </pc:spChg>
        <pc:spChg chg="add mod">
          <ac:chgData name="Reuben Issac Jacob" userId="a26d73c9-1689-41bd-af50-ef825e838770" providerId="ADAL" clId="{F452BC9E-5BE8-4A0B-9F00-66A7219A31DE}" dt="2022-06-29T14:16:57.389" v="2231" actId="1076"/>
          <ac:spMkLst>
            <pc:docMk/>
            <pc:sldMk cId="374825654" sldId="2147470206"/>
            <ac:spMk id="65" creationId="{5EC9D529-BBFE-C3AF-7C4B-434C80B892A2}"/>
          </ac:spMkLst>
        </pc:spChg>
        <pc:spChg chg="add mod">
          <ac:chgData name="Reuben Issac Jacob" userId="a26d73c9-1689-41bd-af50-ef825e838770" providerId="ADAL" clId="{F452BC9E-5BE8-4A0B-9F00-66A7219A31DE}" dt="2022-06-29T14:16:57.389" v="2231" actId="1076"/>
          <ac:spMkLst>
            <pc:docMk/>
            <pc:sldMk cId="374825654" sldId="2147470206"/>
            <ac:spMk id="66" creationId="{70FDA449-1A63-49D6-123F-DC5D46DE24C1}"/>
          </ac:spMkLst>
        </pc:spChg>
        <pc:spChg chg="mod">
          <ac:chgData name="Reuben Issac Jacob" userId="a26d73c9-1689-41bd-af50-ef825e838770" providerId="ADAL" clId="{F452BC9E-5BE8-4A0B-9F00-66A7219A31DE}" dt="2022-06-29T20:37:26.329" v="3814" actId="164"/>
          <ac:spMkLst>
            <pc:docMk/>
            <pc:sldMk cId="374825654" sldId="2147470206"/>
            <ac:spMk id="76" creationId="{B71A5CB6-EE54-C153-F782-51F178A26960}"/>
          </ac:spMkLst>
        </pc:spChg>
        <pc:spChg chg="mod">
          <ac:chgData name="Reuben Issac Jacob" userId="a26d73c9-1689-41bd-af50-ef825e838770" providerId="ADAL" clId="{F452BC9E-5BE8-4A0B-9F00-66A7219A31DE}" dt="2022-06-29T20:37:29.160" v="3815" actId="164"/>
          <ac:spMkLst>
            <pc:docMk/>
            <pc:sldMk cId="374825654" sldId="2147470206"/>
            <ac:spMk id="82" creationId="{72910F75-3AA4-3B6C-29E0-CEE1FD6E9ED7}"/>
          </ac:spMkLst>
        </pc:spChg>
        <pc:spChg chg="mod">
          <ac:chgData name="Reuben Issac Jacob" userId="a26d73c9-1689-41bd-af50-ef825e838770" providerId="ADAL" clId="{F452BC9E-5BE8-4A0B-9F00-66A7219A31DE}" dt="2022-06-29T20:37:31.828" v="3816" actId="164"/>
          <ac:spMkLst>
            <pc:docMk/>
            <pc:sldMk cId="374825654" sldId="2147470206"/>
            <ac:spMk id="90" creationId="{63148D8A-49AB-17D3-4C36-F7AFDBF9090F}"/>
          </ac:spMkLst>
        </pc:spChg>
        <pc:spChg chg="mod">
          <ac:chgData name="Reuben Issac Jacob" userId="a26d73c9-1689-41bd-af50-ef825e838770" providerId="ADAL" clId="{F452BC9E-5BE8-4A0B-9F00-66A7219A31DE}" dt="2022-06-29T20:37:34.392" v="3817" actId="164"/>
          <ac:spMkLst>
            <pc:docMk/>
            <pc:sldMk cId="374825654" sldId="2147470206"/>
            <ac:spMk id="97" creationId="{4D623D7B-44EA-9138-54D5-780DC2C3283E}"/>
          </ac:spMkLst>
        </pc:spChg>
        <pc:spChg chg="mod">
          <ac:chgData name="Reuben Issac Jacob" userId="a26d73c9-1689-41bd-af50-ef825e838770" providerId="ADAL" clId="{F452BC9E-5BE8-4A0B-9F00-66A7219A31DE}" dt="2022-06-29T20:37:37.410" v="3818" actId="164"/>
          <ac:spMkLst>
            <pc:docMk/>
            <pc:sldMk cId="374825654" sldId="2147470206"/>
            <ac:spMk id="105" creationId="{BF664329-A492-EF92-68B7-521539AE8DB3}"/>
          </ac:spMkLst>
        </pc:spChg>
        <pc:spChg chg="mod">
          <ac:chgData name="Reuben Issac Jacob" userId="a26d73c9-1689-41bd-af50-ef825e838770" providerId="ADAL" clId="{F452BC9E-5BE8-4A0B-9F00-66A7219A31DE}" dt="2022-06-29T20:37:40.232" v="3819" actId="164"/>
          <ac:spMkLst>
            <pc:docMk/>
            <pc:sldMk cId="374825654" sldId="2147470206"/>
            <ac:spMk id="106" creationId="{C435498F-F66B-0A5C-2D83-951B6F8CF6DC}"/>
          </ac:spMkLst>
        </pc:spChg>
        <pc:grpChg chg="add del mod">
          <ac:chgData name="Reuben Issac Jacob" userId="a26d73c9-1689-41bd-af50-ef825e838770" providerId="ADAL" clId="{F452BC9E-5BE8-4A0B-9F00-66A7219A31DE}" dt="2022-06-29T13:54:10.969" v="2070" actId="165"/>
          <ac:grpSpMkLst>
            <pc:docMk/>
            <pc:sldMk cId="374825654" sldId="2147470206"/>
            <ac:grpSpMk id="13" creationId="{08096054-2145-16E6-B7AC-35491C9CDE93}"/>
          </ac:grpSpMkLst>
        </pc:grpChg>
        <pc:grpChg chg="add mod">
          <ac:chgData name="Reuben Issac Jacob" userId="a26d73c9-1689-41bd-af50-ef825e838770" providerId="ADAL" clId="{F452BC9E-5BE8-4A0B-9F00-66A7219A31DE}" dt="2022-06-29T20:36:33.254" v="3804" actId="1076"/>
          <ac:grpSpMkLst>
            <pc:docMk/>
            <pc:sldMk cId="374825654" sldId="2147470206"/>
            <ac:grpSpMk id="14" creationId="{27440FE6-4928-6BD2-7245-74C1C3304F9C}"/>
          </ac:grpSpMkLst>
        </pc:grpChg>
        <pc:grpChg chg="add mod">
          <ac:chgData name="Reuben Issac Jacob" userId="a26d73c9-1689-41bd-af50-ef825e838770" providerId="ADAL" clId="{F452BC9E-5BE8-4A0B-9F00-66A7219A31DE}" dt="2022-06-29T20:36:27.547" v="3803" actId="1076"/>
          <ac:grpSpMkLst>
            <pc:docMk/>
            <pc:sldMk cId="374825654" sldId="2147470206"/>
            <ac:grpSpMk id="15" creationId="{3B1E151A-8B8A-F4E7-32FC-61E34DA407EA}"/>
          </ac:grpSpMkLst>
        </pc:grpChg>
        <pc:grpChg chg="add mod">
          <ac:chgData name="Reuben Issac Jacob" userId="a26d73c9-1689-41bd-af50-ef825e838770" providerId="ADAL" clId="{F452BC9E-5BE8-4A0B-9F00-66A7219A31DE}" dt="2022-06-29T20:35:31.978" v="3793" actId="164"/>
          <ac:grpSpMkLst>
            <pc:docMk/>
            <pc:sldMk cId="374825654" sldId="2147470206"/>
            <ac:grpSpMk id="16" creationId="{5BCDC5A9-235C-2B0A-A424-A9ED412ABC5C}"/>
          </ac:grpSpMkLst>
        </pc:grpChg>
        <pc:grpChg chg="add mod">
          <ac:chgData name="Reuben Issac Jacob" userId="a26d73c9-1689-41bd-af50-ef825e838770" providerId="ADAL" clId="{F452BC9E-5BE8-4A0B-9F00-66A7219A31DE}" dt="2022-06-29T13:58:30.093" v="2110" actId="1076"/>
          <ac:grpSpMkLst>
            <pc:docMk/>
            <pc:sldMk cId="374825654" sldId="2147470206"/>
            <ac:grpSpMk id="17" creationId="{3DBB6A02-B3FC-3ED9-7B5E-38EC5F3C59E2}"/>
          </ac:grpSpMkLst>
        </pc:grpChg>
        <pc:grpChg chg="add mod">
          <ac:chgData name="Reuben Issac Jacob" userId="a26d73c9-1689-41bd-af50-ef825e838770" providerId="ADAL" clId="{F452BC9E-5BE8-4A0B-9F00-66A7219A31DE}" dt="2022-06-29T20:35:35.834" v="3794" actId="164"/>
          <ac:grpSpMkLst>
            <pc:docMk/>
            <pc:sldMk cId="374825654" sldId="2147470206"/>
            <ac:grpSpMk id="17" creationId="{4C44FE36-155A-75B2-38D0-ED5881F715AF}"/>
          </ac:grpSpMkLst>
        </pc:grpChg>
        <pc:grpChg chg="add mod">
          <ac:chgData name="Reuben Issac Jacob" userId="a26d73c9-1689-41bd-af50-ef825e838770" providerId="ADAL" clId="{F452BC9E-5BE8-4A0B-9F00-66A7219A31DE}" dt="2022-06-29T20:35:39.591" v="3795" actId="164"/>
          <ac:grpSpMkLst>
            <pc:docMk/>
            <pc:sldMk cId="374825654" sldId="2147470206"/>
            <ac:grpSpMk id="18" creationId="{AE456894-6F5F-3CEB-B9CA-12BF56DCE42A}"/>
          </ac:grpSpMkLst>
        </pc:grpChg>
        <pc:grpChg chg="add mod">
          <ac:chgData name="Reuben Issac Jacob" userId="a26d73c9-1689-41bd-af50-ef825e838770" providerId="ADAL" clId="{F452BC9E-5BE8-4A0B-9F00-66A7219A31DE}" dt="2022-06-29T20:37:23.564" v="3813" actId="164"/>
          <ac:grpSpMkLst>
            <pc:docMk/>
            <pc:sldMk cId="374825654" sldId="2147470206"/>
            <ac:grpSpMk id="19" creationId="{6AFCD429-0897-9846-95E8-D5C2756192E2}"/>
          </ac:grpSpMkLst>
        </pc:grpChg>
        <pc:grpChg chg="add mod">
          <ac:chgData name="Reuben Issac Jacob" userId="a26d73c9-1689-41bd-af50-ef825e838770" providerId="ADAL" clId="{F452BC9E-5BE8-4A0B-9F00-66A7219A31DE}" dt="2022-06-29T20:37:26.329" v="3814" actId="164"/>
          <ac:grpSpMkLst>
            <pc:docMk/>
            <pc:sldMk cId="374825654" sldId="2147470206"/>
            <ac:grpSpMk id="20" creationId="{CD9211BD-D803-7705-109E-B37102FF6700}"/>
          </ac:grpSpMkLst>
        </pc:grpChg>
        <pc:grpChg chg="add mod">
          <ac:chgData name="Reuben Issac Jacob" userId="a26d73c9-1689-41bd-af50-ef825e838770" providerId="ADAL" clId="{F452BC9E-5BE8-4A0B-9F00-66A7219A31DE}" dt="2022-06-29T13:57:22.946" v="2099" actId="12788"/>
          <ac:grpSpMkLst>
            <pc:docMk/>
            <pc:sldMk cId="374825654" sldId="2147470206"/>
            <ac:grpSpMk id="26" creationId="{44EF7EBC-86F2-7A0E-3F23-CEEA7C53FAEC}"/>
          </ac:grpSpMkLst>
        </pc:grpChg>
        <pc:grpChg chg="add mod">
          <ac:chgData name="Reuben Issac Jacob" userId="a26d73c9-1689-41bd-af50-ef825e838770" providerId="ADAL" clId="{F452BC9E-5BE8-4A0B-9F00-66A7219A31DE}" dt="2022-06-29T20:37:29.160" v="3815" actId="164"/>
          <ac:grpSpMkLst>
            <pc:docMk/>
            <pc:sldMk cId="374825654" sldId="2147470206"/>
            <ac:grpSpMk id="26" creationId="{605DC825-A358-587F-4680-7D4241591BF8}"/>
          </ac:grpSpMkLst>
        </pc:grpChg>
        <pc:grpChg chg="add mod">
          <ac:chgData name="Reuben Issac Jacob" userId="a26d73c9-1689-41bd-af50-ef825e838770" providerId="ADAL" clId="{F452BC9E-5BE8-4A0B-9F00-66A7219A31DE}" dt="2022-06-29T13:59:29.684" v="2124" actId="12788"/>
          <ac:grpSpMkLst>
            <pc:docMk/>
            <pc:sldMk cId="374825654" sldId="2147470206"/>
            <ac:grpSpMk id="29" creationId="{501A9386-3E71-DA8F-358C-FDD0C1648B4C}"/>
          </ac:grpSpMkLst>
        </pc:grpChg>
        <pc:grpChg chg="add del mod">
          <ac:chgData name="Reuben Issac Jacob" userId="a26d73c9-1689-41bd-af50-ef825e838770" providerId="ADAL" clId="{F452BC9E-5BE8-4A0B-9F00-66A7219A31DE}" dt="2022-06-29T14:00:00.261" v="2128" actId="165"/>
          <ac:grpSpMkLst>
            <pc:docMk/>
            <pc:sldMk cId="374825654" sldId="2147470206"/>
            <ac:grpSpMk id="30" creationId="{4D0F3451-36CF-C7F1-2B95-236B7824265D}"/>
          </ac:grpSpMkLst>
        </pc:grpChg>
        <pc:grpChg chg="add mod">
          <ac:chgData name="Reuben Issac Jacob" userId="a26d73c9-1689-41bd-af50-ef825e838770" providerId="ADAL" clId="{F452BC9E-5BE8-4A0B-9F00-66A7219A31DE}" dt="2022-06-29T20:37:31.828" v="3816" actId="164"/>
          <ac:grpSpMkLst>
            <pc:docMk/>
            <pc:sldMk cId="374825654" sldId="2147470206"/>
            <ac:grpSpMk id="30" creationId="{D6DCD62D-140E-F206-A875-B8C52CE51F64}"/>
          </ac:grpSpMkLst>
        </pc:grpChg>
        <pc:grpChg chg="add mod">
          <ac:chgData name="Reuben Issac Jacob" userId="a26d73c9-1689-41bd-af50-ef825e838770" providerId="ADAL" clId="{F452BC9E-5BE8-4A0B-9F00-66A7219A31DE}" dt="2022-06-29T14:16:57.389" v="2231" actId="1076"/>
          <ac:grpSpMkLst>
            <pc:docMk/>
            <pc:sldMk cId="374825654" sldId="2147470206"/>
            <ac:grpSpMk id="34" creationId="{C30827CF-AB5E-756E-DDD0-94EA2B911A3D}"/>
          </ac:grpSpMkLst>
        </pc:grpChg>
        <pc:grpChg chg="add mod">
          <ac:chgData name="Reuben Issac Jacob" userId="a26d73c9-1689-41bd-af50-ef825e838770" providerId="ADAL" clId="{F452BC9E-5BE8-4A0B-9F00-66A7219A31DE}" dt="2022-06-29T14:16:57.389" v="2231" actId="1076"/>
          <ac:grpSpMkLst>
            <pc:docMk/>
            <pc:sldMk cId="374825654" sldId="2147470206"/>
            <ac:grpSpMk id="36" creationId="{973DBE82-A1F7-1F64-E7ED-DF26E6BD816C}"/>
          </ac:grpSpMkLst>
        </pc:grpChg>
        <pc:grpChg chg="add mod">
          <ac:chgData name="Reuben Issac Jacob" userId="a26d73c9-1689-41bd-af50-ef825e838770" providerId="ADAL" clId="{F452BC9E-5BE8-4A0B-9F00-66A7219A31DE}" dt="2022-06-29T14:16:57.389" v="2231" actId="1076"/>
          <ac:grpSpMkLst>
            <pc:docMk/>
            <pc:sldMk cId="374825654" sldId="2147470206"/>
            <ac:grpSpMk id="40" creationId="{B0197706-FFCE-5C10-663A-B8555DB21FF3}"/>
          </ac:grpSpMkLst>
        </pc:grpChg>
        <pc:grpChg chg="add mod">
          <ac:chgData name="Reuben Issac Jacob" userId="a26d73c9-1689-41bd-af50-ef825e838770" providerId="ADAL" clId="{F452BC9E-5BE8-4A0B-9F00-66A7219A31DE}" dt="2022-06-29T14:16:57.389" v="2231" actId="1076"/>
          <ac:grpSpMkLst>
            <pc:docMk/>
            <pc:sldMk cId="374825654" sldId="2147470206"/>
            <ac:grpSpMk id="44" creationId="{DB57364E-89C8-B307-68CF-0EE8F1570820}"/>
          </ac:grpSpMkLst>
        </pc:grpChg>
        <pc:grpChg chg="add mod">
          <ac:chgData name="Reuben Issac Jacob" userId="a26d73c9-1689-41bd-af50-ef825e838770" providerId="ADAL" clId="{F452BC9E-5BE8-4A0B-9F00-66A7219A31DE}" dt="2022-06-29T14:16:57.389" v="2231" actId="1076"/>
          <ac:grpSpMkLst>
            <pc:docMk/>
            <pc:sldMk cId="374825654" sldId="2147470206"/>
            <ac:grpSpMk id="48" creationId="{6F3A0026-45C3-B6FA-2C3B-FA16417672A3}"/>
          </ac:grpSpMkLst>
        </pc:grpChg>
        <pc:grpChg chg="add mod">
          <ac:chgData name="Reuben Issac Jacob" userId="a26d73c9-1689-41bd-af50-ef825e838770" providerId="ADAL" clId="{F452BC9E-5BE8-4A0B-9F00-66A7219A31DE}" dt="2022-06-29T14:16:57.389" v="2231" actId="1076"/>
          <ac:grpSpMkLst>
            <pc:docMk/>
            <pc:sldMk cId="374825654" sldId="2147470206"/>
            <ac:grpSpMk id="52" creationId="{5E041265-F2BD-3F9C-7EA0-B9712D666BAA}"/>
          </ac:grpSpMkLst>
        </pc:grpChg>
        <pc:grpChg chg="add mod">
          <ac:chgData name="Reuben Issac Jacob" userId="a26d73c9-1689-41bd-af50-ef825e838770" providerId="ADAL" clId="{F452BC9E-5BE8-4A0B-9F00-66A7219A31DE}" dt="2022-06-29T14:16:57.389" v="2231" actId="1076"/>
          <ac:grpSpMkLst>
            <pc:docMk/>
            <pc:sldMk cId="374825654" sldId="2147470206"/>
            <ac:grpSpMk id="56" creationId="{6FEDFA48-5D42-F593-E9D0-26F6438C7C5B}"/>
          </ac:grpSpMkLst>
        </pc:grpChg>
        <pc:grpChg chg="add mod">
          <ac:chgData name="Reuben Issac Jacob" userId="a26d73c9-1689-41bd-af50-ef825e838770" providerId="ADAL" clId="{F452BC9E-5BE8-4A0B-9F00-66A7219A31DE}" dt="2022-06-29T20:37:34.392" v="3817" actId="164"/>
          <ac:grpSpMkLst>
            <pc:docMk/>
            <pc:sldMk cId="374825654" sldId="2147470206"/>
            <ac:grpSpMk id="67" creationId="{E5C6AA17-5668-1B25-D22F-63C316DCE59B}"/>
          </ac:grpSpMkLst>
        </pc:grpChg>
        <pc:grpChg chg="add mod">
          <ac:chgData name="Reuben Issac Jacob" userId="a26d73c9-1689-41bd-af50-ef825e838770" providerId="ADAL" clId="{F452BC9E-5BE8-4A0B-9F00-66A7219A31DE}" dt="2022-06-29T20:37:37.410" v="3818" actId="164"/>
          <ac:grpSpMkLst>
            <pc:docMk/>
            <pc:sldMk cId="374825654" sldId="2147470206"/>
            <ac:grpSpMk id="68" creationId="{D8D2F18C-9D55-BDE3-B915-6DCCC4FF1C4E}"/>
          </ac:grpSpMkLst>
        </pc:grpChg>
        <pc:grpChg chg="add mod">
          <ac:chgData name="Reuben Issac Jacob" userId="a26d73c9-1689-41bd-af50-ef825e838770" providerId="ADAL" clId="{F452BC9E-5BE8-4A0B-9F00-66A7219A31DE}" dt="2022-06-29T20:37:40.232" v="3819" actId="164"/>
          <ac:grpSpMkLst>
            <pc:docMk/>
            <pc:sldMk cId="374825654" sldId="2147470206"/>
            <ac:grpSpMk id="70" creationId="{17C95F74-526C-6D83-356F-B5A8F49E2B51}"/>
          </ac:grpSpMkLst>
        </pc:grpChg>
        <pc:grpChg chg="mod">
          <ac:chgData name="Reuben Issac Jacob" userId="a26d73c9-1689-41bd-af50-ef825e838770" providerId="ADAL" clId="{F452BC9E-5BE8-4A0B-9F00-66A7219A31DE}" dt="2022-06-29T20:37:23.564" v="3813" actId="164"/>
          <ac:grpSpMkLst>
            <pc:docMk/>
            <pc:sldMk cId="374825654" sldId="2147470206"/>
            <ac:grpSpMk id="78" creationId="{A68B6EE4-4212-A1A3-F049-C432CEDB09E6}"/>
          </ac:grpSpMkLst>
        </pc:grpChg>
        <pc:grpChg chg="mod">
          <ac:chgData name="Reuben Issac Jacob" userId="a26d73c9-1689-41bd-af50-ef825e838770" providerId="ADAL" clId="{F452BC9E-5BE8-4A0B-9F00-66A7219A31DE}" dt="2022-06-29T20:37:26.329" v="3814" actId="164"/>
          <ac:grpSpMkLst>
            <pc:docMk/>
            <pc:sldMk cId="374825654" sldId="2147470206"/>
            <ac:grpSpMk id="79" creationId="{CBAFF60F-EB81-8A10-31F3-5187C394A407}"/>
          </ac:grpSpMkLst>
        </pc:grpChg>
        <pc:grpChg chg="mod">
          <ac:chgData name="Reuben Issac Jacob" userId="a26d73c9-1689-41bd-af50-ef825e838770" providerId="ADAL" clId="{F452BC9E-5BE8-4A0B-9F00-66A7219A31DE}" dt="2022-06-29T20:37:29.160" v="3815" actId="164"/>
          <ac:grpSpMkLst>
            <pc:docMk/>
            <pc:sldMk cId="374825654" sldId="2147470206"/>
            <ac:grpSpMk id="83" creationId="{5081C3C9-32A4-B96C-487D-E5BD656D4C68}"/>
          </ac:grpSpMkLst>
        </pc:grpChg>
        <pc:grpChg chg="mod">
          <ac:chgData name="Reuben Issac Jacob" userId="a26d73c9-1689-41bd-af50-ef825e838770" providerId="ADAL" clId="{F452BC9E-5BE8-4A0B-9F00-66A7219A31DE}" dt="2022-06-29T20:37:31.828" v="3816" actId="164"/>
          <ac:grpSpMkLst>
            <pc:docMk/>
            <pc:sldMk cId="374825654" sldId="2147470206"/>
            <ac:grpSpMk id="91" creationId="{E62553BA-D8C7-28E7-3CF0-964FE0673901}"/>
          </ac:grpSpMkLst>
        </pc:grpChg>
        <pc:grpChg chg="mod">
          <ac:chgData name="Reuben Issac Jacob" userId="a26d73c9-1689-41bd-af50-ef825e838770" providerId="ADAL" clId="{F452BC9E-5BE8-4A0B-9F00-66A7219A31DE}" dt="2022-06-29T20:37:34.392" v="3817" actId="164"/>
          <ac:grpSpMkLst>
            <pc:docMk/>
            <pc:sldMk cId="374825654" sldId="2147470206"/>
            <ac:grpSpMk id="94" creationId="{713E38EB-4A2F-3A59-5B29-09770630C101}"/>
          </ac:grpSpMkLst>
        </pc:grpChg>
        <pc:grpChg chg="mod">
          <ac:chgData name="Reuben Issac Jacob" userId="a26d73c9-1689-41bd-af50-ef825e838770" providerId="ADAL" clId="{F452BC9E-5BE8-4A0B-9F00-66A7219A31DE}" dt="2022-06-29T20:37:37.410" v="3818" actId="164"/>
          <ac:grpSpMkLst>
            <pc:docMk/>
            <pc:sldMk cId="374825654" sldId="2147470206"/>
            <ac:grpSpMk id="98" creationId="{804A50E1-4D21-5F86-4EA8-5053B1579929}"/>
          </ac:grpSpMkLst>
        </pc:grpChg>
        <pc:grpChg chg="mod">
          <ac:chgData name="Reuben Issac Jacob" userId="a26d73c9-1689-41bd-af50-ef825e838770" providerId="ADAL" clId="{F452BC9E-5BE8-4A0B-9F00-66A7219A31DE}" dt="2022-06-29T20:37:40.232" v="3819" actId="164"/>
          <ac:grpSpMkLst>
            <pc:docMk/>
            <pc:sldMk cId="374825654" sldId="2147470206"/>
            <ac:grpSpMk id="107" creationId="{8E7B2847-95D0-7517-1ADD-81ADD241C311}"/>
          </ac:grpSpMkLst>
        </pc:grpChg>
        <pc:picChg chg="add del mod">
          <ac:chgData name="Reuben Issac Jacob" userId="a26d73c9-1689-41bd-af50-ef825e838770" providerId="ADAL" clId="{F452BC9E-5BE8-4A0B-9F00-66A7219A31DE}" dt="2022-06-29T20:36:09.935" v="3799" actId="478"/>
          <ac:picMkLst>
            <pc:docMk/>
            <pc:sldMk cId="374825654" sldId="2147470206"/>
            <ac:picMk id="11" creationId="{43203475-4F4F-C1DF-FD20-025ACEC20B03}"/>
          </ac:picMkLst>
        </pc:picChg>
        <pc:picChg chg="add del mod">
          <ac:chgData name="Reuben Issac Jacob" userId="a26d73c9-1689-41bd-af50-ef825e838770" providerId="ADAL" clId="{F452BC9E-5BE8-4A0B-9F00-66A7219A31DE}" dt="2022-06-29T20:36:17.972" v="3802" actId="478"/>
          <ac:picMkLst>
            <pc:docMk/>
            <pc:sldMk cId="374825654" sldId="2147470206"/>
            <ac:picMk id="12" creationId="{368FFA45-3071-6508-4BC1-EF5B0A5245C4}"/>
          </ac:picMkLst>
        </pc:picChg>
        <pc:picChg chg="mod">
          <ac:chgData name="Reuben Issac Jacob" userId="a26d73c9-1689-41bd-af50-ef825e838770" providerId="ADAL" clId="{F452BC9E-5BE8-4A0B-9F00-66A7219A31DE}" dt="2022-06-29T20:35:19.896" v="3791" actId="164"/>
          <ac:picMkLst>
            <pc:docMk/>
            <pc:sldMk cId="374825654" sldId="2147470206"/>
            <ac:picMk id="13" creationId="{3A6FB30C-70E7-41A9-B25D-B302D8502410}"/>
          </ac:picMkLst>
        </pc:picChg>
        <pc:picChg chg="mod topLvl">
          <ac:chgData name="Reuben Issac Jacob" userId="a26d73c9-1689-41bd-af50-ef825e838770" providerId="ADAL" clId="{F452BC9E-5BE8-4A0B-9F00-66A7219A31DE}" dt="2022-06-29T13:57:01.684" v="2096" actId="164"/>
          <ac:picMkLst>
            <pc:docMk/>
            <pc:sldMk cId="374825654" sldId="2147470206"/>
            <ac:picMk id="14" creationId="{E3121A0C-3215-C601-3FF7-BB3B31F8D0EB}"/>
          </ac:picMkLst>
        </pc:picChg>
        <pc:picChg chg="mod topLvl">
          <ac:chgData name="Reuben Issac Jacob" userId="a26d73c9-1689-41bd-af50-ef825e838770" providerId="ADAL" clId="{F452BC9E-5BE8-4A0B-9F00-66A7219A31DE}" dt="2022-06-29T13:57:01.684" v="2096" actId="164"/>
          <ac:picMkLst>
            <pc:docMk/>
            <pc:sldMk cId="374825654" sldId="2147470206"/>
            <ac:picMk id="15" creationId="{54849833-7305-3373-1DD1-E822435D8673}"/>
          </ac:picMkLst>
        </pc:picChg>
        <pc:picChg chg="mod topLvl">
          <ac:chgData name="Reuben Issac Jacob" userId="a26d73c9-1689-41bd-af50-ef825e838770" providerId="ADAL" clId="{F452BC9E-5BE8-4A0B-9F00-66A7219A31DE}" dt="2022-06-29T13:57:01.684" v="2096" actId="164"/>
          <ac:picMkLst>
            <pc:docMk/>
            <pc:sldMk cId="374825654" sldId="2147470206"/>
            <ac:picMk id="16" creationId="{94440639-CD56-C9D4-942E-43A5E5156270}"/>
          </ac:picMkLst>
        </pc:picChg>
        <pc:picChg chg="mod topLvl">
          <ac:chgData name="Reuben Issac Jacob" userId="a26d73c9-1689-41bd-af50-ef825e838770" providerId="ADAL" clId="{F452BC9E-5BE8-4A0B-9F00-66A7219A31DE}" dt="2022-06-29T14:00:21.879" v="2132" actId="164"/>
          <ac:picMkLst>
            <pc:docMk/>
            <pc:sldMk cId="374825654" sldId="2147470206"/>
            <ac:picMk id="31" creationId="{2B92B4FC-6CD3-94CD-4865-800FF6FC2D79}"/>
          </ac:picMkLst>
        </pc:picChg>
        <pc:picChg chg="mod">
          <ac:chgData name="Reuben Issac Jacob" userId="a26d73c9-1689-41bd-af50-ef825e838770" providerId="ADAL" clId="{F452BC9E-5BE8-4A0B-9F00-66A7219A31DE}" dt="2022-06-29T20:35:28.738" v="3792" actId="164"/>
          <ac:picMkLst>
            <pc:docMk/>
            <pc:sldMk cId="374825654" sldId="2147470206"/>
            <ac:picMk id="35" creationId="{624561BB-5113-4353-5A37-A54308AC539A}"/>
          </ac:picMkLst>
        </pc:picChg>
        <pc:picChg chg="mod">
          <ac:chgData name="Reuben Issac Jacob" userId="a26d73c9-1689-41bd-af50-ef825e838770" providerId="ADAL" clId="{F452BC9E-5BE8-4A0B-9F00-66A7219A31DE}" dt="2022-06-29T14:00:38.146" v="2135"/>
          <ac:picMkLst>
            <pc:docMk/>
            <pc:sldMk cId="374825654" sldId="2147470206"/>
            <ac:picMk id="37" creationId="{44B49E7A-8968-A166-1AA3-51F4315780F6}"/>
          </ac:picMkLst>
        </pc:picChg>
        <pc:picChg chg="mod">
          <ac:chgData name="Reuben Issac Jacob" userId="a26d73c9-1689-41bd-af50-ef825e838770" providerId="ADAL" clId="{F452BC9E-5BE8-4A0B-9F00-66A7219A31DE}" dt="2022-06-29T14:00:48.774" v="2140"/>
          <ac:picMkLst>
            <pc:docMk/>
            <pc:sldMk cId="374825654" sldId="2147470206"/>
            <ac:picMk id="41" creationId="{79AB4CB2-8CE9-B184-054A-F952FF753F43}"/>
          </ac:picMkLst>
        </pc:picChg>
        <pc:picChg chg="mod">
          <ac:chgData name="Reuben Issac Jacob" userId="a26d73c9-1689-41bd-af50-ef825e838770" providerId="ADAL" clId="{F452BC9E-5BE8-4A0B-9F00-66A7219A31DE}" dt="2022-06-29T14:12:02.080" v="2155"/>
          <ac:picMkLst>
            <pc:docMk/>
            <pc:sldMk cId="374825654" sldId="2147470206"/>
            <ac:picMk id="45" creationId="{5C7907E0-8F93-664F-5278-51C92061FA2F}"/>
          </ac:picMkLst>
        </pc:picChg>
        <pc:picChg chg="mod">
          <ac:chgData name="Reuben Issac Jacob" userId="a26d73c9-1689-41bd-af50-ef825e838770" providerId="ADAL" clId="{F452BC9E-5BE8-4A0B-9F00-66A7219A31DE}" dt="2022-06-29T14:12:38.353" v="2163"/>
          <ac:picMkLst>
            <pc:docMk/>
            <pc:sldMk cId="374825654" sldId="2147470206"/>
            <ac:picMk id="49" creationId="{CEA87A32-6732-E46D-249D-D31930565159}"/>
          </ac:picMkLst>
        </pc:picChg>
        <pc:picChg chg="mod">
          <ac:chgData name="Reuben Issac Jacob" userId="a26d73c9-1689-41bd-af50-ef825e838770" providerId="ADAL" clId="{F452BC9E-5BE8-4A0B-9F00-66A7219A31DE}" dt="2022-06-29T14:12:48.688" v="2168"/>
          <ac:picMkLst>
            <pc:docMk/>
            <pc:sldMk cId="374825654" sldId="2147470206"/>
            <ac:picMk id="53" creationId="{8AEA2E7B-2E77-3379-C5DB-27D4F312891C}"/>
          </ac:picMkLst>
        </pc:picChg>
        <pc:picChg chg="mod">
          <ac:chgData name="Reuben Issac Jacob" userId="a26d73c9-1689-41bd-af50-ef825e838770" providerId="ADAL" clId="{F452BC9E-5BE8-4A0B-9F00-66A7219A31DE}" dt="2022-06-29T14:13:15.039" v="2174"/>
          <ac:picMkLst>
            <pc:docMk/>
            <pc:sldMk cId="374825654" sldId="2147470206"/>
            <ac:picMk id="57" creationId="{4D9DDA0D-1CD2-1574-7286-73EA7473DE28}"/>
          </ac:picMkLst>
        </pc:picChg>
        <pc:picChg chg="add mod">
          <ac:chgData name="Reuben Issac Jacob" userId="a26d73c9-1689-41bd-af50-ef825e838770" providerId="ADAL" clId="{F452BC9E-5BE8-4A0B-9F00-66A7219A31DE}" dt="2022-06-29T14:17:12.070" v="2233" actId="1076"/>
          <ac:picMkLst>
            <pc:docMk/>
            <pc:sldMk cId="374825654" sldId="2147470206"/>
            <ac:picMk id="67" creationId="{25AF3324-1C74-780E-2A77-3E767735EB69}"/>
          </ac:picMkLst>
        </pc:picChg>
        <pc:picChg chg="mod">
          <ac:chgData name="Reuben Issac Jacob" userId="a26d73c9-1689-41bd-af50-ef825e838770" providerId="ADAL" clId="{F452BC9E-5BE8-4A0B-9F00-66A7219A31DE}" dt="2022-06-29T20:35:31.978" v="3793" actId="164"/>
          <ac:picMkLst>
            <pc:docMk/>
            <pc:sldMk cId="374825654" sldId="2147470206"/>
            <ac:picMk id="69" creationId="{EAC76FD1-1768-81E0-CA59-5AB5DF7EEE2D}"/>
          </ac:picMkLst>
        </pc:picChg>
        <pc:picChg chg="mod">
          <ac:chgData name="Reuben Issac Jacob" userId="a26d73c9-1689-41bd-af50-ef825e838770" providerId="ADAL" clId="{F452BC9E-5BE8-4A0B-9F00-66A7219A31DE}" dt="2022-06-29T20:35:35.834" v="3794" actId="164"/>
          <ac:picMkLst>
            <pc:docMk/>
            <pc:sldMk cId="374825654" sldId="2147470206"/>
            <ac:picMk id="71" creationId="{0DCF24D3-1766-8DD6-1EEF-B0338CCFCF31}"/>
          </ac:picMkLst>
        </pc:picChg>
        <pc:picChg chg="mod">
          <ac:chgData name="Reuben Issac Jacob" userId="a26d73c9-1689-41bd-af50-ef825e838770" providerId="ADAL" clId="{F452BC9E-5BE8-4A0B-9F00-66A7219A31DE}" dt="2022-06-29T20:35:39.591" v="3795" actId="164"/>
          <ac:picMkLst>
            <pc:docMk/>
            <pc:sldMk cId="374825654" sldId="2147470206"/>
            <ac:picMk id="73" creationId="{3C8272A0-B211-41F3-A8ED-ADC707F94B08}"/>
          </ac:picMkLst>
        </pc:picChg>
      </pc:sldChg>
      <pc:sldChg chg="addSp delSp modSp add mod modAnim">
        <pc:chgData name="Reuben Issac Jacob" userId="a26d73c9-1689-41bd-af50-ef825e838770" providerId="ADAL" clId="{F452BC9E-5BE8-4A0B-9F00-66A7219A31DE}" dt="2022-06-29T20:39:39.425" v="3841"/>
        <pc:sldMkLst>
          <pc:docMk/>
          <pc:sldMk cId="3637099010" sldId="2147470207"/>
        </pc:sldMkLst>
        <pc:spChg chg="del">
          <ac:chgData name="Reuben Issac Jacob" userId="a26d73c9-1689-41bd-af50-ef825e838770" providerId="ADAL" clId="{F452BC9E-5BE8-4A0B-9F00-66A7219A31DE}" dt="2022-06-29T14:18:11.407" v="2236" actId="478"/>
          <ac:spMkLst>
            <pc:docMk/>
            <pc:sldMk cId="3637099010" sldId="2147470207"/>
            <ac:spMk id="4" creationId="{B7012214-46B7-851C-C3FF-45FECB67550F}"/>
          </ac:spMkLst>
        </pc:spChg>
        <pc:spChg chg="add mod">
          <ac:chgData name="Reuben Issac Jacob" userId="a26d73c9-1689-41bd-af50-ef825e838770" providerId="ADAL" clId="{F452BC9E-5BE8-4A0B-9F00-66A7219A31DE}" dt="2022-06-29T14:59:19.077" v="3232" actId="692"/>
          <ac:spMkLst>
            <pc:docMk/>
            <pc:sldMk cId="3637099010" sldId="2147470207"/>
            <ac:spMk id="5" creationId="{71346D2C-CCF5-0282-B2CB-239E08CB8765}"/>
          </ac:spMkLst>
        </pc:spChg>
        <pc:spChg chg="add del mod">
          <ac:chgData name="Reuben Issac Jacob" userId="a26d73c9-1689-41bd-af50-ef825e838770" providerId="ADAL" clId="{F452BC9E-5BE8-4A0B-9F00-66A7219A31DE}" dt="2022-06-29T14:24:29.748" v="2412" actId="478"/>
          <ac:spMkLst>
            <pc:docMk/>
            <pc:sldMk cId="3637099010" sldId="2147470207"/>
            <ac:spMk id="6" creationId="{C0F61BDF-857A-3AD6-777B-C263EBC1592F}"/>
          </ac:spMkLst>
        </pc:spChg>
        <pc:spChg chg="add mod">
          <ac:chgData name="Reuben Issac Jacob" userId="a26d73c9-1689-41bd-af50-ef825e838770" providerId="ADAL" clId="{F452BC9E-5BE8-4A0B-9F00-66A7219A31DE}" dt="2022-06-29T14:59:19.077" v="3232" actId="692"/>
          <ac:spMkLst>
            <pc:docMk/>
            <pc:sldMk cId="3637099010" sldId="2147470207"/>
            <ac:spMk id="7" creationId="{A57C60B4-6878-88BC-CC59-04DF1CA7130F}"/>
          </ac:spMkLst>
        </pc:spChg>
        <pc:spChg chg="add mod">
          <ac:chgData name="Reuben Issac Jacob" userId="a26d73c9-1689-41bd-af50-ef825e838770" providerId="ADAL" clId="{F452BC9E-5BE8-4A0B-9F00-66A7219A31DE}" dt="2022-06-29T14:59:19.077" v="3232" actId="692"/>
          <ac:spMkLst>
            <pc:docMk/>
            <pc:sldMk cId="3637099010" sldId="2147470207"/>
            <ac:spMk id="8" creationId="{B49C2715-7B55-4D34-AFB7-0A872C898406}"/>
          </ac:spMkLst>
        </pc:spChg>
        <pc:spChg chg="add del mod">
          <ac:chgData name="Reuben Issac Jacob" userId="a26d73c9-1689-41bd-af50-ef825e838770" providerId="ADAL" clId="{F452BC9E-5BE8-4A0B-9F00-66A7219A31DE}" dt="2022-06-29T14:36:11.993" v="2766" actId="478"/>
          <ac:spMkLst>
            <pc:docMk/>
            <pc:sldMk cId="3637099010" sldId="2147470207"/>
            <ac:spMk id="9" creationId="{C0D48699-D74C-79C2-1CD1-0C55F0184095}"/>
          </ac:spMkLst>
        </pc:spChg>
        <pc:spChg chg="add del mod">
          <ac:chgData name="Reuben Issac Jacob" userId="a26d73c9-1689-41bd-af50-ef825e838770" providerId="ADAL" clId="{F452BC9E-5BE8-4A0B-9F00-66A7219A31DE}" dt="2022-06-29T14:20:46.373" v="2317" actId="478"/>
          <ac:spMkLst>
            <pc:docMk/>
            <pc:sldMk cId="3637099010" sldId="2147470207"/>
            <ac:spMk id="10" creationId="{FF71852F-F7BA-D700-3B86-35FDA1C43C65}"/>
          </ac:spMkLst>
        </pc:spChg>
        <pc:spChg chg="add mod">
          <ac:chgData name="Reuben Issac Jacob" userId="a26d73c9-1689-41bd-af50-ef825e838770" providerId="ADAL" clId="{F452BC9E-5BE8-4A0B-9F00-66A7219A31DE}" dt="2022-06-29T14:59:19.077" v="3232" actId="692"/>
          <ac:spMkLst>
            <pc:docMk/>
            <pc:sldMk cId="3637099010" sldId="2147470207"/>
            <ac:spMk id="11" creationId="{7DAE3899-FE13-5F32-8BF6-5D277C15A2DE}"/>
          </ac:spMkLst>
        </pc:spChg>
        <pc:spChg chg="add mod">
          <ac:chgData name="Reuben Issac Jacob" userId="a26d73c9-1689-41bd-af50-ef825e838770" providerId="ADAL" clId="{F452BC9E-5BE8-4A0B-9F00-66A7219A31DE}" dt="2022-06-29T14:59:19.077" v="3232" actId="692"/>
          <ac:spMkLst>
            <pc:docMk/>
            <pc:sldMk cId="3637099010" sldId="2147470207"/>
            <ac:spMk id="12" creationId="{F36EF986-F31A-EFA0-E535-B416B0526577}"/>
          </ac:spMkLst>
        </pc:spChg>
        <pc:spChg chg="add mod">
          <ac:chgData name="Reuben Issac Jacob" userId="a26d73c9-1689-41bd-af50-ef825e838770" providerId="ADAL" clId="{F452BC9E-5BE8-4A0B-9F00-66A7219A31DE}" dt="2022-06-29T14:59:19.077" v="3232" actId="692"/>
          <ac:spMkLst>
            <pc:docMk/>
            <pc:sldMk cId="3637099010" sldId="2147470207"/>
            <ac:spMk id="13" creationId="{A97D73A0-7BF0-91BD-636B-6D052C82842E}"/>
          </ac:spMkLst>
        </pc:spChg>
        <pc:spChg chg="add mod">
          <ac:chgData name="Reuben Issac Jacob" userId="a26d73c9-1689-41bd-af50-ef825e838770" providerId="ADAL" clId="{F452BC9E-5BE8-4A0B-9F00-66A7219A31DE}" dt="2022-06-29T14:59:19.077" v="3232" actId="692"/>
          <ac:spMkLst>
            <pc:docMk/>
            <pc:sldMk cId="3637099010" sldId="2147470207"/>
            <ac:spMk id="15" creationId="{BECAB1AD-4C25-2E99-F117-9EC6D2814641}"/>
          </ac:spMkLst>
        </pc:spChg>
        <pc:spChg chg="add mod">
          <ac:chgData name="Reuben Issac Jacob" userId="a26d73c9-1689-41bd-af50-ef825e838770" providerId="ADAL" clId="{F452BC9E-5BE8-4A0B-9F00-66A7219A31DE}" dt="2022-06-29T14:59:19.077" v="3232" actId="692"/>
          <ac:spMkLst>
            <pc:docMk/>
            <pc:sldMk cId="3637099010" sldId="2147470207"/>
            <ac:spMk id="16" creationId="{5AF76E11-84A6-A31C-7028-08A418EC7ACA}"/>
          </ac:spMkLst>
        </pc:spChg>
        <pc:spChg chg="add mod">
          <ac:chgData name="Reuben Issac Jacob" userId="a26d73c9-1689-41bd-af50-ef825e838770" providerId="ADAL" clId="{F452BC9E-5BE8-4A0B-9F00-66A7219A31DE}" dt="2022-06-29T14:59:19.077" v="3232" actId="692"/>
          <ac:spMkLst>
            <pc:docMk/>
            <pc:sldMk cId="3637099010" sldId="2147470207"/>
            <ac:spMk id="17" creationId="{8C01F416-E22C-6D50-4C24-A8189AC5F436}"/>
          </ac:spMkLst>
        </pc:spChg>
        <pc:spChg chg="add mod">
          <ac:chgData name="Reuben Issac Jacob" userId="a26d73c9-1689-41bd-af50-ef825e838770" providerId="ADAL" clId="{F452BC9E-5BE8-4A0B-9F00-66A7219A31DE}" dt="2022-06-29T14:59:19.077" v="3232" actId="692"/>
          <ac:spMkLst>
            <pc:docMk/>
            <pc:sldMk cId="3637099010" sldId="2147470207"/>
            <ac:spMk id="18" creationId="{03840AEE-560F-A648-A0EE-B718E73D3849}"/>
          </ac:spMkLst>
        </pc:spChg>
        <pc:spChg chg="add mod">
          <ac:chgData name="Reuben Issac Jacob" userId="a26d73c9-1689-41bd-af50-ef825e838770" providerId="ADAL" clId="{F452BC9E-5BE8-4A0B-9F00-66A7219A31DE}" dt="2022-06-29T14:59:19.077" v="3232" actId="692"/>
          <ac:spMkLst>
            <pc:docMk/>
            <pc:sldMk cId="3637099010" sldId="2147470207"/>
            <ac:spMk id="19" creationId="{AED3FF73-71BC-6491-D021-8185E42C7A59}"/>
          </ac:spMkLst>
        </pc:spChg>
        <pc:picChg chg="add del mod">
          <ac:chgData name="Reuben Issac Jacob" userId="a26d73c9-1689-41bd-af50-ef825e838770" providerId="ADAL" clId="{F452BC9E-5BE8-4A0B-9F00-66A7219A31DE}" dt="2022-06-29T14:36:13.042" v="2767" actId="478"/>
          <ac:picMkLst>
            <pc:docMk/>
            <pc:sldMk cId="3637099010" sldId="2147470207"/>
            <ac:picMk id="14" creationId="{2B46C568-7972-D7D7-8484-092A174553D6}"/>
          </ac:picMkLst>
        </pc:picChg>
        <pc:picChg chg="del">
          <ac:chgData name="Reuben Issac Jacob" userId="a26d73c9-1689-41bd-af50-ef825e838770" providerId="ADAL" clId="{F452BC9E-5BE8-4A0B-9F00-66A7219A31DE}" dt="2022-06-29T14:18:08.078" v="2235" actId="478"/>
          <ac:picMkLst>
            <pc:docMk/>
            <pc:sldMk cId="3637099010" sldId="2147470207"/>
            <ac:picMk id="2050" creationId="{8B489611-6518-AD2A-2DE3-F7FEDDF83EA1}"/>
          </ac:picMkLst>
        </pc:picChg>
      </pc:sldChg>
      <pc:sldChg chg="modAnim">
        <pc:chgData name="Reuben Issac Jacob" userId="a26d73c9-1689-41bd-af50-ef825e838770" providerId="ADAL" clId="{F452BC9E-5BE8-4A0B-9F00-66A7219A31DE}" dt="2022-06-29T20:13:18.749" v="3570"/>
        <pc:sldMkLst>
          <pc:docMk/>
          <pc:sldMk cId="3056651168" sldId="2147470208"/>
        </pc:sldMkLst>
      </pc:sldChg>
      <pc:sldChg chg="modAnim">
        <pc:chgData name="Reuben Issac Jacob" userId="a26d73c9-1689-41bd-af50-ef825e838770" providerId="ADAL" clId="{F452BC9E-5BE8-4A0B-9F00-66A7219A31DE}" dt="2022-06-29T19:54:21.457" v="3361"/>
        <pc:sldMkLst>
          <pc:docMk/>
          <pc:sldMk cId="3113079371" sldId="2147470209"/>
        </pc:sldMkLst>
      </pc:sldChg>
      <pc:sldChg chg="modAnim">
        <pc:chgData name="Reuben Issac Jacob" userId="a26d73c9-1689-41bd-af50-ef825e838770" providerId="ADAL" clId="{F452BC9E-5BE8-4A0B-9F00-66A7219A31DE}" dt="2022-06-29T19:55:34.454" v="3377"/>
        <pc:sldMkLst>
          <pc:docMk/>
          <pc:sldMk cId="3873767750" sldId="2147470210"/>
        </pc:sldMkLst>
      </pc:sldChg>
      <pc:sldChg chg="modSp add mod ord modAnim">
        <pc:chgData name="Reuben Issac Jacob" userId="a26d73c9-1689-41bd-af50-ef825e838770" providerId="ADAL" clId="{F452BC9E-5BE8-4A0B-9F00-66A7219A31DE}" dt="2022-06-30T14:41:55.182" v="4090" actId="207"/>
        <pc:sldMkLst>
          <pc:docMk/>
          <pc:sldMk cId="1911239123" sldId="2147470211"/>
        </pc:sldMkLst>
        <pc:spChg chg="mod">
          <ac:chgData name="Reuben Issac Jacob" userId="a26d73c9-1689-41bd-af50-ef825e838770" providerId="ADAL" clId="{F452BC9E-5BE8-4A0B-9F00-66A7219A31DE}" dt="2022-06-30T14:39:23.825" v="4074"/>
          <ac:spMkLst>
            <pc:docMk/>
            <pc:sldMk cId="1911239123" sldId="2147470211"/>
            <ac:spMk id="2" creationId="{E75AA307-FFB4-61C0-9625-C40AD7AE3A44}"/>
          </ac:spMkLst>
        </pc:spChg>
        <pc:spChg chg="mod">
          <ac:chgData name="Reuben Issac Jacob" userId="a26d73c9-1689-41bd-af50-ef825e838770" providerId="ADAL" clId="{F452BC9E-5BE8-4A0B-9F00-66A7219A31DE}" dt="2022-06-30T14:41:55.182" v="4090" actId="207"/>
          <ac:spMkLst>
            <pc:docMk/>
            <pc:sldMk cId="1911239123" sldId="2147470211"/>
            <ac:spMk id="3" creationId="{5813D571-3500-471D-92AD-1D09387D5B23}"/>
          </ac:spMkLst>
        </pc:spChg>
      </pc:sldChg>
      <pc:sldMasterChg chg="delSldLayout">
        <pc:chgData name="Reuben Issac Jacob" userId="a26d73c9-1689-41bd-af50-ef825e838770" providerId="ADAL" clId="{F452BC9E-5BE8-4A0B-9F00-66A7219A31DE}" dt="2022-06-29T07:11:27.180" v="1611" actId="47"/>
        <pc:sldMasterMkLst>
          <pc:docMk/>
          <pc:sldMasterMk cId="457956517" sldId="2147483986"/>
        </pc:sldMasterMkLst>
        <pc:sldLayoutChg chg="del">
          <pc:chgData name="Reuben Issac Jacob" userId="a26d73c9-1689-41bd-af50-ef825e838770" providerId="ADAL" clId="{F452BC9E-5BE8-4A0B-9F00-66A7219A31DE}" dt="2022-06-29T07:11:27.180" v="1611" actId="47"/>
          <pc:sldLayoutMkLst>
            <pc:docMk/>
            <pc:sldMasterMk cId="457956517" sldId="2147483986"/>
            <pc:sldLayoutMk cId="734581977" sldId="2147483996"/>
          </pc:sldLayoutMkLst>
        </pc:sldLayoutChg>
      </pc:sldMasterChg>
      <pc:sldMasterChg chg="del delSldLayout">
        <pc:chgData name="Reuben Issac Jacob" userId="a26d73c9-1689-41bd-af50-ef825e838770" providerId="ADAL" clId="{F452BC9E-5BE8-4A0B-9F00-66A7219A31DE}" dt="2022-06-30T14:33:07.395" v="3906" actId="700"/>
        <pc:sldMasterMkLst>
          <pc:docMk/>
          <pc:sldMasterMk cId="1495253844" sldId="2147484018"/>
        </pc:sldMasterMkLst>
        <pc:sldLayoutChg chg="del">
          <pc:chgData name="Reuben Issac Jacob" userId="a26d73c9-1689-41bd-af50-ef825e838770" providerId="ADAL" clId="{F452BC9E-5BE8-4A0B-9F00-66A7219A31DE}" dt="2022-06-30T14:33:07.395" v="3906" actId="700"/>
          <pc:sldLayoutMkLst>
            <pc:docMk/>
            <pc:sldMasterMk cId="1495253844" sldId="2147484018"/>
            <pc:sldLayoutMk cId="1596448674" sldId="2147484019"/>
          </pc:sldLayoutMkLst>
        </pc:sldLayoutChg>
        <pc:sldLayoutChg chg="del">
          <pc:chgData name="Reuben Issac Jacob" userId="a26d73c9-1689-41bd-af50-ef825e838770" providerId="ADAL" clId="{F452BC9E-5BE8-4A0B-9F00-66A7219A31DE}" dt="2022-06-30T14:33:07.395" v="3906" actId="700"/>
          <pc:sldLayoutMkLst>
            <pc:docMk/>
            <pc:sldMasterMk cId="1495253844" sldId="2147484018"/>
            <pc:sldLayoutMk cId="3171240331" sldId="2147484020"/>
          </pc:sldLayoutMkLst>
        </pc:sldLayoutChg>
        <pc:sldLayoutChg chg="del">
          <pc:chgData name="Reuben Issac Jacob" userId="a26d73c9-1689-41bd-af50-ef825e838770" providerId="ADAL" clId="{F452BC9E-5BE8-4A0B-9F00-66A7219A31DE}" dt="2022-06-30T14:33:07.395" v="3906" actId="700"/>
          <pc:sldLayoutMkLst>
            <pc:docMk/>
            <pc:sldMasterMk cId="1495253844" sldId="2147484018"/>
            <pc:sldLayoutMk cId="3561434835" sldId="2147484021"/>
          </pc:sldLayoutMkLst>
        </pc:sldLayoutChg>
        <pc:sldLayoutChg chg="del">
          <pc:chgData name="Reuben Issac Jacob" userId="a26d73c9-1689-41bd-af50-ef825e838770" providerId="ADAL" clId="{F452BC9E-5BE8-4A0B-9F00-66A7219A31DE}" dt="2022-06-30T14:33:07.395" v="3906" actId="700"/>
          <pc:sldLayoutMkLst>
            <pc:docMk/>
            <pc:sldMasterMk cId="1495253844" sldId="2147484018"/>
            <pc:sldLayoutMk cId="3352614260" sldId="2147484022"/>
          </pc:sldLayoutMkLst>
        </pc:sldLayoutChg>
        <pc:sldLayoutChg chg="del">
          <pc:chgData name="Reuben Issac Jacob" userId="a26d73c9-1689-41bd-af50-ef825e838770" providerId="ADAL" clId="{F452BC9E-5BE8-4A0B-9F00-66A7219A31DE}" dt="2022-06-30T14:33:07.395" v="3906" actId="700"/>
          <pc:sldLayoutMkLst>
            <pc:docMk/>
            <pc:sldMasterMk cId="1495253844" sldId="2147484018"/>
            <pc:sldLayoutMk cId="2817965868" sldId="2147484023"/>
          </pc:sldLayoutMkLst>
        </pc:sldLayoutChg>
        <pc:sldLayoutChg chg="del">
          <pc:chgData name="Reuben Issac Jacob" userId="a26d73c9-1689-41bd-af50-ef825e838770" providerId="ADAL" clId="{F452BC9E-5BE8-4A0B-9F00-66A7219A31DE}" dt="2022-06-30T14:33:07.395" v="3906" actId="700"/>
          <pc:sldLayoutMkLst>
            <pc:docMk/>
            <pc:sldMasterMk cId="1495253844" sldId="2147484018"/>
            <pc:sldLayoutMk cId="3043466152" sldId="2147484024"/>
          </pc:sldLayoutMkLst>
        </pc:sldLayoutChg>
        <pc:sldLayoutChg chg="del">
          <pc:chgData name="Reuben Issac Jacob" userId="a26d73c9-1689-41bd-af50-ef825e838770" providerId="ADAL" clId="{F452BC9E-5BE8-4A0B-9F00-66A7219A31DE}" dt="2022-06-30T14:33:07.395" v="3906" actId="700"/>
          <pc:sldLayoutMkLst>
            <pc:docMk/>
            <pc:sldMasterMk cId="1495253844" sldId="2147484018"/>
            <pc:sldLayoutMk cId="4037673352" sldId="2147484025"/>
          </pc:sldLayoutMkLst>
        </pc:sldLayoutChg>
        <pc:sldLayoutChg chg="del">
          <pc:chgData name="Reuben Issac Jacob" userId="a26d73c9-1689-41bd-af50-ef825e838770" providerId="ADAL" clId="{F452BC9E-5BE8-4A0B-9F00-66A7219A31DE}" dt="2022-06-30T14:33:07.395" v="3906" actId="700"/>
          <pc:sldLayoutMkLst>
            <pc:docMk/>
            <pc:sldMasterMk cId="1495253844" sldId="2147484018"/>
            <pc:sldLayoutMk cId="1995476080" sldId="2147484026"/>
          </pc:sldLayoutMkLst>
        </pc:sldLayoutChg>
      </pc:sldMasterChg>
    </pc:docChg>
  </pc:docChgLst>
  <pc:docChgLst>
    <pc:chgData name="Ian Lumb" userId="2630a383-0cad-4e30-b844-8e87d31697a6" providerId="ADAL" clId="{A993EB0D-6D7E-40FC-934D-6A7175219A8A}"/>
    <pc:docChg chg="modSld modShowInfo">
      <pc:chgData name="Ian Lumb" userId="2630a383-0cad-4e30-b844-8e87d31697a6" providerId="ADAL" clId="{A993EB0D-6D7E-40FC-934D-6A7175219A8A}" dt="2022-07-01T16:24:03.391" v="12" actId="2744"/>
      <pc:docMkLst>
        <pc:docMk/>
      </pc:docMkLst>
      <pc:sldChg chg="modTransition">
        <pc:chgData name="Ian Lumb" userId="2630a383-0cad-4e30-b844-8e87d31697a6" providerId="ADAL" clId="{A993EB0D-6D7E-40FC-934D-6A7175219A8A}" dt="2022-07-01T16:23:12.939" v="11"/>
        <pc:sldMkLst>
          <pc:docMk/>
          <pc:sldMk cId="3396625383" sldId="291"/>
        </pc:sldMkLst>
      </pc:sldChg>
      <pc:sldChg chg="modTransition">
        <pc:chgData name="Ian Lumb" userId="2630a383-0cad-4e30-b844-8e87d31697a6" providerId="ADAL" clId="{A993EB0D-6D7E-40FC-934D-6A7175219A8A}" dt="2022-07-01T16:23:12.939" v="11"/>
        <pc:sldMkLst>
          <pc:docMk/>
          <pc:sldMk cId="1447758559" sldId="294"/>
        </pc:sldMkLst>
      </pc:sldChg>
      <pc:sldChg chg="modTransition">
        <pc:chgData name="Ian Lumb" userId="2630a383-0cad-4e30-b844-8e87d31697a6" providerId="ADAL" clId="{A993EB0D-6D7E-40FC-934D-6A7175219A8A}" dt="2022-07-01T16:23:12.939" v="11"/>
        <pc:sldMkLst>
          <pc:docMk/>
          <pc:sldMk cId="2570058085" sldId="299"/>
        </pc:sldMkLst>
      </pc:sldChg>
      <pc:sldChg chg="modTransition modAnim">
        <pc:chgData name="Ian Lumb" userId="2630a383-0cad-4e30-b844-8e87d31697a6" providerId="ADAL" clId="{A993EB0D-6D7E-40FC-934D-6A7175219A8A}" dt="2022-07-01T16:23:12.939" v="11"/>
        <pc:sldMkLst>
          <pc:docMk/>
          <pc:sldMk cId="3592828332" sldId="300"/>
        </pc:sldMkLst>
      </pc:sldChg>
      <pc:sldChg chg="modTransition modAnim">
        <pc:chgData name="Ian Lumb" userId="2630a383-0cad-4e30-b844-8e87d31697a6" providerId="ADAL" clId="{A993EB0D-6D7E-40FC-934D-6A7175219A8A}" dt="2022-07-01T16:23:12.939" v="11"/>
        <pc:sldMkLst>
          <pc:docMk/>
          <pc:sldMk cId="3830481652" sldId="301"/>
        </pc:sldMkLst>
      </pc:sldChg>
      <pc:sldChg chg="modTransition">
        <pc:chgData name="Ian Lumb" userId="2630a383-0cad-4e30-b844-8e87d31697a6" providerId="ADAL" clId="{A993EB0D-6D7E-40FC-934D-6A7175219A8A}" dt="2022-07-01T16:23:12.939" v="11"/>
        <pc:sldMkLst>
          <pc:docMk/>
          <pc:sldMk cId="3747391529" sldId="381"/>
        </pc:sldMkLst>
      </pc:sldChg>
      <pc:sldChg chg="modTransition">
        <pc:chgData name="Ian Lumb" userId="2630a383-0cad-4e30-b844-8e87d31697a6" providerId="ADAL" clId="{A993EB0D-6D7E-40FC-934D-6A7175219A8A}" dt="2022-07-01T16:23:12.939" v="11"/>
        <pc:sldMkLst>
          <pc:docMk/>
          <pc:sldMk cId="1577116663" sldId="9949"/>
        </pc:sldMkLst>
      </pc:sldChg>
      <pc:sldChg chg="modTransition">
        <pc:chgData name="Ian Lumb" userId="2630a383-0cad-4e30-b844-8e87d31697a6" providerId="ADAL" clId="{A993EB0D-6D7E-40FC-934D-6A7175219A8A}" dt="2022-07-01T16:23:12.939" v="11"/>
        <pc:sldMkLst>
          <pc:docMk/>
          <pc:sldMk cId="2201566731" sldId="11635"/>
        </pc:sldMkLst>
      </pc:sldChg>
      <pc:sldChg chg="modTransition modAnim">
        <pc:chgData name="Ian Lumb" userId="2630a383-0cad-4e30-b844-8e87d31697a6" providerId="ADAL" clId="{A993EB0D-6D7E-40FC-934D-6A7175219A8A}" dt="2022-07-01T16:23:12.939" v="11"/>
        <pc:sldMkLst>
          <pc:docMk/>
          <pc:sldMk cId="1469576865" sldId="11666"/>
        </pc:sldMkLst>
      </pc:sldChg>
      <pc:sldChg chg="modTransition modAnim">
        <pc:chgData name="Ian Lumb" userId="2630a383-0cad-4e30-b844-8e87d31697a6" providerId="ADAL" clId="{A993EB0D-6D7E-40FC-934D-6A7175219A8A}" dt="2022-07-01T16:23:12.939" v="11"/>
        <pc:sldMkLst>
          <pc:docMk/>
          <pc:sldMk cId="2205024091" sldId="11667"/>
        </pc:sldMkLst>
      </pc:sldChg>
      <pc:sldChg chg="modTransition">
        <pc:chgData name="Ian Lumb" userId="2630a383-0cad-4e30-b844-8e87d31697a6" providerId="ADAL" clId="{A993EB0D-6D7E-40FC-934D-6A7175219A8A}" dt="2022-07-01T16:23:12.939" v="11"/>
        <pc:sldMkLst>
          <pc:docMk/>
          <pc:sldMk cId="267651035" sldId="11672"/>
        </pc:sldMkLst>
      </pc:sldChg>
      <pc:sldChg chg="modTransition">
        <pc:chgData name="Ian Lumb" userId="2630a383-0cad-4e30-b844-8e87d31697a6" providerId="ADAL" clId="{A993EB0D-6D7E-40FC-934D-6A7175219A8A}" dt="2022-07-01T16:23:12.939" v="11"/>
        <pc:sldMkLst>
          <pc:docMk/>
          <pc:sldMk cId="3050563501" sldId="2076137326"/>
        </pc:sldMkLst>
      </pc:sldChg>
      <pc:sldChg chg="modTransition">
        <pc:chgData name="Ian Lumb" userId="2630a383-0cad-4e30-b844-8e87d31697a6" providerId="ADAL" clId="{A993EB0D-6D7E-40FC-934D-6A7175219A8A}" dt="2022-07-01T16:23:12.939" v="11"/>
        <pc:sldMkLst>
          <pc:docMk/>
          <pc:sldMk cId="2827947631" sldId="2076137345"/>
        </pc:sldMkLst>
      </pc:sldChg>
      <pc:sldChg chg="modTransition">
        <pc:chgData name="Ian Lumb" userId="2630a383-0cad-4e30-b844-8e87d31697a6" providerId="ADAL" clId="{A993EB0D-6D7E-40FC-934D-6A7175219A8A}" dt="2022-07-01T16:23:12.939" v="11"/>
        <pc:sldMkLst>
          <pc:docMk/>
          <pc:sldMk cId="3149725342" sldId="2147468607"/>
        </pc:sldMkLst>
      </pc:sldChg>
      <pc:sldChg chg="modTransition modAnim">
        <pc:chgData name="Ian Lumb" userId="2630a383-0cad-4e30-b844-8e87d31697a6" providerId="ADAL" clId="{A993EB0D-6D7E-40FC-934D-6A7175219A8A}" dt="2022-07-01T16:23:12.939" v="11"/>
        <pc:sldMkLst>
          <pc:docMk/>
          <pc:sldMk cId="307894445" sldId="2147469593"/>
        </pc:sldMkLst>
      </pc:sldChg>
      <pc:sldChg chg="modTransition modAnim">
        <pc:chgData name="Ian Lumb" userId="2630a383-0cad-4e30-b844-8e87d31697a6" providerId="ADAL" clId="{A993EB0D-6D7E-40FC-934D-6A7175219A8A}" dt="2022-07-01T16:23:12.939" v="11"/>
        <pc:sldMkLst>
          <pc:docMk/>
          <pc:sldMk cId="3671410135" sldId="2147469594"/>
        </pc:sldMkLst>
      </pc:sldChg>
      <pc:sldChg chg="modTransition">
        <pc:chgData name="Ian Lumb" userId="2630a383-0cad-4e30-b844-8e87d31697a6" providerId="ADAL" clId="{A993EB0D-6D7E-40FC-934D-6A7175219A8A}" dt="2022-07-01T16:23:12.939" v="11"/>
        <pc:sldMkLst>
          <pc:docMk/>
          <pc:sldMk cId="3799475860" sldId="2147469600"/>
        </pc:sldMkLst>
      </pc:sldChg>
      <pc:sldChg chg="modTransition">
        <pc:chgData name="Ian Lumb" userId="2630a383-0cad-4e30-b844-8e87d31697a6" providerId="ADAL" clId="{A993EB0D-6D7E-40FC-934D-6A7175219A8A}" dt="2022-07-01T16:23:12.939" v="11"/>
        <pc:sldMkLst>
          <pc:docMk/>
          <pc:sldMk cId="2586040291" sldId="2147469605"/>
        </pc:sldMkLst>
      </pc:sldChg>
      <pc:sldChg chg="modTransition">
        <pc:chgData name="Ian Lumb" userId="2630a383-0cad-4e30-b844-8e87d31697a6" providerId="ADAL" clId="{A993EB0D-6D7E-40FC-934D-6A7175219A8A}" dt="2022-07-01T16:23:12.939" v="11"/>
        <pc:sldMkLst>
          <pc:docMk/>
          <pc:sldMk cId="1117014756" sldId="2147469609"/>
        </pc:sldMkLst>
      </pc:sldChg>
      <pc:sldChg chg="modTransition">
        <pc:chgData name="Ian Lumb" userId="2630a383-0cad-4e30-b844-8e87d31697a6" providerId="ADAL" clId="{A993EB0D-6D7E-40FC-934D-6A7175219A8A}" dt="2022-07-01T16:23:12.939" v="11"/>
        <pc:sldMkLst>
          <pc:docMk/>
          <pc:sldMk cId="3725804100" sldId="2147469616"/>
        </pc:sldMkLst>
      </pc:sldChg>
      <pc:sldChg chg="modTransition modAnim">
        <pc:chgData name="Ian Lumb" userId="2630a383-0cad-4e30-b844-8e87d31697a6" providerId="ADAL" clId="{A993EB0D-6D7E-40FC-934D-6A7175219A8A}" dt="2022-07-01T16:23:12.939" v="11"/>
        <pc:sldMkLst>
          <pc:docMk/>
          <pc:sldMk cId="4229963047" sldId="2147469617"/>
        </pc:sldMkLst>
      </pc:sldChg>
      <pc:sldChg chg="modTransition">
        <pc:chgData name="Ian Lumb" userId="2630a383-0cad-4e30-b844-8e87d31697a6" providerId="ADAL" clId="{A993EB0D-6D7E-40FC-934D-6A7175219A8A}" dt="2022-07-01T16:23:12.939" v="11"/>
        <pc:sldMkLst>
          <pc:docMk/>
          <pc:sldMk cId="2857144471" sldId="2147469620"/>
        </pc:sldMkLst>
      </pc:sldChg>
      <pc:sldChg chg="modTransition">
        <pc:chgData name="Ian Lumb" userId="2630a383-0cad-4e30-b844-8e87d31697a6" providerId="ADAL" clId="{A993EB0D-6D7E-40FC-934D-6A7175219A8A}" dt="2022-07-01T16:23:12.939" v="11"/>
        <pc:sldMkLst>
          <pc:docMk/>
          <pc:sldMk cId="2454618038" sldId="2147470023"/>
        </pc:sldMkLst>
      </pc:sldChg>
      <pc:sldChg chg="modTransition modAnim">
        <pc:chgData name="Ian Lumb" userId="2630a383-0cad-4e30-b844-8e87d31697a6" providerId="ADAL" clId="{A993EB0D-6D7E-40FC-934D-6A7175219A8A}" dt="2022-07-01T16:23:12.939" v="11"/>
        <pc:sldMkLst>
          <pc:docMk/>
          <pc:sldMk cId="1038962183" sldId="2147470184"/>
        </pc:sldMkLst>
      </pc:sldChg>
      <pc:sldChg chg="modTransition">
        <pc:chgData name="Ian Lumb" userId="2630a383-0cad-4e30-b844-8e87d31697a6" providerId="ADAL" clId="{A993EB0D-6D7E-40FC-934D-6A7175219A8A}" dt="2022-07-01T16:23:12.939" v="11"/>
        <pc:sldMkLst>
          <pc:docMk/>
          <pc:sldMk cId="1229434402" sldId="2147470187"/>
        </pc:sldMkLst>
      </pc:sldChg>
      <pc:sldChg chg="modTransition">
        <pc:chgData name="Ian Lumb" userId="2630a383-0cad-4e30-b844-8e87d31697a6" providerId="ADAL" clId="{A993EB0D-6D7E-40FC-934D-6A7175219A8A}" dt="2022-07-01T16:23:12.939" v="11"/>
        <pc:sldMkLst>
          <pc:docMk/>
          <pc:sldMk cId="1151731301" sldId="2147470188"/>
        </pc:sldMkLst>
      </pc:sldChg>
      <pc:sldChg chg="modTransition">
        <pc:chgData name="Ian Lumb" userId="2630a383-0cad-4e30-b844-8e87d31697a6" providerId="ADAL" clId="{A993EB0D-6D7E-40FC-934D-6A7175219A8A}" dt="2022-07-01T16:23:12.939" v="11"/>
        <pc:sldMkLst>
          <pc:docMk/>
          <pc:sldMk cId="1679778013" sldId="2147470190"/>
        </pc:sldMkLst>
      </pc:sldChg>
      <pc:sldChg chg="modTransition">
        <pc:chgData name="Ian Lumb" userId="2630a383-0cad-4e30-b844-8e87d31697a6" providerId="ADAL" clId="{A993EB0D-6D7E-40FC-934D-6A7175219A8A}" dt="2022-07-01T16:23:12.939" v="11"/>
        <pc:sldMkLst>
          <pc:docMk/>
          <pc:sldMk cId="3558894971" sldId="2147470191"/>
        </pc:sldMkLst>
      </pc:sldChg>
      <pc:sldChg chg="modTransition">
        <pc:chgData name="Ian Lumb" userId="2630a383-0cad-4e30-b844-8e87d31697a6" providerId="ADAL" clId="{A993EB0D-6D7E-40FC-934D-6A7175219A8A}" dt="2022-07-01T16:23:12.939" v="11"/>
        <pc:sldMkLst>
          <pc:docMk/>
          <pc:sldMk cId="4053416595" sldId="2147470192"/>
        </pc:sldMkLst>
      </pc:sldChg>
      <pc:sldChg chg="modTransition">
        <pc:chgData name="Ian Lumb" userId="2630a383-0cad-4e30-b844-8e87d31697a6" providerId="ADAL" clId="{A993EB0D-6D7E-40FC-934D-6A7175219A8A}" dt="2022-07-01T16:23:12.939" v="11"/>
        <pc:sldMkLst>
          <pc:docMk/>
          <pc:sldMk cId="552015189" sldId="2147470193"/>
        </pc:sldMkLst>
      </pc:sldChg>
      <pc:sldChg chg="modTransition">
        <pc:chgData name="Ian Lumb" userId="2630a383-0cad-4e30-b844-8e87d31697a6" providerId="ADAL" clId="{A993EB0D-6D7E-40FC-934D-6A7175219A8A}" dt="2022-07-01T16:23:12.939" v="11"/>
        <pc:sldMkLst>
          <pc:docMk/>
          <pc:sldMk cId="3560447759" sldId="2147470194"/>
        </pc:sldMkLst>
      </pc:sldChg>
      <pc:sldChg chg="modTransition">
        <pc:chgData name="Ian Lumb" userId="2630a383-0cad-4e30-b844-8e87d31697a6" providerId="ADAL" clId="{A993EB0D-6D7E-40FC-934D-6A7175219A8A}" dt="2022-07-01T16:23:12.939" v="11"/>
        <pc:sldMkLst>
          <pc:docMk/>
          <pc:sldMk cId="108184244" sldId="2147470196"/>
        </pc:sldMkLst>
      </pc:sldChg>
      <pc:sldChg chg="modTransition">
        <pc:chgData name="Ian Lumb" userId="2630a383-0cad-4e30-b844-8e87d31697a6" providerId="ADAL" clId="{A993EB0D-6D7E-40FC-934D-6A7175219A8A}" dt="2022-07-01T16:23:12.939" v="11"/>
        <pc:sldMkLst>
          <pc:docMk/>
          <pc:sldMk cId="389114252" sldId="2147470202"/>
        </pc:sldMkLst>
      </pc:sldChg>
      <pc:sldChg chg="modTransition">
        <pc:chgData name="Ian Lumb" userId="2630a383-0cad-4e30-b844-8e87d31697a6" providerId="ADAL" clId="{A993EB0D-6D7E-40FC-934D-6A7175219A8A}" dt="2022-07-01T16:23:12.939" v="11"/>
        <pc:sldMkLst>
          <pc:docMk/>
          <pc:sldMk cId="948348094" sldId="2147470203"/>
        </pc:sldMkLst>
      </pc:sldChg>
      <pc:sldChg chg="modTransition">
        <pc:chgData name="Ian Lumb" userId="2630a383-0cad-4e30-b844-8e87d31697a6" providerId="ADAL" clId="{A993EB0D-6D7E-40FC-934D-6A7175219A8A}" dt="2022-07-01T16:23:12.939" v="11"/>
        <pc:sldMkLst>
          <pc:docMk/>
          <pc:sldMk cId="3775020641" sldId="2147470204"/>
        </pc:sldMkLst>
      </pc:sldChg>
      <pc:sldChg chg="modTransition">
        <pc:chgData name="Ian Lumb" userId="2630a383-0cad-4e30-b844-8e87d31697a6" providerId="ADAL" clId="{A993EB0D-6D7E-40FC-934D-6A7175219A8A}" dt="2022-07-01T16:23:12.939" v="11"/>
        <pc:sldMkLst>
          <pc:docMk/>
          <pc:sldMk cId="339005326" sldId="2147470205"/>
        </pc:sldMkLst>
      </pc:sldChg>
      <pc:sldChg chg="modTransition">
        <pc:chgData name="Ian Lumb" userId="2630a383-0cad-4e30-b844-8e87d31697a6" providerId="ADAL" clId="{A993EB0D-6D7E-40FC-934D-6A7175219A8A}" dt="2022-07-01T16:23:12.939" v="11"/>
        <pc:sldMkLst>
          <pc:docMk/>
          <pc:sldMk cId="374825654" sldId="2147470206"/>
        </pc:sldMkLst>
      </pc:sldChg>
      <pc:sldChg chg="modTransition">
        <pc:chgData name="Ian Lumb" userId="2630a383-0cad-4e30-b844-8e87d31697a6" providerId="ADAL" clId="{A993EB0D-6D7E-40FC-934D-6A7175219A8A}" dt="2022-07-01T16:23:12.939" v="11"/>
        <pc:sldMkLst>
          <pc:docMk/>
          <pc:sldMk cId="3637099010" sldId="2147470207"/>
        </pc:sldMkLst>
      </pc:sldChg>
      <pc:sldChg chg="modTransition">
        <pc:chgData name="Ian Lumb" userId="2630a383-0cad-4e30-b844-8e87d31697a6" providerId="ADAL" clId="{A993EB0D-6D7E-40FC-934D-6A7175219A8A}" dt="2022-07-01T16:23:12.939" v="11"/>
        <pc:sldMkLst>
          <pc:docMk/>
          <pc:sldMk cId="3056651168" sldId="2147470208"/>
        </pc:sldMkLst>
      </pc:sldChg>
      <pc:sldChg chg="modTransition modAnim">
        <pc:chgData name="Ian Lumb" userId="2630a383-0cad-4e30-b844-8e87d31697a6" providerId="ADAL" clId="{A993EB0D-6D7E-40FC-934D-6A7175219A8A}" dt="2022-07-01T16:23:12.939" v="11"/>
        <pc:sldMkLst>
          <pc:docMk/>
          <pc:sldMk cId="3113079371" sldId="2147470209"/>
        </pc:sldMkLst>
      </pc:sldChg>
      <pc:sldChg chg="modTransition modAnim">
        <pc:chgData name="Ian Lumb" userId="2630a383-0cad-4e30-b844-8e87d31697a6" providerId="ADAL" clId="{A993EB0D-6D7E-40FC-934D-6A7175219A8A}" dt="2022-07-01T16:23:12.939" v="11"/>
        <pc:sldMkLst>
          <pc:docMk/>
          <pc:sldMk cId="3873767750" sldId="2147470210"/>
        </pc:sldMkLst>
      </pc:sldChg>
      <pc:sldChg chg="modTransition">
        <pc:chgData name="Ian Lumb" userId="2630a383-0cad-4e30-b844-8e87d31697a6" providerId="ADAL" clId="{A993EB0D-6D7E-40FC-934D-6A7175219A8A}" dt="2022-07-01T16:23:12.939" v="11"/>
        <pc:sldMkLst>
          <pc:docMk/>
          <pc:sldMk cId="1911239123" sldId="2147470211"/>
        </pc:sldMkLst>
      </pc:sldChg>
      <pc:sldChg chg="modTransition modAnim">
        <pc:chgData name="Ian Lumb" userId="2630a383-0cad-4e30-b844-8e87d31697a6" providerId="ADAL" clId="{A993EB0D-6D7E-40FC-934D-6A7175219A8A}" dt="2022-07-01T16:23:12.939" v="11"/>
        <pc:sldMkLst>
          <pc:docMk/>
          <pc:sldMk cId="473287847" sldId="2147470212"/>
        </pc:sldMkLst>
      </pc:sldChg>
      <pc:sldChg chg="modTransition">
        <pc:chgData name="Ian Lumb" userId="2630a383-0cad-4e30-b844-8e87d31697a6" providerId="ADAL" clId="{A993EB0D-6D7E-40FC-934D-6A7175219A8A}" dt="2022-07-01T16:23:12.939" v="11"/>
        <pc:sldMkLst>
          <pc:docMk/>
          <pc:sldMk cId="1471757934" sldId="2147470213"/>
        </pc:sldMkLst>
      </pc:sldChg>
    </pc:docChg>
  </pc:docChgLst>
  <pc:docChgLst>
    <pc:chgData name="Dan Moore" userId="432a1231-f1bc-48da-b3ef-5b1092c905eb" providerId="ADAL" clId="{CBB518F1-6B10-4061-BD79-9045FC6529D7}"/>
    <pc:docChg chg="undo custSel addSld delSld modSld modMainMaster">
      <pc:chgData name="Dan Moore" userId="432a1231-f1bc-48da-b3ef-5b1092c905eb" providerId="ADAL" clId="{CBB518F1-6B10-4061-BD79-9045FC6529D7}" dt="2022-06-29T18:35:19.596" v="1003" actId="207"/>
      <pc:docMkLst>
        <pc:docMk/>
      </pc:docMkLst>
      <pc:sldChg chg="modSp mod">
        <pc:chgData name="Dan Moore" userId="432a1231-f1bc-48da-b3ef-5b1092c905eb" providerId="ADAL" clId="{CBB518F1-6B10-4061-BD79-9045FC6529D7}" dt="2022-06-29T18:34:29.488" v="987" actId="1076"/>
        <pc:sldMkLst>
          <pc:docMk/>
          <pc:sldMk cId="3592828332" sldId="300"/>
        </pc:sldMkLst>
        <pc:picChg chg="mod">
          <ac:chgData name="Dan Moore" userId="432a1231-f1bc-48da-b3ef-5b1092c905eb" providerId="ADAL" clId="{CBB518F1-6B10-4061-BD79-9045FC6529D7}" dt="2022-06-29T18:34:29.488" v="987" actId="1076"/>
          <ac:picMkLst>
            <pc:docMk/>
            <pc:sldMk cId="3592828332" sldId="300"/>
            <ac:picMk id="6" creationId="{A6065E32-A446-F858-F46C-1AB014650FD8}"/>
          </ac:picMkLst>
        </pc:picChg>
      </pc:sldChg>
      <pc:sldChg chg="addSp modSp mod">
        <pc:chgData name="Dan Moore" userId="432a1231-f1bc-48da-b3ef-5b1092c905eb" providerId="ADAL" clId="{CBB518F1-6B10-4061-BD79-9045FC6529D7}" dt="2022-06-29T17:19:14.478" v="78" actId="207"/>
        <pc:sldMkLst>
          <pc:docMk/>
          <pc:sldMk cId="3747391529" sldId="381"/>
        </pc:sldMkLst>
        <pc:spChg chg="add mod">
          <ac:chgData name="Dan Moore" userId="432a1231-f1bc-48da-b3ef-5b1092c905eb" providerId="ADAL" clId="{CBB518F1-6B10-4061-BD79-9045FC6529D7}" dt="2022-06-29T17:18:03.607" v="68" actId="571"/>
          <ac:spMkLst>
            <pc:docMk/>
            <pc:sldMk cId="3747391529" sldId="381"/>
            <ac:spMk id="30" creationId="{16905E0D-BE75-1490-C0BF-9FE2F687C690}"/>
          </ac:spMkLst>
        </pc:spChg>
        <pc:spChg chg="mod">
          <ac:chgData name="Dan Moore" userId="432a1231-f1bc-48da-b3ef-5b1092c905eb" providerId="ADAL" clId="{CBB518F1-6B10-4061-BD79-9045FC6529D7}" dt="2022-06-29T17:19:14.478" v="78" actId="207"/>
          <ac:spMkLst>
            <pc:docMk/>
            <pc:sldMk cId="3747391529" sldId="381"/>
            <ac:spMk id="38" creationId="{5CEC8AA1-5CB1-EB95-94FE-7DD8A710F9CF}"/>
          </ac:spMkLst>
        </pc:spChg>
        <pc:spChg chg="mod">
          <ac:chgData name="Dan Moore" userId="432a1231-f1bc-48da-b3ef-5b1092c905eb" providerId="ADAL" clId="{CBB518F1-6B10-4061-BD79-9045FC6529D7}" dt="2022-06-29T17:19:14.478" v="78" actId="207"/>
          <ac:spMkLst>
            <pc:docMk/>
            <pc:sldMk cId="3747391529" sldId="381"/>
            <ac:spMk id="39" creationId="{DB951C1F-92F3-DCBC-5B69-21F0AFA48289}"/>
          </ac:spMkLst>
        </pc:spChg>
        <pc:spChg chg="mod">
          <ac:chgData name="Dan Moore" userId="432a1231-f1bc-48da-b3ef-5b1092c905eb" providerId="ADAL" clId="{CBB518F1-6B10-4061-BD79-9045FC6529D7}" dt="2022-06-29T17:19:14.478" v="78" actId="207"/>
          <ac:spMkLst>
            <pc:docMk/>
            <pc:sldMk cId="3747391529" sldId="381"/>
            <ac:spMk id="40" creationId="{8EDC4AD0-B938-352F-8C1C-E5AA2A329CA8}"/>
          </ac:spMkLst>
        </pc:spChg>
        <pc:spChg chg="mod">
          <ac:chgData name="Dan Moore" userId="432a1231-f1bc-48da-b3ef-5b1092c905eb" providerId="ADAL" clId="{CBB518F1-6B10-4061-BD79-9045FC6529D7}" dt="2022-06-29T17:18:06.416" v="69" actId="207"/>
          <ac:spMkLst>
            <pc:docMk/>
            <pc:sldMk cId="3747391529" sldId="381"/>
            <ac:spMk id="49" creationId="{968240DC-FEDD-B14D-2173-EAA46F39C6DF}"/>
          </ac:spMkLst>
        </pc:spChg>
        <pc:spChg chg="mod">
          <ac:chgData name="Dan Moore" userId="432a1231-f1bc-48da-b3ef-5b1092c905eb" providerId="ADAL" clId="{CBB518F1-6B10-4061-BD79-9045FC6529D7}" dt="2022-06-29T17:18:03.607" v="68" actId="571"/>
          <ac:spMkLst>
            <pc:docMk/>
            <pc:sldMk cId="3747391529" sldId="381"/>
            <ac:spMk id="51" creationId="{0DF63358-154A-F87B-F9A3-B2A34706F7C3}"/>
          </ac:spMkLst>
        </pc:spChg>
        <pc:grpChg chg="mod">
          <ac:chgData name="Dan Moore" userId="432a1231-f1bc-48da-b3ef-5b1092c905eb" providerId="ADAL" clId="{CBB518F1-6B10-4061-BD79-9045FC6529D7}" dt="2022-06-29T17:18:03.607" v="68" actId="571"/>
          <ac:grpSpMkLst>
            <pc:docMk/>
            <pc:sldMk cId="3747391529" sldId="381"/>
            <ac:grpSpMk id="42" creationId="{F258A256-C831-9C8A-A9D4-CF8956336CA5}"/>
          </ac:grpSpMkLst>
        </pc:grpChg>
        <pc:grpChg chg="mod">
          <ac:chgData name="Dan Moore" userId="432a1231-f1bc-48da-b3ef-5b1092c905eb" providerId="ADAL" clId="{CBB518F1-6B10-4061-BD79-9045FC6529D7}" dt="2022-06-29T17:18:03.607" v="68" actId="571"/>
          <ac:grpSpMkLst>
            <pc:docMk/>
            <pc:sldMk cId="3747391529" sldId="381"/>
            <ac:grpSpMk id="48" creationId="{64B8893F-3CC3-A042-5F97-51261874AE68}"/>
          </ac:grpSpMkLst>
        </pc:grpChg>
        <pc:grpChg chg="mod">
          <ac:chgData name="Dan Moore" userId="432a1231-f1bc-48da-b3ef-5b1092c905eb" providerId="ADAL" clId="{CBB518F1-6B10-4061-BD79-9045FC6529D7}" dt="2022-06-29T17:18:08.767" v="70" actId="207"/>
          <ac:grpSpMkLst>
            <pc:docMk/>
            <pc:sldMk cId="3747391529" sldId="381"/>
            <ac:grpSpMk id="56" creationId="{20D9982D-4897-4E65-7F02-9C5B44A2039C}"/>
          </ac:grpSpMkLst>
        </pc:grpChg>
        <pc:grpChg chg="mod">
          <ac:chgData name="Dan Moore" userId="432a1231-f1bc-48da-b3ef-5b1092c905eb" providerId="ADAL" clId="{CBB518F1-6B10-4061-BD79-9045FC6529D7}" dt="2022-06-29T17:18:11.226" v="71" actId="207"/>
          <ac:grpSpMkLst>
            <pc:docMk/>
            <pc:sldMk cId="3747391529" sldId="381"/>
            <ac:grpSpMk id="72" creationId="{28A13A86-AD8C-DD87-0958-83E8FB8FBB42}"/>
          </ac:grpSpMkLst>
        </pc:grpChg>
        <pc:picChg chg="mod">
          <ac:chgData name="Dan Moore" userId="432a1231-f1bc-48da-b3ef-5b1092c905eb" providerId="ADAL" clId="{CBB518F1-6B10-4061-BD79-9045FC6529D7}" dt="2022-06-29T17:18:03.607" v="68" actId="571"/>
          <ac:picMkLst>
            <pc:docMk/>
            <pc:sldMk cId="3747391529" sldId="381"/>
            <ac:picMk id="50" creationId="{1DE12069-00DB-096B-3CD3-B2DF7B436530}"/>
          </ac:picMkLst>
        </pc:picChg>
        <pc:cxnChg chg="mod">
          <ac:chgData name="Dan Moore" userId="432a1231-f1bc-48da-b3ef-5b1092c905eb" providerId="ADAL" clId="{CBB518F1-6B10-4061-BD79-9045FC6529D7}" dt="2022-06-29T17:18:18.698" v="72" actId="208"/>
          <ac:cxnSpMkLst>
            <pc:docMk/>
            <pc:sldMk cId="3747391529" sldId="381"/>
            <ac:cxnSpMk id="52" creationId="{A97421CF-F74F-3D08-B6B9-CD1EB6EF95DB}"/>
          </ac:cxnSpMkLst>
        </pc:cxnChg>
        <pc:cxnChg chg="mod">
          <ac:chgData name="Dan Moore" userId="432a1231-f1bc-48da-b3ef-5b1092c905eb" providerId="ADAL" clId="{CBB518F1-6B10-4061-BD79-9045FC6529D7}" dt="2022-06-29T17:19:06.949" v="77" actId="208"/>
          <ac:cxnSpMkLst>
            <pc:docMk/>
            <pc:sldMk cId="3747391529" sldId="381"/>
            <ac:cxnSpMk id="54" creationId="{F960C37D-7DCA-E170-BBF1-55FFA8727D79}"/>
          </ac:cxnSpMkLst>
        </pc:cxnChg>
      </pc:sldChg>
      <pc:sldChg chg="modSp mod">
        <pc:chgData name="Dan Moore" userId="432a1231-f1bc-48da-b3ef-5b1092c905eb" providerId="ADAL" clId="{CBB518F1-6B10-4061-BD79-9045FC6529D7}" dt="2022-06-29T17:17:56.526" v="66" actId="1076"/>
        <pc:sldMkLst>
          <pc:docMk/>
          <pc:sldMk cId="1577116663" sldId="9949"/>
        </pc:sldMkLst>
        <pc:spChg chg="mod">
          <ac:chgData name="Dan Moore" userId="432a1231-f1bc-48da-b3ef-5b1092c905eb" providerId="ADAL" clId="{CBB518F1-6B10-4061-BD79-9045FC6529D7}" dt="2022-06-29T17:17:56.526" v="66" actId="1076"/>
          <ac:spMkLst>
            <pc:docMk/>
            <pc:sldMk cId="1577116663" sldId="9949"/>
            <ac:spMk id="4" creationId="{05A10481-8FD3-4432-A4AD-78688D3A311D}"/>
          </ac:spMkLst>
        </pc:spChg>
        <pc:spChg chg="mod">
          <ac:chgData name="Dan Moore" userId="432a1231-f1bc-48da-b3ef-5b1092c905eb" providerId="ADAL" clId="{CBB518F1-6B10-4061-BD79-9045FC6529D7}" dt="2022-06-29T17:17:56.526" v="66" actId="1076"/>
          <ac:spMkLst>
            <pc:docMk/>
            <pc:sldMk cId="1577116663" sldId="9949"/>
            <ac:spMk id="8" creationId="{166A48C7-23C1-4EB7-9B83-01DC9B572A12}"/>
          </ac:spMkLst>
        </pc:spChg>
      </pc:sldChg>
      <pc:sldChg chg="modSp mod">
        <pc:chgData name="Dan Moore" userId="432a1231-f1bc-48da-b3ef-5b1092c905eb" providerId="ADAL" clId="{CBB518F1-6B10-4061-BD79-9045FC6529D7}" dt="2022-06-29T17:17:47.521" v="65" actId="692"/>
        <pc:sldMkLst>
          <pc:docMk/>
          <pc:sldMk cId="2201566731" sldId="11635"/>
        </pc:sldMkLst>
        <pc:cxnChg chg="mod">
          <ac:chgData name="Dan Moore" userId="432a1231-f1bc-48da-b3ef-5b1092c905eb" providerId="ADAL" clId="{CBB518F1-6B10-4061-BD79-9045FC6529D7}" dt="2022-06-29T17:17:47.521" v="65" actId="692"/>
          <ac:cxnSpMkLst>
            <pc:docMk/>
            <pc:sldMk cId="2201566731" sldId="11635"/>
            <ac:cxnSpMk id="7" creationId="{C1D26BD6-4D66-42E1-B3CC-9F1A9EAFA065}"/>
          </ac:cxnSpMkLst>
        </pc:cxnChg>
        <pc:cxnChg chg="mod">
          <ac:chgData name="Dan Moore" userId="432a1231-f1bc-48da-b3ef-5b1092c905eb" providerId="ADAL" clId="{CBB518F1-6B10-4061-BD79-9045FC6529D7}" dt="2022-06-29T17:17:47.521" v="65" actId="692"/>
          <ac:cxnSpMkLst>
            <pc:docMk/>
            <pc:sldMk cId="2201566731" sldId="11635"/>
            <ac:cxnSpMk id="19" creationId="{F4D9441C-731E-4A7C-831B-ED61267DB9A7}"/>
          </ac:cxnSpMkLst>
        </pc:cxnChg>
        <pc:cxnChg chg="mod">
          <ac:chgData name="Dan Moore" userId="432a1231-f1bc-48da-b3ef-5b1092c905eb" providerId="ADAL" clId="{CBB518F1-6B10-4061-BD79-9045FC6529D7}" dt="2022-06-29T17:17:47.521" v="65" actId="692"/>
          <ac:cxnSpMkLst>
            <pc:docMk/>
            <pc:sldMk cId="2201566731" sldId="11635"/>
            <ac:cxnSpMk id="148" creationId="{C04655BA-B96A-4E97-990E-F6BA0D94540B}"/>
          </ac:cxnSpMkLst>
        </pc:cxnChg>
        <pc:cxnChg chg="mod">
          <ac:chgData name="Dan Moore" userId="432a1231-f1bc-48da-b3ef-5b1092c905eb" providerId="ADAL" clId="{CBB518F1-6B10-4061-BD79-9045FC6529D7}" dt="2022-06-29T17:17:47.521" v="65" actId="692"/>
          <ac:cxnSpMkLst>
            <pc:docMk/>
            <pc:sldMk cId="2201566731" sldId="11635"/>
            <ac:cxnSpMk id="225" creationId="{502F4A9D-32E4-4689-983E-0B43304085AB}"/>
          </ac:cxnSpMkLst>
        </pc:cxnChg>
        <pc:cxnChg chg="mod">
          <ac:chgData name="Dan Moore" userId="432a1231-f1bc-48da-b3ef-5b1092c905eb" providerId="ADAL" clId="{CBB518F1-6B10-4061-BD79-9045FC6529D7}" dt="2022-06-29T17:17:47.521" v="65" actId="692"/>
          <ac:cxnSpMkLst>
            <pc:docMk/>
            <pc:sldMk cId="2201566731" sldId="11635"/>
            <ac:cxnSpMk id="240" creationId="{1F9EB1C3-6FAE-48BD-97F8-A4D32CA3A4B8}"/>
          </ac:cxnSpMkLst>
        </pc:cxnChg>
      </pc:sldChg>
      <pc:sldChg chg="addSp modSp mod">
        <pc:chgData name="Dan Moore" userId="432a1231-f1bc-48da-b3ef-5b1092c905eb" providerId="ADAL" clId="{CBB518F1-6B10-4061-BD79-9045FC6529D7}" dt="2022-06-29T18:35:19.596" v="1003" actId="207"/>
        <pc:sldMkLst>
          <pc:docMk/>
          <pc:sldMk cId="1469576865" sldId="11666"/>
        </pc:sldMkLst>
        <pc:spChg chg="mod">
          <ac:chgData name="Dan Moore" userId="432a1231-f1bc-48da-b3ef-5b1092c905eb" providerId="ADAL" clId="{CBB518F1-6B10-4061-BD79-9045FC6529D7}" dt="2022-06-29T18:34:41.268" v="988" actId="1076"/>
          <ac:spMkLst>
            <pc:docMk/>
            <pc:sldMk cId="1469576865" sldId="11666"/>
            <ac:spMk id="101" creationId="{6DB7FB28-BAA6-41F9-B028-2869890E1FDE}"/>
          </ac:spMkLst>
        </pc:spChg>
        <pc:spChg chg="mod">
          <ac:chgData name="Dan Moore" userId="432a1231-f1bc-48da-b3ef-5b1092c905eb" providerId="ADAL" clId="{CBB518F1-6B10-4061-BD79-9045FC6529D7}" dt="2022-06-29T18:34:44.736" v="989" actId="1076"/>
          <ac:spMkLst>
            <pc:docMk/>
            <pc:sldMk cId="1469576865" sldId="11666"/>
            <ac:spMk id="202" creationId="{B5F485A7-1C03-6CA4-0D58-D7CC8A4E4135}"/>
          </ac:spMkLst>
        </pc:spChg>
        <pc:spChg chg="add mod">
          <ac:chgData name="Dan Moore" userId="432a1231-f1bc-48da-b3ef-5b1092c905eb" providerId="ADAL" clId="{CBB518F1-6B10-4061-BD79-9045FC6529D7}" dt="2022-06-29T18:35:19.596" v="1003" actId="207"/>
          <ac:spMkLst>
            <pc:docMk/>
            <pc:sldMk cId="1469576865" sldId="11666"/>
            <ac:spMk id="203" creationId="{2EAF50D7-CB31-5199-D137-8D3B227D1E7D}"/>
          </ac:spMkLst>
        </pc:spChg>
        <pc:grpChg chg="mod">
          <ac:chgData name="Dan Moore" userId="432a1231-f1bc-48da-b3ef-5b1092c905eb" providerId="ADAL" clId="{CBB518F1-6B10-4061-BD79-9045FC6529D7}" dt="2022-06-29T18:34:41.268" v="988" actId="1076"/>
          <ac:grpSpMkLst>
            <pc:docMk/>
            <pc:sldMk cId="1469576865" sldId="11666"/>
            <ac:grpSpMk id="4" creationId="{F87E7A7F-CAE7-1E91-30F5-EE547B35FA05}"/>
          </ac:grpSpMkLst>
        </pc:grpChg>
        <pc:grpChg chg="mod">
          <ac:chgData name="Dan Moore" userId="432a1231-f1bc-48da-b3ef-5b1092c905eb" providerId="ADAL" clId="{CBB518F1-6B10-4061-BD79-9045FC6529D7}" dt="2022-06-29T18:34:44.736" v="989" actId="1076"/>
          <ac:grpSpMkLst>
            <pc:docMk/>
            <pc:sldMk cId="1469576865" sldId="11666"/>
            <ac:grpSpMk id="49" creationId="{06CABC0E-946C-CFC9-7339-653202616FDA}"/>
          </ac:grpSpMkLst>
        </pc:grpChg>
      </pc:sldChg>
      <pc:sldChg chg="delSp modSp mod">
        <pc:chgData name="Dan Moore" userId="432a1231-f1bc-48da-b3ef-5b1092c905eb" providerId="ADAL" clId="{CBB518F1-6B10-4061-BD79-9045FC6529D7}" dt="2022-06-29T17:58:03.974" v="728" actId="1076"/>
        <pc:sldMkLst>
          <pc:docMk/>
          <pc:sldMk cId="2205024091" sldId="11667"/>
        </pc:sldMkLst>
        <pc:spChg chg="del mod">
          <ac:chgData name="Dan Moore" userId="432a1231-f1bc-48da-b3ef-5b1092c905eb" providerId="ADAL" clId="{CBB518F1-6B10-4061-BD79-9045FC6529D7}" dt="2022-06-29T17:55:10.286" v="674" actId="478"/>
          <ac:spMkLst>
            <pc:docMk/>
            <pc:sldMk cId="2205024091" sldId="11667"/>
            <ac:spMk id="5" creationId="{977F8249-6DA7-B56A-1915-D8EC0F48466E}"/>
          </ac:spMkLst>
        </pc:spChg>
        <pc:spChg chg="del mod">
          <ac:chgData name="Dan Moore" userId="432a1231-f1bc-48da-b3ef-5b1092c905eb" providerId="ADAL" clId="{CBB518F1-6B10-4061-BD79-9045FC6529D7}" dt="2022-06-29T17:55:18.192" v="677" actId="478"/>
          <ac:spMkLst>
            <pc:docMk/>
            <pc:sldMk cId="2205024091" sldId="11667"/>
            <ac:spMk id="16" creationId="{7A7645A4-FB91-4EC2-8153-9DF11B6872E2}"/>
          </ac:spMkLst>
        </pc:spChg>
        <pc:spChg chg="mod">
          <ac:chgData name="Dan Moore" userId="432a1231-f1bc-48da-b3ef-5b1092c905eb" providerId="ADAL" clId="{CBB518F1-6B10-4061-BD79-9045FC6529D7}" dt="2022-06-29T17:56:37.578" v="697" actId="207"/>
          <ac:spMkLst>
            <pc:docMk/>
            <pc:sldMk cId="2205024091" sldId="11667"/>
            <ac:spMk id="19" creationId="{45BE0DC7-95EF-419B-A3CB-981E0572008A}"/>
          </ac:spMkLst>
        </pc:spChg>
        <pc:spChg chg="mod">
          <ac:chgData name="Dan Moore" userId="432a1231-f1bc-48da-b3ef-5b1092c905eb" providerId="ADAL" clId="{CBB518F1-6B10-4061-BD79-9045FC6529D7}" dt="2022-06-29T17:56:57.531" v="700" actId="1076"/>
          <ac:spMkLst>
            <pc:docMk/>
            <pc:sldMk cId="2205024091" sldId="11667"/>
            <ac:spMk id="30" creationId="{8B419238-0FD1-42CA-8B08-6E1CB66701CB}"/>
          </ac:spMkLst>
        </pc:spChg>
        <pc:spChg chg="mod">
          <ac:chgData name="Dan Moore" userId="432a1231-f1bc-48da-b3ef-5b1092c905eb" providerId="ADAL" clId="{CBB518F1-6B10-4061-BD79-9045FC6529D7}" dt="2022-06-29T17:56:57.531" v="700" actId="1076"/>
          <ac:spMkLst>
            <pc:docMk/>
            <pc:sldMk cId="2205024091" sldId="11667"/>
            <ac:spMk id="31" creationId="{CBEFC9B1-331C-4145-8ECB-233ECA7DC582}"/>
          </ac:spMkLst>
        </pc:spChg>
        <pc:spChg chg="mod">
          <ac:chgData name="Dan Moore" userId="432a1231-f1bc-48da-b3ef-5b1092c905eb" providerId="ADAL" clId="{CBB518F1-6B10-4061-BD79-9045FC6529D7}" dt="2022-06-29T17:57:19.327" v="704" actId="207"/>
          <ac:spMkLst>
            <pc:docMk/>
            <pc:sldMk cId="2205024091" sldId="11667"/>
            <ac:spMk id="38" creationId="{9548439B-5518-4FBC-8E13-B755AE28E634}"/>
          </ac:spMkLst>
        </pc:spChg>
        <pc:spChg chg="del mod">
          <ac:chgData name="Dan Moore" userId="432a1231-f1bc-48da-b3ef-5b1092c905eb" providerId="ADAL" clId="{CBB518F1-6B10-4061-BD79-9045FC6529D7}" dt="2022-06-29T17:55:16.942" v="676" actId="478"/>
          <ac:spMkLst>
            <pc:docMk/>
            <pc:sldMk cId="2205024091" sldId="11667"/>
            <ac:spMk id="45" creationId="{46A34C14-A827-44D9-B456-61891744B567}"/>
          </ac:spMkLst>
        </pc:spChg>
        <pc:spChg chg="del mod">
          <ac:chgData name="Dan Moore" userId="432a1231-f1bc-48da-b3ef-5b1092c905eb" providerId="ADAL" clId="{CBB518F1-6B10-4061-BD79-9045FC6529D7}" dt="2022-06-29T17:55:19.434" v="678" actId="478"/>
          <ac:spMkLst>
            <pc:docMk/>
            <pc:sldMk cId="2205024091" sldId="11667"/>
            <ac:spMk id="46" creationId="{40D890C5-DCAC-4CEF-BFC6-F7E09929818E}"/>
          </ac:spMkLst>
        </pc:spChg>
        <pc:spChg chg="mod">
          <ac:chgData name="Dan Moore" userId="432a1231-f1bc-48da-b3ef-5b1092c905eb" providerId="ADAL" clId="{CBB518F1-6B10-4061-BD79-9045FC6529D7}" dt="2022-06-29T17:55:48.495" v="691" actId="1076"/>
          <ac:spMkLst>
            <pc:docMk/>
            <pc:sldMk cId="2205024091" sldId="11667"/>
            <ac:spMk id="191" creationId="{A052D95C-9C8D-49EA-AEED-AC6488B691CF}"/>
          </ac:spMkLst>
        </pc:spChg>
        <pc:spChg chg="mod">
          <ac:chgData name="Dan Moore" userId="432a1231-f1bc-48da-b3ef-5b1092c905eb" providerId="ADAL" clId="{CBB518F1-6B10-4061-BD79-9045FC6529D7}" dt="2022-06-29T17:55:48.495" v="691" actId="1076"/>
          <ac:spMkLst>
            <pc:docMk/>
            <pc:sldMk cId="2205024091" sldId="11667"/>
            <ac:spMk id="192" creationId="{4149B70E-53F2-4FE1-9822-69A3EF7F3E8D}"/>
          </ac:spMkLst>
        </pc:spChg>
        <pc:spChg chg="mod">
          <ac:chgData name="Dan Moore" userId="432a1231-f1bc-48da-b3ef-5b1092c905eb" providerId="ADAL" clId="{CBB518F1-6B10-4061-BD79-9045FC6529D7}" dt="2022-06-29T17:58:03.974" v="728" actId="1076"/>
          <ac:spMkLst>
            <pc:docMk/>
            <pc:sldMk cId="2205024091" sldId="11667"/>
            <ac:spMk id="193" creationId="{AC0E5766-1954-4C22-B71C-3844E1251054}"/>
          </ac:spMkLst>
        </pc:spChg>
        <pc:grpChg chg="mod">
          <ac:chgData name="Dan Moore" userId="432a1231-f1bc-48da-b3ef-5b1092c905eb" providerId="ADAL" clId="{CBB518F1-6B10-4061-BD79-9045FC6529D7}" dt="2022-06-29T17:55:48.495" v="691" actId="1076"/>
          <ac:grpSpMkLst>
            <pc:docMk/>
            <pc:sldMk cId="2205024091" sldId="11667"/>
            <ac:grpSpMk id="2" creationId="{7C1061D1-3EFF-427B-9696-C8E6304FD53F}"/>
          </ac:grpSpMkLst>
        </pc:grpChg>
        <pc:graphicFrameChg chg="mod">
          <ac:chgData name="Dan Moore" userId="432a1231-f1bc-48da-b3ef-5b1092c905eb" providerId="ADAL" clId="{CBB518F1-6B10-4061-BD79-9045FC6529D7}" dt="2022-06-29T17:56:31.451" v="696"/>
          <ac:graphicFrameMkLst>
            <pc:docMk/>
            <pc:sldMk cId="2205024091" sldId="11667"/>
            <ac:graphicFrameMk id="6" creationId="{159CE178-6CB8-4B5B-876B-EC5693096562}"/>
          </ac:graphicFrameMkLst>
        </pc:graphicFrameChg>
        <pc:graphicFrameChg chg="mod">
          <ac:chgData name="Dan Moore" userId="432a1231-f1bc-48da-b3ef-5b1092c905eb" providerId="ADAL" clId="{CBB518F1-6B10-4061-BD79-9045FC6529D7}" dt="2022-06-29T17:57:02.188" v="702" actId="1076"/>
          <ac:graphicFrameMkLst>
            <pc:docMk/>
            <pc:sldMk cId="2205024091" sldId="11667"/>
            <ac:graphicFrameMk id="29" creationId="{C55524A3-C90B-4FFD-80AD-42DAC9BD92D3}"/>
          </ac:graphicFrameMkLst>
        </pc:graphicFrameChg>
        <pc:graphicFrameChg chg="mod">
          <ac:chgData name="Dan Moore" userId="432a1231-f1bc-48da-b3ef-5b1092c905eb" providerId="ADAL" clId="{CBB518F1-6B10-4061-BD79-9045FC6529D7}" dt="2022-06-29T17:57:13.413" v="703"/>
          <ac:graphicFrameMkLst>
            <pc:docMk/>
            <pc:sldMk cId="2205024091" sldId="11667"/>
            <ac:graphicFrameMk id="37" creationId="{7EB7CECC-5620-4706-A4B2-CC1204E79068}"/>
          </ac:graphicFrameMkLst>
        </pc:graphicFrameChg>
        <pc:picChg chg="mod">
          <ac:chgData name="Dan Moore" userId="432a1231-f1bc-48da-b3ef-5b1092c905eb" providerId="ADAL" clId="{CBB518F1-6B10-4061-BD79-9045FC6529D7}" dt="2022-06-29T17:55:48.495" v="691" actId="1076"/>
          <ac:picMkLst>
            <pc:docMk/>
            <pc:sldMk cId="2205024091" sldId="11667"/>
            <ac:picMk id="10" creationId="{D54B461C-FE2A-4A29-B333-7C3D0B615D2E}"/>
          </ac:picMkLst>
        </pc:picChg>
        <pc:picChg chg="mod">
          <ac:chgData name="Dan Moore" userId="432a1231-f1bc-48da-b3ef-5b1092c905eb" providerId="ADAL" clId="{CBB518F1-6B10-4061-BD79-9045FC6529D7}" dt="2022-06-29T17:55:48.495" v="691" actId="1076"/>
          <ac:picMkLst>
            <pc:docMk/>
            <pc:sldMk cId="2205024091" sldId="11667"/>
            <ac:picMk id="11" creationId="{80A88B07-305D-4887-8E8C-67C0F7D16FFD}"/>
          </ac:picMkLst>
        </pc:picChg>
        <pc:picChg chg="mod">
          <ac:chgData name="Dan Moore" userId="432a1231-f1bc-48da-b3ef-5b1092c905eb" providerId="ADAL" clId="{CBB518F1-6B10-4061-BD79-9045FC6529D7}" dt="2022-06-29T17:55:48.495" v="691" actId="1076"/>
          <ac:picMkLst>
            <pc:docMk/>
            <pc:sldMk cId="2205024091" sldId="11667"/>
            <ac:picMk id="12" creationId="{9354F5F7-68D3-412F-A822-277FEFFC160B}"/>
          </ac:picMkLst>
        </pc:picChg>
        <pc:picChg chg="del mod">
          <ac:chgData name="Dan Moore" userId="432a1231-f1bc-48da-b3ef-5b1092c905eb" providerId="ADAL" clId="{CBB518F1-6B10-4061-BD79-9045FC6529D7}" dt="2022-06-29T17:55:21.346" v="679" actId="478"/>
          <ac:picMkLst>
            <pc:docMk/>
            <pc:sldMk cId="2205024091" sldId="11667"/>
            <ac:picMk id="39" creationId="{2B18B634-6631-43B3-AFA1-E1422FCEDACF}"/>
          </ac:picMkLst>
        </pc:picChg>
        <pc:picChg chg="mod">
          <ac:chgData name="Dan Moore" userId="432a1231-f1bc-48da-b3ef-5b1092c905eb" providerId="ADAL" clId="{CBB518F1-6B10-4061-BD79-9045FC6529D7}" dt="2022-06-29T17:55:48.495" v="691" actId="1076"/>
          <ac:picMkLst>
            <pc:docMk/>
            <pc:sldMk cId="2205024091" sldId="11667"/>
            <ac:picMk id="47" creationId="{87E5DD31-F748-4771-9DC0-1FAFD8276FF0}"/>
          </ac:picMkLst>
        </pc:picChg>
        <pc:picChg chg="mod">
          <ac:chgData name="Dan Moore" userId="432a1231-f1bc-48da-b3ef-5b1092c905eb" providerId="ADAL" clId="{CBB518F1-6B10-4061-BD79-9045FC6529D7}" dt="2022-06-29T17:55:48.495" v="691" actId="1076"/>
          <ac:picMkLst>
            <pc:docMk/>
            <pc:sldMk cId="2205024091" sldId="11667"/>
            <ac:picMk id="4102" creationId="{F9B64642-C8D8-4BE7-9F57-556ABE53E8A9}"/>
          </ac:picMkLst>
        </pc:picChg>
        <pc:cxnChg chg="mod">
          <ac:chgData name="Dan Moore" userId="432a1231-f1bc-48da-b3ef-5b1092c905eb" providerId="ADAL" clId="{CBB518F1-6B10-4061-BD79-9045FC6529D7}" dt="2022-06-29T17:56:01.432" v="693" actId="208"/>
          <ac:cxnSpMkLst>
            <pc:docMk/>
            <pc:sldMk cId="2205024091" sldId="11667"/>
            <ac:cxnSpMk id="21" creationId="{73D4366F-08DB-49BC-B993-2FEB60DAAD11}"/>
          </ac:cxnSpMkLst>
        </pc:cxnChg>
        <pc:cxnChg chg="mod">
          <ac:chgData name="Dan Moore" userId="432a1231-f1bc-48da-b3ef-5b1092c905eb" providerId="ADAL" clId="{CBB518F1-6B10-4061-BD79-9045FC6529D7}" dt="2022-06-29T17:55:56.176" v="692" actId="208"/>
          <ac:cxnSpMkLst>
            <pc:docMk/>
            <pc:sldMk cId="2205024091" sldId="11667"/>
            <ac:cxnSpMk id="52" creationId="{3162A5FA-7ADC-4F38-B358-D8E9E4BED325}"/>
          </ac:cxnSpMkLst>
        </pc:cxnChg>
        <pc:cxnChg chg="del mod">
          <ac:chgData name="Dan Moore" userId="432a1231-f1bc-48da-b3ef-5b1092c905eb" providerId="ADAL" clId="{CBB518F1-6B10-4061-BD79-9045FC6529D7}" dt="2022-06-29T17:55:26.744" v="683" actId="478"/>
          <ac:cxnSpMkLst>
            <pc:docMk/>
            <pc:sldMk cId="2205024091" sldId="11667"/>
            <ac:cxnSpMk id="53" creationId="{4AD52443-7AC7-490C-8A44-CB3A676FF0D6}"/>
          </ac:cxnSpMkLst>
        </pc:cxnChg>
      </pc:sldChg>
      <pc:sldChg chg="addSp delSp modSp mod">
        <pc:chgData name="Dan Moore" userId="432a1231-f1bc-48da-b3ef-5b1092c905eb" providerId="ADAL" clId="{CBB518F1-6B10-4061-BD79-9045FC6529D7}" dt="2022-06-29T18:22:22.183" v="983" actId="1076"/>
        <pc:sldMkLst>
          <pc:docMk/>
          <pc:sldMk cId="267651035" sldId="11672"/>
        </pc:sldMkLst>
        <pc:spChg chg="add del">
          <ac:chgData name="Dan Moore" userId="432a1231-f1bc-48da-b3ef-5b1092c905eb" providerId="ADAL" clId="{CBB518F1-6B10-4061-BD79-9045FC6529D7}" dt="2022-06-29T18:21:43.124" v="974" actId="478"/>
          <ac:spMkLst>
            <pc:docMk/>
            <pc:sldMk cId="267651035" sldId="11672"/>
            <ac:spMk id="3" creationId="{A3B5F345-6454-41E2-9269-006C63880F5D}"/>
          </ac:spMkLst>
        </pc:spChg>
        <pc:spChg chg="mod">
          <ac:chgData name="Dan Moore" userId="432a1231-f1bc-48da-b3ef-5b1092c905eb" providerId="ADAL" clId="{CBB518F1-6B10-4061-BD79-9045FC6529D7}" dt="2022-06-29T18:21:57.998" v="980" actId="404"/>
          <ac:spMkLst>
            <pc:docMk/>
            <pc:sldMk cId="267651035" sldId="11672"/>
            <ac:spMk id="11" creationId="{3E094EAE-ABCC-49D2-A6D0-21DC19273D0F}"/>
          </ac:spMkLst>
        </pc:spChg>
        <pc:spChg chg="mod">
          <ac:chgData name="Dan Moore" userId="432a1231-f1bc-48da-b3ef-5b1092c905eb" providerId="ADAL" clId="{CBB518F1-6B10-4061-BD79-9045FC6529D7}" dt="2022-06-29T18:21:57.998" v="980" actId="404"/>
          <ac:spMkLst>
            <pc:docMk/>
            <pc:sldMk cId="267651035" sldId="11672"/>
            <ac:spMk id="12" creationId="{FC2A91E1-3534-4158-9330-10FFDAAD41F5}"/>
          </ac:spMkLst>
        </pc:spChg>
        <pc:spChg chg="mod topLvl">
          <ac:chgData name="Dan Moore" userId="432a1231-f1bc-48da-b3ef-5b1092c905eb" providerId="ADAL" clId="{CBB518F1-6B10-4061-BD79-9045FC6529D7}" dt="2022-06-29T18:21:57.998" v="980" actId="404"/>
          <ac:spMkLst>
            <pc:docMk/>
            <pc:sldMk cId="267651035" sldId="11672"/>
            <ac:spMk id="15" creationId="{2B0E09C2-44D0-47AF-8E31-9A346E2EF39B}"/>
          </ac:spMkLst>
        </pc:spChg>
        <pc:spChg chg="mod">
          <ac:chgData name="Dan Moore" userId="432a1231-f1bc-48da-b3ef-5b1092c905eb" providerId="ADAL" clId="{CBB518F1-6B10-4061-BD79-9045FC6529D7}" dt="2022-06-29T18:21:57.998" v="980" actId="404"/>
          <ac:spMkLst>
            <pc:docMk/>
            <pc:sldMk cId="267651035" sldId="11672"/>
            <ac:spMk id="16" creationId="{7A945C74-7EB7-4119-952F-E31F72E5AB9A}"/>
          </ac:spMkLst>
        </pc:spChg>
        <pc:spChg chg="mod">
          <ac:chgData name="Dan Moore" userId="432a1231-f1bc-48da-b3ef-5b1092c905eb" providerId="ADAL" clId="{CBB518F1-6B10-4061-BD79-9045FC6529D7}" dt="2022-06-29T18:21:57.998" v="980" actId="404"/>
          <ac:spMkLst>
            <pc:docMk/>
            <pc:sldMk cId="267651035" sldId="11672"/>
            <ac:spMk id="17" creationId="{83803F2F-00B8-46C6-AFD0-0D416AC11676}"/>
          </ac:spMkLst>
        </pc:spChg>
        <pc:spChg chg="mod">
          <ac:chgData name="Dan Moore" userId="432a1231-f1bc-48da-b3ef-5b1092c905eb" providerId="ADAL" clId="{CBB518F1-6B10-4061-BD79-9045FC6529D7}" dt="2022-06-29T18:21:57.998" v="980" actId="404"/>
          <ac:spMkLst>
            <pc:docMk/>
            <pc:sldMk cId="267651035" sldId="11672"/>
            <ac:spMk id="18" creationId="{8FD7F656-45E3-44DB-9927-7CC7D913C7CB}"/>
          </ac:spMkLst>
        </pc:spChg>
        <pc:spChg chg="mod">
          <ac:chgData name="Dan Moore" userId="432a1231-f1bc-48da-b3ef-5b1092c905eb" providerId="ADAL" clId="{CBB518F1-6B10-4061-BD79-9045FC6529D7}" dt="2022-06-29T18:21:57.998" v="980" actId="404"/>
          <ac:spMkLst>
            <pc:docMk/>
            <pc:sldMk cId="267651035" sldId="11672"/>
            <ac:spMk id="22" creationId="{0F787360-51DA-4B61-A28E-CDAF60C4ED88}"/>
          </ac:spMkLst>
        </pc:spChg>
        <pc:spChg chg="mod">
          <ac:chgData name="Dan Moore" userId="432a1231-f1bc-48da-b3ef-5b1092c905eb" providerId="ADAL" clId="{CBB518F1-6B10-4061-BD79-9045FC6529D7}" dt="2022-06-29T18:21:57.998" v="980" actId="404"/>
          <ac:spMkLst>
            <pc:docMk/>
            <pc:sldMk cId="267651035" sldId="11672"/>
            <ac:spMk id="23" creationId="{2B5651A2-2557-47AD-9837-09817589427A}"/>
          </ac:spMkLst>
        </pc:spChg>
        <pc:spChg chg="mod">
          <ac:chgData name="Dan Moore" userId="432a1231-f1bc-48da-b3ef-5b1092c905eb" providerId="ADAL" clId="{CBB518F1-6B10-4061-BD79-9045FC6529D7}" dt="2022-06-29T18:21:57.998" v="980" actId="404"/>
          <ac:spMkLst>
            <pc:docMk/>
            <pc:sldMk cId="267651035" sldId="11672"/>
            <ac:spMk id="24" creationId="{ABAED325-6985-43C7-B674-802D1E0F1399}"/>
          </ac:spMkLst>
        </pc:spChg>
        <pc:spChg chg="mod">
          <ac:chgData name="Dan Moore" userId="432a1231-f1bc-48da-b3ef-5b1092c905eb" providerId="ADAL" clId="{CBB518F1-6B10-4061-BD79-9045FC6529D7}" dt="2022-06-29T18:21:57.998" v="980" actId="404"/>
          <ac:spMkLst>
            <pc:docMk/>
            <pc:sldMk cId="267651035" sldId="11672"/>
            <ac:spMk id="25" creationId="{C1466742-E534-4E52-BD00-B9D8E7AADFC9}"/>
          </ac:spMkLst>
        </pc:spChg>
        <pc:spChg chg="mod">
          <ac:chgData name="Dan Moore" userId="432a1231-f1bc-48da-b3ef-5b1092c905eb" providerId="ADAL" clId="{CBB518F1-6B10-4061-BD79-9045FC6529D7}" dt="2022-06-29T18:21:57.998" v="980" actId="404"/>
          <ac:spMkLst>
            <pc:docMk/>
            <pc:sldMk cId="267651035" sldId="11672"/>
            <ac:spMk id="26" creationId="{4E486E79-D956-4267-89BC-0879DCC4FFC6}"/>
          </ac:spMkLst>
        </pc:spChg>
        <pc:spChg chg="mod">
          <ac:chgData name="Dan Moore" userId="432a1231-f1bc-48da-b3ef-5b1092c905eb" providerId="ADAL" clId="{CBB518F1-6B10-4061-BD79-9045FC6529D7}" dt="2022-06-29T18:21:57.998" v="980" actId="404"/>
          <ac:spMkLst>
            <pc:docMk/>
            <pc:sldMk cId="267651035" sldId="11672"/>
            <ac:spMk id="28" creationId="{DBA86B9B-3562-4ECD-898D-0B7A6E0D9B45}"/>
          </ac:spMkLst>
        </pc:spChg>
        <pc:spChg chg="mod">
          <ac:chgData name="Dan Moore" userId="432a1231-f1bc-48da-b3ef-5b1092c905eb" providerId="ADAL" clId="{CBB518F1-6B10-4061-BD79-9045FC6529D7}" dt="2022-06-29T18:21:57.998" v="980" actId="404"/>
          <ac:spMkLst>
            <pc:docMk/>
            <pc:sldMk cId="267651035" sldId="11672"/>
            <ac:spMk id="29" creationId="{46244F24-3912-46D2-9E04-2E23AE07FA6B}"/>
          </ac:spMkLst>
        </pc:spChg>
        <pc:spChg chg="mod">
          <ac:chgData name="Dan Moore" userId="432a1231-f1bc-48da-b3ef-5b1092c905eb" providerId="ADAL" clId="{CBB518F1-6B10-4061-BD79-9045FC6529D7}" dt="2022-06-29T18:21:57.998" v="980" actId="404"/>
          <ac:spMkLst>
            <pc:docMk/>
            <pc:sldMk cId="267651035" sldId="11672"/>
            <ac:spMk id="30" creationId="{A5D3C786-6668-42AC-B8A5-363F7A23751A}"/>
          </ac:spMkLst>
        </pc:spChg>
        <pc:spChg chg="mod">
          <ac:chgData name="Dan Moore" userId="432a1231-f1bc-48da-b3ef-5b1092c905eb" providerId="ADAL" clId="{CBB518F1-6B10-4061-BD79-9045FC6529D7}" dt="2022-06-29T18:21:57.998" v="980" actId="404"/>
          <ac:spMkLst>
            <pc:docMk/>
            <pc:sldMk cId="267651035" sldId="11672"/>
            <ac:spMk id="31" creationId="{1FAD0A15-B7D0-481C-8801-90B94D8DF23E}"/>
          </ac:spMkLst>
        </pc:spChg>
        <pc:spChg chg="mod">
          <ac:chgData name="Dan Moore" userId="432a1231-f1bc-48da-b3ef-5b1092c905eb" providerId="ADAL" clId="{CBB518F1-6B10-4061-BD79-9045FC6529D7}" dt="2022-06-29T18:21:57.998" v="980" actId="404"/>
          <ac:spMkLst>
            <pc:docMk/>
            <pc:sldMk cId="267651035" sldId="11672"/>
            <ac:spMk id="32" creationId="{B0F793AE-B45E-4922-BAF2-4D5BC182082F}"/>
          </ac:spMkLst>
        </pc:spChg>
        <pc:spChg chg="mod">
          <ac:chgData name="Dan Moore" userId="432a1231-f1bc-48da-b3ef-5b1092c905eb" providerId="ADAL" clId="{CBB518F1-6B10-4061-BD79-9045FC6529D7}" dt="2022-06-29T18:21:57.998" v="980" actId="404"/>
          <ac:spMkLst>
            <pc:docMk/>
            <pc:sldMk cId="267651035" sldId="11672"/>
            <ac:spMk id="33" creationId="{997CAF2D-C6A4-46F7-8548-522E83D3BD46}"/>
          </ac:spMkLst>
        </pc:spChg>
        <pc:spChg chg="mod">
          <ac:chgData name="Dan Moore" userId="432a1231-f1bc-48da-b3ef-5b1092c905eb" providerId="ADAL" clId="{CBB518F1-6B10-4061-BD79-9045FC6529D7}" dt="2022-06-29T18:21:57.998" v="980" actId="404"/>
          <ac:spMkLst>
            <pc:docMk/>
            <pc:sldMk cId="267651035" sldId="11672"/>
            <ac:spMk id="34" creationId="{42D6DCBC-A54E-4870-9B9C-82DF99767616}"/>
          </ac:spMkLst>
        </pc:spChg>
        <pc:spChg chg="mod">
          <ac:chgData name="Dan Moore" userId="432a1231-f1bc-48da-b3ef-5b1092c905eb" providerId="ADAL" clId="{CBB518F1-6B10-4061-BD79-9045FC6529D7}" dt="2022-06-29T18:21:57.998" v="980" actId="404"/>
          <ac:spMkLst>
            <pc:docMk/>
            <pc:sldMk cId="267651035" sldId="11672"/>
            <ac:spMk id="37" creationId="{A3A35DC4-FA69-4E16-90E4-B428FD6BA0A5}"/>
          </ac:spMkLst>
        </pc:spChg>
        <pc:spChg chg="mod">
          <ac:chgData name="Dan Moore" userId="432a1231-f1bc-48da-b3ef-5b1092c905eb" providerId="ADAL" clId="{CBB518F1-6B10-4061-BD79-9045FC6529D7}" dt="2022-06-29T18:21:57.998" v="980" actId="404"/>
          <ac:spMkLst>
            <pc:docMk/>
            <pc:sldMk cId="267651035" sldId="11672"/>
            <ac:spMk id="38" creationId="{96642271-92D4-4082-A3AC-320FF2C0AEAD}"/>
          </ac:spMkLst>
        </pc:spChg>
        <pc:spChg chg="mod">
          <ac:chgData name="Dan Moore" userId="432a1231-f1bc-48da-b3ef-5b1092c905eb" providerId="ADAL" clId="{CBB518F1-6B10-4061-BD79-9045FC6529D7}" dt="2022-06-29T18:21:57.998" v="980" actId="404"/>
          <ac:spMkLst>
            <pc:docMk/>
            <pc:sldMk cId="267651035" sldId="11672"/>
            <ac:spMk id="39" creationId="{C94F9323-C2AB-4CA1-A649-FB4F90E55B55}"/>
          </ac:spMkLst>
        </pc:spChg>
        <pc:spChg chg="mod">
          <ac:chgData name="Dan Moore" userId="432a1231-f1bc-48da-b3ef-5b1092c905eb" providerId="ADAL" clId="{CBB518F1-6B10-4061-BD79-9045FC6529D7}" dt="2022-06-29T18:21:57.998" v="980" actId="404"/>
          <ac:spMkLst>
            <pc:docMk/>
            <pc:sldMk cId="267651035" sldId="11672"/>
            <ac:spMk id="40" creationId="{15EE9E79-C0D8-41BA-A69A-1E56334D04FF}"/>
          </ac:spMkLst>
        </pc:spChg>
        <pc:spChg chg="mod">
          <ac:chgData name="Dan Moore" userId="432a1231-f1bc-48da-b3ef-5b1092c905eb" providerId="ADAL" clId="{CBB518F1-6B10-4061-BD79-9045FC6529D7}" dt="2022-06-29T18:21:57.998" v="980" actId="404"/>
          <ac:spMkLst>
            <pc:docMk/>
            <pc:sldMk cId="267651035" sldId="11672"/>
            <ac:spMk id="41" creationId="{7206DE75-8B2A-4A30-A30B-0EBFFC1ADF33}"/>
          </ac:spMkLst>
        </pc:spChg>
        <pc:spChg chg="mod">
          <ac:chgData name="Dan Moore" userId="432a1231-f1bc-48da-b3ef-5b1092c905eb" providerId="ADAL" clId="{CBB518F1-6B10-4061-BD79-9045FC6529D7}" dt="2022-06-29T18:21:57.998" v="980" actId="404"/>
          <ac:spMkLst>
            <pc:docMk/>
            <pc:sldMk cId="267651035" sldId="11672"/>
            <ac:spMk id="42" creationId="{6D76348E-8369-47C7-A5E2-73F67B5389CE}"/>
          </ac:spMkLst>
        </pc:spChg>
        <pc:spChg chg="mod">
          <ac:chgData name="Dan Moore" userId="432a1231-f1bc-48da-b3ef-5b1092c905eb" providerId="ADAL" clId="{CBB518F1-6B10-4061-BD79-9045FC6529D7}" dt="2022-06-29T18:21:57.998" v="980" actId="404"/>
          <ac:spMkLst>
            <pc:docMk/>
            <pc:sldMk cId="267651035" sldId="11672"/>
            <ac:spMk id="43" creationId="{7FAEF977-F710-4A04-8EDB-027A16E093D0}"/>
          </ac:spMkLst>
        </pc:spChg>
        <pc:spChg chg="mod">
          <ac:chgData name="Dan Moore" userId="432a1231-f1bc-48da-b3ef-5b1092c905eb" providerId="ADAL" clId="{CBB518F1-6B10-4061-BD79-9045FC6529D7}" dt="2022-06-29T18:21:57.998" v="980" actId="404"/>
          <ac:spMkLst>
            <pc:docMk/>
            <pc:sldMk cId="267651035" sldId="11672"/>
            <ac:spMk id="44" creationId="{F5C50047-CB2C-40BF-B932-58FFB30D3DE5}"/>
          </ac:spMkLst>
        </pc:spChg>
        <pc:spChg chg="mod">
          <ac:chgData name="Dan Moore" userId="432a1231-f1bc-48da-b3ef-5b1092c905eb" providerId="ADAL" clId="{CBB518F1-6B10-4061-BD79-9045FC6529D7}" dt="2022-06-29T18:21:57.998" v="980" actId="404"/>
          <ac:spMkLst>
            <pc:docMk/>
            <pc:sldMk cId="267651035" sldId="11672"/>
            <ac:spMk id="45" creationId="{DC019FA8-33DC-42B6-80B1-C432997375FC}"/>
          </ac:spMkLst>
        </pc:spChg>
        <pc:spChg chg="mod">
          <ac:chgData name="Dan Moore" userId="432a1231-f1bc-48da-b3ef-5b1092c905eb" providerId="ADAL" clId="{CBB518F1-6B10-4061-BD79-9045FC6529D7}" dt="2022-06-29T18:21:57.998" v="980" actId="404"/>
          <ac:spMkLst>
            <pc:docMk/>
            <pc:sldMk cId="267651035" sldId="11672"/>
            <ac:spMk id="46" creationId="{2DA6BAAD-22F8-4007-9AB6-543574A3D7E1}"/>
          </ac:spMkLst>
        </pc:spChg>
        <pc:spChg chg="mod">
          <ac:chgData name="Dan Moore" userId="432a1231-f1bc-48da-b3ef-5b1092c905eb" providerId="ADAL" clId="{CBB518F1-6B10-4061-BD79-9045FC6529D7}" dt="2022-06-29T18:21:57.998" v="980" actId="404"/>
          <ac:spMkLst>
            <pc:docMk/>
            <pc:sldMk cId="267651035" sldId="11672"/>
            <ac:spMk id="47" creationId="{DE7535BF-E580-4C7E-8AAC-619247970576}"/>
          </ac:spMkLst>
        </pc:spChg>
        <pc:spChg chg="mod">
          <ac:chgData name="Dan Moore" userId="432a1231-f1bc-48da-b3ef-5b1092c905eb" providerId="ADAL" clId="{CBB518F1-6B10-4061-BD79-9045FC6529D7}" dt="2022-06-29T18:21:57.998" v="980" actId="404"/>
          <ac:spMkLst>
            <pc:docMk/>
            <pc:sldMk cId="267651035" sldId="11672"/>
            <ac:spMk id="48" creationId="{C80F4642-51B2-428B-93B6-47795EE8D834}"/>
          </ac:spMkLst>
        </pc:spChg>
        <pc:spChg chg="mod">
          <ac:chgData name="Dan Moore" userId="432a1231-f1bc-48da-b3ef-5b1092c905eb" providerId="ADAL" clId="{CBB518F1-6B10-4061-BD79-9045FC6529D7}" dt="2022-06-29T18:22:22.183" v="983" actId="1076"/>
          <ac:spMkLst>
            <pc:docMk/>
            <pc:sldMk cId="267651035" sldId="11672"/>
            <ac:spMk id="73" creationId="{DEC3C618-BF8B-431D-A89E-B9BC84BCEA11}"/>
          </ac:spMkLst>
        </pc:spChg>
        <pc:spChg chg="mod">
          <ac:chgData name="Dan Moore" userId="432a1231-f1bc-48da-b3ef-5b1092c905eb" providerId="ADAL" clId="{CBB518F1-6B10-4061-BD79-9045FC6529D7}" dt="2022-06-29T18:22:22.183" v="983" actId="1076"/>
          <ac:spMkLst>
            <pc:docMk/>
            <pc:sldMk cId="267651035" sldId="11672"/>
            <ac:spMk id="74" creationId="{41A13939-28EC-4ADE-B797-4B394B807998}"/>
          </ac:spMkLst>
        </pc:spChg>
        <pc:spChg chg="mod">
          <ac:chgData name="Dan Moore" userId="432a1231-f1bc-48da-b3ef-5b1092c905eb" providerId="ADAL" clId="{CBB518F1-6B10-4061-BD79-9045FC6529D7}" dt="2022-06-29T18:22:22.183" v="983" actId="1076"/>
          <ac:spMkLst>
            <pc:docMk/>
            <pc:sldMk cId="267651035" sldId="11672"/>
            <ac:spMk id="75" creationId="{0E5DBA93-8738-41E2-8A82-C2BC81B6F2C0}"/>
          </ac:spMkLst>
        </pc:spChg>
        <pc:spChg chg="mod">
          <ac:chgData name="Dan Moore" userId="432a1231-f1bc-48da-b3ef-5b1092c905eb" providerId="ADAL" clId="{CBB518F1-6B10-4061-BD79-9045FC6529D7}" dt="2022-06-29T18:22:22.183" v="983" actId="1076"/>
          <ac:spMkLst>
            <pc:docMk/>
            <pc:sldMk cId="267651035" sldId="11672"/>
            <ac:spMk id="76" creationId="{F6A3B9E8-0932-458D-A159-677A0D843684}"/>
          </ac:spMkLst>
        </pc:spChg>
        <pc:spChg chg="mod">
          <ac:chgData name="Dan Moore" userId="432a1231-f1bc-48da-b3ef-5b1092c905eb" providerId="ADAL" clId="{CBB518F1-6B10-4061-BD79-9045FC6529D7}" dt="2022-06-29T18:22:22.183" v="983" actId="1076"/>
          <ac:spMkLst>
            <pc:docMk/>
            <pc:sldMk cId="267651035" sldId="11672"/>
            <ac:spMk id="77" creationId="{9AE8E73B-7A62-49BF-B87A-58A3FF0327A5}"/>
          </ac:spMkLst>
        </pc:spChg>
        <pc:spChg chg="mod">
          <ac:chgData name="Dan Moore" userId="432a1231-f1bc-48da-b3ef-5b1092c905eb" providerId="ADAL" clId="{CBB518F1-6B10-4061-BD79-9045FC6529D7}" dt="2022-06-29T18:22:22.183" v="983" actId="1076"/>
          <ac:spMkLst>
            <pc:docMk/>
            <pc:sldMk cId="267651035" sldId="11672"/>
            <ac:spMk id="78" creationId="{BDAD494D-F5F7-4B08-BC0A-F2E79D378CCC}"/>
          </ac:spMkLst>
        </pc:spChg>
        <pc:spChg chg="mod">
          <ac:chgData name="Dan Moore" userId="432a1231-f1bc-48da-b3ef-5b1092c905eb" providerId="ADAL" clId="{CBB518F1-6B10-4061-BD79-9045FC6529D7}" dt="2022-06-29T18:22:22.183" v="983" actId="1076"/>
          <ac:spMkLst>
            <pc:docMk/>
            <pc:sldMk cId="267651035" sldId="11672"/>
            <ac:spMk id="79" creationId="{305B0F19-E7FF-4DE2-8562-7132434408EA}"/>
          </ac:spMkLst>
        </pc:spChg>
        <pc:spChg chg="mod">
          <ac:chgData name="Dan Moore" userId="432a1231-f1bc-48da-b3ef-5b1092c905eb" providerId="ADAL" clId="{CBB518F1-6B10-4061-BD79-9045FC6529D7}" dt="2022-06-29T18:22:22.183" v="983" actId="1076"/>
          <ac:spMkLst>
            <pc:docMk/>
            <pc:sldMk cId="267651035" sldId="11672"/>
            <ac:spMk id="80" creationId="{BDAEF9DF-A664-4A6B-B0B4-428DB5676E42}"/>
          </ac:spMkLst>
        </pc:spChg>
        <pc:spChg chg="mod">
          <ac:chgData name="Dan Moore" userId="432a1231-f1bc-48da-b3ef-5b1092c905eb" providerId="ADAL" clId="{CBB518F1-6B10-4061-BD79-9045FC6529D7}" dt="2022-06-29T18:22:22.183" v="983" actId="1076"/>
          <ac:spMkLst>
            <pc:docMk/>
            <pc:sldMk cId="267651035" sldId="11672"/>
            <ac:spMk id="81" creationId="{51D58FBC-8B32-43FC-B59F-FBD6B33B9170}"/>
          </ac:spMkLst>
        </pc:spChg>
        <pc:spChg chg="mod">
          <ac:chgData name="Dan Moore" userId="432a1231-f1bc-48da-b3ef-5b1092c905eb" providerId="ADAL" clId="{CBB518F1-6B10-4061-BD79-9045FC6529D7}" dt="2022-06-29T18:22:22.183" v="983" actId="1076"/>
          <ac:spMkLst>
            <pc:docMk/>
            <pc:sldMk cId="267651035" sldId="11672"/>
            <ac:spMk id="82" creationId="{9F9E7332-196B-4433-B182-FDB37037CCE9}"/>
          </ac:spMkLst>
        </pc:spChg>
        <pc:spChg chg="mod">
          <ac:chgData name="Dan Moore" userId="432a1231-f1bc-48da-b3ef-5b1092c905eb" providerId="ADAL" clId="{CBB518F1-6B10-4061-BD79-9045FC6529D7}" dt="2022-06-29T18:22:22.183" v="983" actId="1076"/>
          <ac:spMkLst>
            <pc:docMk/>
            <pc:sldMk cId="267651035" sldId="11672"/>
            <ac:spMk id="83" creationId="{9F052ABE-A418-40D3-886A-6A8EF7BDAC7A}"/>
          </ac:spMkLst>
        </pc:spChg>
        <pc:spChg chg="mod">
          <ac:chgData name="Dan Moore" userId="432a1231-f1bc-48da-b3ef-5b1092c905eb" providerId="ADAL" clId="{CBB518F1-6B10-4061-BD79-9045FC6529D7}" dt="2022-06-29T18:22:22.183" v="983" actId="1076"/>
          <ac:spMkLst>
            <pc:docMk/>
            <pc:sldMk cId="267651035" sldId="11672"/>
            <ac:spMk id="84" creationId="{864319EB-555B-4CAE-B617-B49E6577C341}"/>
          </ac:spMkLst>
        </pc:spChg>
        <pc:spChg chg="mod">
          <ac:chgData name="Dan Moore" userId="432a1231-f1bc-48da-b3ef-5b1092c905eb" providerId="ADAL" clId="{CBB518F1-6B10-4061-BD79-9045FC6529D7}" dt="2022-06-29T18:22:22.183" v="983" actId="1076"/>
          <ac:spMkLst>
            <pc:docMk/>
            <pc:sldMk cId="267651035" sldId="11672"/>
            <ac:spMk id="85" creationId="{2B7C6C55-9010-41E3-AD28-753D1DF55814}"/>
          </ac:spMkLst>
        </pc:spChg>
        <pc:spChg chg="mod">
          <ac:chgData name="Dan Moore" userId="432a1231-f1bc-48da-b3ef-5b1092c905eb" providerId="ADAL" clId="{CBB518F1-6B10-4061-BD79-9045FC6529D7}" dt="2022-06-29T18:22:22.183" v="983" actId="1076"/>
          <ac:spMkLst>
            <pc:docMk/>
            <pc:sldMk cId="267651035" sldId="11672"/>
            <ac:spMk id="86" creationId="{ADA9C9C2-6053-409C-9A6F-2DFCBB871BD1}"/>
          </ac:spMkLst>
        </pc:spChg>
        <pc:spChg chg="mod">
          <ac:chgData name="Dan Moore" userId="432a1231-f1bc-48da-b3ef-5b1092c905eb" providerId="ADAL" clId="{CBB518F1-6B10-4061-BD79-9045FC6529D7}" dt="2022-06-29T18:22:22.183" v="983" actId="1076"/>
          <ac:spMkLst>
            <pc:docMk/>
            <pc:sldMk cId="267651035" sldId="11672"/>
            <ac:spMk id="87" creationId="{C40DD90C-A7EE-4D0B-8F4C-1B42664DCCF2}"/>
          </ac:spMkLst>
        </pc:spChg>
        <pc:spChg chg="mod">
          <ac:chgData name="Dan Moore" userId="432a1231-f1bc-48da-b3ef-5b1092c905eb" providerId="ADAL" clId="{CBB518F1-6B10-4061-BD79-9045FC6529D7}" dt="2022-06-29T18:22:22.183" v="983" actId="1076"/>
          <ac:spMkLst>
            <pc:docMk/>
            <pc:sldMk cId="267651035" sldId="11672"/>
            <ac:spMk id="88" creationId="{093D9A71-8C0E-430A-94BE-F040829D4DBA}"/>
          </ac:spMkLst>
        </pc:spChg>
        <pc:spChg chg="mod">
          <ac:chgData name="Dan Moore" userId="432a1231-f1bc-48da-b3ef-5b1092c905eb" providerId="ADAL" clId="{CBB518F1-6B10-4061-BD79-9045FC6529D7}" dt="2022-06-29T18:22:22.183" v="983" actId="1076"/>
          <ac:spMkLst>
            <pc:docMk/>
            <pc:sldMk cId="267651035" sldId="11672"/>
            <ac:spMk id="89" creationId="{1E7B5B41-5081-429C-BEAC-183DF2A6643A}"/>
          </ac:spMkLst>
        </pc:spChg>
        <pc:spChg chg="mod">
          <ac:chgData name="Dan Moore" userId="432a1231-f1bc-48da-b3ef-5b1092c905eb" providerId="ADAL" clId="{CBB518F1-6B10-4061-BD79-9045FC6529D7}" dt="2022-06-29T18:21:57.998" v="980" actId="404"/>
          <ac:spMkLst>
            <pc:docMk/>
            <pc:sldMk cId="267651035" sldId="11672"/>
            <ac:spMk id="96" creationId="{1C8A27AC-EC25-45FA-AE45-817CE23C5AA4}"/>
          </ac:spMkLst>
        </pc:spChg>
        <pc:spChg chg="mod">
          <ac:chgData name="Dan Moore" userId="432a1231-f1bc-48da-b3ef-5b1092c905eb" providerId="ADAL" clId="{CBB518F1-6B10-4061-BD79-9045FC6529D7}" dt="2022-06-29T18:21:57.998" v="980" actId="404"/>
          <ac:spMkLst>
            <pc:docMk/>
            <pc:sldMk cId="267651035" sldId="11672"/>
            <ac:spMk id="97" creationId="{4F6A50EF-243D-4909-87F4-98AFEB9740D6}"/>
          </ac:spMkLst>
        </pc:spChg>
        <pc:spChg chg="mod">
          <ac:chgData name="Dan Moore" userId="432a1231-f1bc-48da-b3ef-5b1092c905eb" providerId="ADAL" clId="{CBB518F1-6B10-4061-BD79-9045FC6529D7}" dt="2022-06-29T18:21:57.998" v="980" actId="404"/>
          <ac:spMkLst>
            <pc:docMk/>
            <pc:sldMk cId="267651035" sldId="11672"/>
            <ac:spMk id="98" creationId="{AE5E3D61-5D28-4135-A063-DAEB4C373179}"/>
          </ac:spMkLst>
        </pc:spChg>
        <pc:spChg chg="mod">
          <ac:chgData name="Dan Moore" userId="432a1231-f1bc-48da-b3ef-5b1092c905eb" providerId="ADAL" clId="{CBB518F1-6B10-4061-BD79-9045FC6529D7}" dt="2022-06-29T18:21:57.998" v="980" actId="404"/>
          <ac:spMkLst>
            <pc:docMk/>
            <pc:sldMk cId="267651035" sldId="11672"/>
            <ac:spMk id="99" creationId="{D9A98E00-3748-441B-BFD1-FA8BD78CABF3}"/>
          </ac:spMkLst>
        </pc:spChg>
        <pc:spChg chg="mod">
          <ac:chgData name="Dan Moore" userId="432a1231-f1bc-48da-b3ef-5b1092c905eb" providerId="ADAL" clId="{CBB518F1-6B10-4061-BD79-9045FC6529D7}" dt="2022-06-29T18:21:57.998" v="980" actId="404"/>
          <ac:spMkLst>
            <pc:docMk/>
            <pc:sldMk cId="267651035" sldId="11672"/>
            <ac:spMk id="100" creationId="{0E1971CA-1DCD-413D-B7D6-FE662BA93009}"/>
          </ac:spMkLst>
        </pc:spChg>
        <pc:spChg chg="del">
          <ac:chgData name="Dan Moore" userId="432a1231-f1bc-48da-b3ef-5b1092c905eb" providerId="ADAL" clId="{CBB518F1-6B10-4061-BD79-9045FC6529D7}" dt="2022-06-29T18:21:44.754" v="976" actId="478"/>
          <ac:spMkLst>
            <pc:docMk/>
            <pc:sldMk cId="267651035" sldId="11672"/>
            <ac:spMk id="101" creationId="{6B79D1E9-5ABA-2B8E-E4D6-07F30A2F33E6}"/>
          </ac:spMkLst>
        </pc:spChg>
        <pc:spChg chg="del">
          <ac:chgData name="Dan Moore" userId="432a1231-f1bc-48da-b3ef-5b1092c905eb" providerId="ADAL" clId="{CBB518F1-6B10-4061-BD79-9045FC6529D7}" dt="2022-06-29T18:21:32.754" v="966" actId="478"/>
          <ac:spMkLst>
            <pc:docMk/>
            <pc:sldMk cId="267651035" sldId="11672"/>
            <ac:spMk id="102" creationId="{727A5E3F-41C4-13E2-1C02-68AA4B2F731E}"/>
          </ac:spMkLst>
        </pc:spChg>
        <pc:spChg chg="mod">
          <ac:chgData name="Dan Moore" userId="432a1231-f1bc-48da-b3ef-5b1092c905eb" providerId="ADAL" clId="{CBB518F1-6B10-4061-BD79-9045FC6529D7}" dt="2022-06-29T18:21:57.998" v="980" actId="404"/>
          <ac:spMkLst>
            <pc:docMk/>
            <pc:sldMk cId="267651035" sldId="11672"/>
            <ac:spMk id="103" creationId="{991A9CEB-A4DD-4E0E-AD97-BF2D6E515D24}"/>
          </ac:spMkLst>
        </pc:spChg>
        <pc:spChg chg="mod">
          <ac:chgData name="Dan Moore" userId="432a1231-f1bc-48da-b3ef-5b1092c905eb" providerId="ADAL" clId="{CBB518F1-6B10-4061-BD79-9045FC6529D7}" dt="2022-06-29T18:21:57.998" v="980" actId="404"/>
          <ac:spMkLst>
            <pc:docMk/>
            <pc:sldMk cId="267651035" sldId="11672"/>
            <ac:spMk id="104" creationId="{A039FADB-8CE7-40E8-A001-7A55E0656068}"/>
          </ac:spMkLst>
        </pc:spChg>
        <pc:spChg chg="mod">
          <ac:chgData name="Dan Moore" userId="432a1231-f1bc-48da-b3ef-5b1092c905eb" providerId="ADAL" clId="{CBB518F1-6B10-4061-BD79-9045FC6529D7}" dt="2022-06-29T18:21:57.998" v="980" actId="404"/>
          <ac:spMkLst>
            <pc:docMk/>
            <pc:sldMk cId="267651035" sldId="11672"/>
            <ac:spMk id="105" creationId="{3BFA90E5-87F1-432D-82D3-802C6CCEE43D}"/>
          </ac:spMkLst>
        </pc:spChg>
        <pc:spChg chg="mod">
          <ac:chgData name="Dan Moore" userId="432a1231-f1bc-48da-b3ef-5b1092c905eb" providerId="ADAL" clId="{CBB518F1-6B10-4061-BD79-9045FC6529D7}" dt="2022-06-29T18:21:57.998" v="980" actId="404"/>
          <ac:spMkLst>
            <pc:docMk/>
            <pc:sldMk cId="267651035" sldId="11672"/>
            <ac:spMk id="106" creationId="{9F466143-FE55-4FEA-8D10-CF844179B0A6}"/>
          </ac:spMkLst>
        </pc:spChg>
        <pc:spChg chg="mod">
          <ac:chgData name="Dan Moore" userId="432a1231-f1bc-48da-b3ef-5b1092c905eb" providerId="ADAL" clId="{CBB518F1-6B10-4061-BD79-9045FC6529D7}" dt="2022-06-29T18:21:57.998" v="980" actId="404"/>
          <ac:spMkLst>
            <pc:docMk/>
            <pc:sldMk cId="267651035" sldId="11672"/>
            <ac:spMk id="107" creationId="{D76D4933-9823-4D3E-88AA-40EA58A5853D}"/>
          </ac:spMkLst>
        </pc:spChg>
        <pc:spChg chg="mod">
          <ac:chgData name="Dan Moore" userId="432a1231-f1bc-48da-b3ef-5b1092c905eb" providerId="ADAL" clId="{CBB518F1-6B10-4061-BD79-9045FC6529D7}" dt="2022-06-29T18:21:57.998" v="980" actId="404"/>
          <ac:spMkLst>
            <pc:docMk/>
            <pc:sldMk cId="267651035" sldId="11672"/>
            <ac:spMk id="108" creationId="{96267E56-AB33-401A-9442-4881DD4DB4D4}"/>
          </ac:spMkLst>
        </pc:spChg>
        <pc:spChg chg="del">
          <ac:chgData name="Dan Moore" userId="432a1231-f1bc-48da-b3ef-5b1092c905eb" providerId="ADAL" clId="{CBB518F1-6B10-4061-BD79-9045FC6529D7}" dt="2022-06-29T18:21:33.925" v="967" actId="478"/>
          <ac:spMkLst>
            <pc:docMk/>
            <pc:sldMk cId="267651035" sldId="11672"/>
            <ac:spMk id="109" creationId="{C0B1658D-1F5C-0553-57F5-3BB382C423E4}"/>
          </ac:spMkLst>
        </pc:spChg>
        <pc:spChg chg="del mod topLvl">
          <ac:chgData name="Dan Moore" userId="432a1231-f1bc-48da-b3ef-5b1092c905eb" providerId="ADAL" clId="{CBB518F1-6B10-4061-BD79-9045FC6529D7}" dt="2022-06-29T18:21:42.716" v="973" actId="478"/>
          <ac:spMkLst>
            <pc:docMk/>
            <pc:sldMk cId="267651035" sldId="11672"/>
            <ac:spMk id="110" creationId="{125950E2-B5EA-4ACC-F659-EC8083E14FED}"/>
          </ac:spMkLst>
        </pc:spChg>
        <pc:spChg chg="mod">
          <ac:chgData name="Dan Moore" userId="432a1231-f1bc-48da-b3ef-5b1092c905eb" providerId="ADAL" clId="{CBB518F1-6B10-4061-BD79-9045FC6529D7}" dt="2022-06-29T18:21:57.998" v="980" actId="404"/>
          <ac:spMkLst>
            <pc:docMk/>
            <pc:sldMk cId="267651035" sldId="11672"/>
            <ac:spMk id="112" creationId="{98B50102-E755-4C66-BE90-53C862CC619A}"/>
          </ac:spMkLst>
        </pc:spChg>
        <pc:spChg chg="mod">
          <ac:chgData name="Dan Moore" userId="432a1231-f1bc-48da-b3ef-5b1092c905eb" providerId="ADAL" clId="{CBB518F1-6B10-4061-BD79-9045FC6529D7}" dt="2022-06-29T18:21:57.998" v="980" actId="404"/>
          <ac:spMkLst>
            <pc:docMk/>
            <pc:sldMk cId="267651035" sldId="11672"/>
            <ac:spMk id="113" creationId="{60F49E53-A204-4D59-B93F-29F0F5B03B37}"/>
          </ac:spMkLst>
        </pc:spChg>
        <pc:spChg chg="mod">
          <ac:chgData name="Dan Moore" userId="432a1231-f1bc-48da-b3ef-5b1092c905eb" providerId="ADAL" clId="{CBB518F1-6B10-4061-BD79-9045FC6529D7}" dt="2022-06-29T18:21:57.998" v="980" actId="404"/>
          <ac:spMkLst>
            <pc:docMk/>
            <pc:sldMk cId="267651035" sldId="11672"/>
            <ac:spMk id="114" creationId="{9E4D8031-18A7-4BA8-AC40-1804796B400C}"/>
          </ac:spMkLst>
        </pc:spChg>
        <pc:spChg chg="mod">
          <ac:chgData name="Dan Moore" userId="432a1231-f1bc-48da-b3ef-5b1092c905eb" providerId="ADAL" clId="{CBB518F1-6B10-4061-BD79-9045FC6529D7}" dt="2022-06-29T18:21:57.998" v="980" actId="404"/>
          <ac:spMkLst>
            <pc:docMk/>
            <pc:sldMk cId="267651035" sldId="11672"/>
            <ac:spMk id="115" creationId="{64A61E60-0842-41DE-8BEA-47A2BC8B6F30}"/>
          </ac:spMkLst>
        </pc:spChg>
        <pc:spChg chg="mod">
          <ac:chgData name="Dan Moore" userId="432a1231-f1bc-48da-b3ef-5b1092c905eb" providerId="ADAL" clId="{CBB518F1-6B10-4061-BD79-9045FC6529D7}" dt="2022-06-29T18:21:57.998" v="980" actId="404"/>
          <ac:spMkLst>
            <pc:docMk/>
            <pc:sldMk cId="267651035" sldId="11672"/>
            <ac:spMk id="116" creationId="{440BC0D5-E939-4C00-83DE-AF5B68D65ACB}"/>
          </ac:spMkLst>
        </pc:spChg>
        <pc:spChg chg="del">
          <ac:chgData name="Dan Moore" userId="432a1231-f1bc-48da-b3ef-5b1092c905eb" providerId="ADAL" clId="{CBB518F1-6B10-4061-BD79-9045FC6529D7}" dt="2022-06-29T18:21:43.836" v="975" actId="478"/>
          <ac:spMkLst>
            <pc:docMk/>
            <pc:sldMk cId="267651035" sldId="11672"/>
            <ac:spMk id="117" creationId="{7A9687DA-14FE-FFA1-452F-D4787D06C752}"/>
          </ac:spMkLst>
        </pc:spChg>
        <pc:grpChg chg="mod">
          <ac:chgData name="Dan Moore" userId="432a1231-f1bc-48da-b3ef-5b1092c905eb" providerId="ADAL" clId="{CBB518F1-6B10-4061-BD79-9045FC6529D7}" dt="2022-06-29T18:21:57.998" v="980" actId="404"/>
          <ac:grpSpMkLst>
            <pc:docMk/>
            <pc:sldMk cId="267651035" sldId="11672"/>
            <ac:grpSpMk id="10" creationId="{0346CEF8-B162-4C7C-A79E-FDFD7B852FC1}"/>
          </ac:grpSpMkLst>
        </pc:grpChg>
        <pc:grpChg chg="mod">
          <ac:chgData name="Dan Moore" userId="432a1231-f1bc-48da-b3ef-5b1092c905eb" providerId="ADAL" clId="{CBB518F1-6B10-4061-BD79-9045FC6529D7}" dt="2022-06-29T18:21:57.998" v="980" actId="404"/>
          <ac:grpSpMkLst>
            <pc:docMk/>
            <pc:sldMk cId="267651035" sldId="11672"/>
            <ac:grpSpMk id="21" creationId="{F83A878E-9B94-48ED-98A1-F11D70250F22}"/>
          </ac:grpSpMkLst>
        </pc:grpChg>
        <pc:grpChg chg="mod">
          <ac:chgData name="Dan Moore" userId="432a1231-f1bc-48da-b3ef-5b1092c905eb" providerId="ADAL" clId="{CBB518F1-6B10-4061-BD79-9045FC6529D7}" dt="2022-06-29T18:21:57.998" v="980" actId="404"/>
          <ac:grpSpMkLst>
            <pc:docMk/>
            <pc:sldMk cId="267651035" sldId="11672"/>
            <ac:grpSpMk id="27" creationId="{0010306A-66A4-413C-B80E-62614FD83D69}"/>
          </ac:grpSpMkLst>
        </pc:grpChg>
        <pc:grpChg chg="mod">
          <ac:chgData name="Dan Moore" userId="432a1231-f1bc-48da-b3ef-5b1092c905eb" providerId="ADAL" clId="{CBB518F1-6B10-4061-BD79-9045FC6529D7}" dt="2022-06-29T18:21:57.998" v="980" actId="404"/>
          <ac:grpSpMkLst>
            <pc:docMk/>
            <pc:sldMk cId="267651035" sldId="11672"/>
            <ac:grpSpMk id="52" creationId="{6BC975B5-2EE9-4B64-5D27-F55638B077CE}"/>
          </ac:grpSpMkLst>
        </pc:grpChg>
        <pc:grpChg chg="mod">
          <ac:chgData name="Dan Moore" userId="432a1231-f1bc-48da-b3ef-5b1092c905eb" providerId="ADAL" clId="{CBB518F1-6B10-4061-BD79-9045FC6529D7}" dt="2022-06-29T18:21:57.998" v="980" actId="404"/>
          <ac:grpSpMkLst>
            <pc:docMk/>
            <pc:sldMk cId="267651035" sldId="11672"/>
            <ac:grpSpMk id="53" creationId="{5931910C-4C78-D582-3F2D-5973CD92F5B7}"/>
          </ac:grpSpMkLst>
        </pc:grpChg>
        <pc:grpChg chg="add del">
          <ac:chgData name="Dan Moore" userId="432a1231-f1bc-48da-b3ef-5b1092c905eb" providerId="ADAL" clId="{CBB518F1-6B10-4061-BD79-9045FC6529D7}" dt="2022-06-29T18:21:41.344" v="972" actId="165"/>
          <ac:grpSpMkLst>
            <pc:docMk/>
            <pc:sldMk cId="267651035" sldId="11672"/>
            <ac:grpSpMk id="54" creationId="{5427A5B0-3119-E089-A2AB-439F0E1B735F}"/>
          </ac:grpSpMkLst>
        </pc:grpChg>
        <pc:grpChg chg="mod">
          <ac:chgData name="Dan Moore" userId="432a1231-f1bc-48da-b3ef-5b1092c905eb" providerId="ADAL" clId="{CBB518F1-6B10-4061-BD79-9045FC6529D7}" dt="2022-06-29T18:21:57.998" v="980" actId="404"/>
          <ac:grpSpMkLst>
            <pc:docMk/>
            <pc:sldMk cId="267651035" sldId="11672"/>
            <ac:grpSpMk id="55" creationId="{0B35ADDF-BBFB-BDD9-334E-289E078717C3}"/>
          </ac:grpSpMkLst>
        </pc:grpChg>
        <pc:grpChg chg="mod">
          <ac:chgData name="Dan Moore" userId="432a1231-f1bc-48da-b3ef-5b1092c905eb" providerId="ADAL" clId="{CBB518F1-6B10-4061-BD79-9045FC6529D7}" dt="2022-06-29T18:21:57.998" v="980" actId="404"/>
          <ac:grpSpMkLst>
            <pc:docMk/>
            <pc:sldMk cId="267651035" sldId="11672"/>
            <ac:grpSpMk id="56" creationId="{D51F0324-E278-E243-188E-83077BA9BE8A}"/>
          </ac:grpSpMkLst>
        </pc:grpChg>
        <pc:grpChg chg="mod">
          <ac:chgData name="Dan Moore" userId="432a1231-f1bc-48da-b3ef-5b1092c905eb" providerId="ADAL" clId="{CBB518F1-6B10-4061-BD79-9045FC6529D7}" dt="2022-06-29T18:21:57.998" v="980" actId="404"/>
          <ac:grpSpMkLst>
            <pc:docMk/>
            <pc:sldMk cId="267651035" sldId="11672"/>
            <ac:grpSpMk id="57" creationId="{C15C1202-7F7A-FAAF-F47F-3C45CECD9455}"/>
          </ac:grpSpMkLst>
        </pc:grpChg>
        <pc:grpChg chg="mod">
          <ac:chgData name="Dan Moore" userId="432a1231-f1bc-48da-b3ef-5b1092c905eb" providerId="ADAL" clId="{CBB518F1-6B10-4061-BD79-9045FC6529D7}" dt="2022-06-29T18:22:22.183" v="983" actId="1076"/>
          <ac:grpSpMkLst>
            <pc:docMk/>
            <pc:sldMk cId="267651035" sldId="11672"/>
            <ac:grpSpMk id="72" creationId="{91B6DF98-7C16-413C-AC9E-10454D6E6498}"/>
          </ac:grpSpMkLst>
        </pc:grpChg>
        <pc:grpChg chg="del">
          <ac:chgData name="Dan Moore" userId="432a1231-f1bc-48da-b3ef-5b1092c905eb" providerId="ADAL" clId="{CBB518F1-6B10-4061-BD79-9045FC6529D7}" dt="2022-06-29T18:22:08.641" v="982" actId="478"/>
          <ac:grpSpMkLst>
            <pc:docMk/>
            <pc:sldMk cId="267651035" sldId="11672"/>
            <ac:grpSpMk id="91" creationId="{A76A8921-36C0-4EB4-B030-6D2A505DA148}"/>
          </ac:grpSpMkLst>
        </pc:grpChg>
        <pc:grpChg chg="mod">
          <ac:chgData name="Dan Moore" userId="432a1231-f1bc-48da-b3ef-5b1092c905eb" providerId="ADAL" clId="{CBB518F1-6B10-4061-BD79-9045FC6529D7}" dt="2022-06-29T18:21:57.998" v="980" actId="404"/>
          <ac:grpSpMkLst>
            <pc:docMk/>
            <pc:sldMk cId="267651035" sldId="11672"/>
            <ac:grpSpMk id="95" creationId="{043E8E25-230A-4518-B5BB-4A3B2918800C}"/>
          </ac:grpSpMkLst>
        </pc:grpChg>
        <pc:grpChg chg="mod">
          <ac:chgData name="Dan Moore" userId="432a1231-f1bc-48da-b3ef-5b1092c905eb" providerId="ADAL" clId="{CBB518F1-6B10-4061-BD79-9045FC6529D7}" dt="2022-06-29T18:21:57.998" v="980" actId="404"/>
          <ac:grpSpMkLst>
            <pc:docMk/>
            <pc:sldMk cId="267651035" sldId="11672"/>
            <ac:grpSpMk id="111" creationId="{08749F17-F076-412B-8D3C-006088537175}"/>
          </ac:grpSpMkLst>
        </pc:grpChg>
        <pc:picChg chg="mod">
          <ac:chgData name="Dan Moore" userId="432a1231-f1bc-48da-b3ef-5b1092c905eb" providerId="ADAL" clId="{CBB518F1-6B10-4061-BD79-9045FC6529D7}" dt="2022-06-29T18:21:57.998" v="980" actId="404"/>
          <ac:picMkLst>
            <pc:docMk/>
            <pc:sldMk cId="267651035" sldId="11672"/>
            <ac:picMk id="71" creationId="{9A566F20-B42C-4511-AF0B-1A331D45A0C5}"/>
          </ac:picMkLst>
        </pc:picChg>
        <pc:picChg chg="del">
          <ac:chgData name="Dan Moore" userId="432a1231-f1bc-48da-b3ef-5b1092c905eb" providerId="ADAL" clId="{CBB518F1-6B10-4061-BD79-9045FC6529D7}" dt="2022-06-29T18:22:07.903" v="981" actId="478"/>
          <ac:picMkLst>
            <pc:docMk/>
            <pc:sldMk cId="267651035" sldId="11672"/>
            <ac:picMk id="90" creationId="{4D4C622A-B015-4C52-8B82-B6F2C0AE6709}"/>
          </ac:picMkLst>
        </pc:picChg>
      </pc:sldChg>
      <pc:sldChg chg="del">
        <pc:chgData name="Dan Moore" userId="432a1231-f1bc-48da-b3ef-5b1092c905eb" providerId="ADAL" clId="{CBB518F1-6B10-4061-BD79-9045FC6529D7}" dt="2022-06-29T17:25:39.299" v="168" actId="47"/>
        <pc:sldMkLst>
          <pc:docMk/>
          <pc:sldMk cId="3299470472" sldId="2076137342"/>
        </pc:sldMkLst>
      </pc:sldChg>
      <pc:sldChg chg="delSp modSp del mod modClrScheme chgLayout">
        <pc:chgData name="Dan Moore" userId="432a1231-f1bc-48da-b3ef-5b1092c905eb" providerId="ADAL" clId="{CBB518F1-6B10-4061-BD79-9045FC6529D7}" dt="2022-06-29T17:25:40.332" v="169" actId="47"/>
        <pc:sldMkLst>
          <pc:docMk/>
          <pc:sldMk cId="2446178923" sldId="2134804593"/>
        </pc:sldMkLst>
        <pc:spChg chg="mod ord">
          <ac:chgData name="Dan Moore" userId="432a1231-f1bc-48da-b3ef-5b1092c905eb" providerId="ADAL" clId="{CBB518F1-6B10-4061-BD79-9045FC6529D7}" dt="2022-06-29T17:19:46.644" v="84" actId="700"/>
          <ac:spMkLst>
            <pc:docMk/>
            <pc:sldMk cId="2446178923" sldId="2134804593"/>
            <ac:spMk id="2" creationId="{57727CAB-7ED5-4F44-B836-5F34557054E3}"/>
          </ac:spMkLst>
        </pc:spChg>
        <pc:spChg chg="del">
          <ac:chgData name="Dan Moore" userId="432a1231-f1bc-48da-b3ef-5b1092c905eb" providerId="ADAL" clId="{CBB518F1-6B10-4061-BD79-9045FC6529D7}" dt="2022-06-29T17:19:59.345" v="93" actId="478"/>
          <ac:spMkLst>
            <pc:docMk/>
            <pc:sldMk cId="2446178923" sldId="2134804593"/>
            <ac:spMk id="55" creationId="{64C9A2C2-6B9E-46A9-83CF-558A4D9160EE}"/>
          </ac:spMkLst>
        </pc:spChg>
        <pc:spChg chg="mod">
          <ac:chgData name="Dan Moore" userId="432a1231-f1bc-48da-b3ef-5b1092c905eb" providerId="ADAL" clId="{CBB518F1-6B10-4061-BD79-9045FC6529D7}" dt="2022-06-29T17:19:56.336" v="92" actId="404"/>
          <ac:spMkLst>
            <pc:docMk/>
            <pc:sldMk cId="2446178923" sldId="2134804593"/>
            <ac:spMk id="56" creationId="{146FA103-B4B7-4315-BE9F-97E8CB6391EA}"/>
          </ac:spMkLst>
        </pc:spChg>
        <pc:spChg chg="mod">
          <ac:chgData name="Dan Moore" userId="432a1231-f1bc-48da-b3ef-5b1092c905eb" providerId="ADAL" clId="{CBB518F1-6B10-4061-BD79-9045FC6529D7}" dt="2022-06-29T17:19:56.336" v="92" actId="404"/>
          <ac:spMkLst>
            <pc:docMk/>
            <pc:sldMk cId="2446178923" sldId="2134804593"/>
            <ac:spMk id="57" creationId="{E1D64769-3625-4C8D-B6E8-671C75B62E6E}"/>
          </ac:spMkLst>
        </pc:spChg>
        <pc:graphicFrameChg chg="mod modGraphic">
          <ac:chgData name="Dan Moore" userId="432a1231-f1bc-48da-b3ef-5b1092c905eb" providerId="ADAL" clId="{CBB518F1-6B10-4061-BD79-9045FC6529D7}" dt="2022-06-29T17:20:37.862" v="97" actId="14100"/>
          <ac:graphicFrameMkLst>
            <pc:docMk/>
            <pc:sldMk cId="2446178923" sldId="2134804593"/>
            <ac:graphicFrameMk id="106" creationId="{8C5E9EAA-F71F-468D-BB73-9EED122E4074}"/>
          </ac:graphicFrameMkLst>
        </pc:graphicFrameChg>
        <pc:graphicFrameChg chg="modGraphic">
          <ac:chgData name="Dan Moore" userId="432a1231-f1bc-48da-b3ef-5b1092c905eb" providerId="ADAL" clId="{CBB518F1-6B10-4061-BD79-9045FC6529D7}" dt="2022-06-29T17:20:25.704" v="94" actId="207"/>
          <ac:graphicFrameMkLst>
            <pc:docMk/>
            <pc:sldMk cId="2446178923" sldId="2134804593"/>
            <ac:graphicFrameMk id="163" creationId="{20F65DE7-C412-4D1C-A725-59AACF6D7971}"/>
          </ac:graphicFrameMkLst>
        </pc:graphicFrameChg>
        <pc:picChg chg="del">
          <ac:chgData name="Dan Moore" userId="432a1231-f1bc-48da-b3ef-5b1092c905eb" providerId="ADAL" clId="{CBB518F1-6B10-4061-BD79-9045FC6529D7}" dt="2022-06-29T17:19:42.681" v="83" actId="478"/>
          <ac:picMkLst>
            <pc:docMk/>
            <pc:sldMk cId="2446178923" sldId="2134804593"/>
            <ac:picMk id="82" creationId="{51FEA366-7F55-497C-A6D1-42A8B7B83A17}"/>
          </ac:picMkLst>
        </pc:picChg>
        <pc:picChg chg="del">
          <ac:chgData name="Dan Moore" userId="432a1231-f1bc-48da-b3ef-5b1092c905eb" providerId="ADAL" clId="{CBB518F1-6B10-4061-BD79-9045FC6529D7}" dt="2022-06-29T17:19:42.333" v="82" actId="478"/>
          <ac:picMkLst>
            <pc:docMk/>
            <pc:sldMk cId="2446178923" sldId="2134804593"/>
            <ac:picMk id="83" creationId="{8F676E88-C60F-42C4-9D44-3D4057950260}"/>
          </ac:picMkLst>
        </pc:picChg>
      </pc:sldChg>
      <pc:sldChg chg="addSp delSp modSp mod modClrScheme chgLayout">
        <pc:chgData name="Dan Moore" userId="432a1231-f1bc-48da-b3ef-5b1092c905eb" providerId="ADAL" clId="{CBB518F1-6B10-4061-BD79-9045FC6529D7}" dt="2022-06-29T17:25:14.703" v="162" actId="1076"/>
        <pc:sldMkLst>
          <pc:docMk/>
          <pc:sldMk cId="3149725342" sldId="2147468607"/>
        </pc:sldMkLst>
        <pc:spChg chg="mod ord">
          <ac:chgData name="Dan Moore" userId="432a1231-f1bc-48da-b3ef-5b1092c905eb" providerId="ADAL" clId="{CBB518F1-6B10-4061-BD79-9045FC6529D7}" dt="2022-06-29T17:25:04.089" v="161" actId="700"/>
          <ac:spMkLst>
            <pc:docMk/>
            <pc:sldMk cId="3149725342" sldId="2147468607"/>
            <ac:spMk id="2" creationId="{57727CAB-7ED5-4F44-B836-5F34557054E3}"/>
          </ac:spMkLst>
        </pc:spChg>
        <pc:spChg chg="add mod">
          <ac:chgData name="Dan Moore" userId="432a1231-f1bc-48da-b3ef-5b1092c905eb" providerId="ADAL" clId="{CBB518F1-6B10-4061-BD79-9045FC6529D7}" dt="2022-06-29T17:25:14.703" v="162" actId="1076"/>
          <ac:spMkLst>
            <pc:docMk/>
            <pc:sldMk cId="3149725342" sldId="2147468607"/>
            <ac:spMk id="10" creationId="{99298A79-25E0-F1D2-CFED-03E13B63CBC0}"/>
          </ac:spMkLst>
        </pc:spChg>
        <pc:spChg chg="del">
          <ac:chgData name="Dan Moore" userId="432a1231-f1bc-48da-b3ef-5b1092c905eb" providerId="ADAL" clId="{CBB518F1-6B10-4061-BD79-9045FC6529D7}" dt="2022-06-29T17:23:42.707" v="140" actId="478"/>
          <ac:spMkLst>
            <pc:docMk/>
            <pc:sldMk cId="3149725342" sldId="2147468607"/>
            <ac:spMk id="55" creationId="{64C9A2C2-6B9E-46A9-83CF-558A4D9160EE}"/>
          </ac:spMkLst>
        </pc:spChg>
        <pc:spChg chg="mod">
          <ac:chgData name="Dan Moore" userId="432a1231-f1bc-48da-b3ef-5b1092c905eb" providerId="ADAL" clId="{CBB518F1-6B10-4061-BD79-9045FC6529D7}" dt="2022-06-29T17:25:14.703" v="162" actId="1076"/>
          <ac:spMkLst>
            <pc:docMk/>
            <pc:sldMk cId="3149725342" sldId="2147468607"/>
            <ac:spMk id="56" creationId="{146FA103-B4B7-4315-BE9F-97E8CB6391EA}"/>
          </ac:spMkLst>
        </pc:spChg>
        <pc:spChg chg="del mod">
          <ac:chgData name="Dan Moore" userId="432a1231-f1bc-48da-b3ef-5b1092c905eb" providerId="ADAL" clId="{CBB518F1-6B10-4061-BD79-9045FC6529D7}" dt="2022-06-29T17:23:19.833" v="119" actId="478"/>
          <ac:spMkLst>
            <pc:docMk/>
            <pc:sldMk cId="3149725342" sldId="2147468607"/>
            <ac:spMk id="57" creationId="{E1D64769-3625-4C8D-B6E8-671C75B62E6E}"/>
          </ac:spMkLst>
        </pc:spChg>
        <pc:graphicFrameChg chg="mod modGraphic">
          <ac:chgData name="Dan Moore" userId="432a1231-f1bc-48da-b3ef-5b1092c905eb" providerId="ADAL" clId="{CBB518F1-6B10-4061-BD79-9045FC6529D7}" dt="2022-06-29T17:25:14.703" v="162" actId="1076"/>
          <ac:graphicFrameMkLst>
            <pc:docMk/>
            <pc:sldMk cId="3149725342" sldId="2147468607"/>
            <ac:graphicFrameMk id="106" creationId="{8C5E9EAA-F71F-468D-BB73-9EED122E4074}"/>
          </ac:graphicFrameMkLst>
        </pc:graphicFrameChg>
        <pc:graphicFrameChg chg="mod modGraphic">
          <ac:chgData name="Dan Moore" userId="432a1231-f1bc-48da-b3ef-5b1092c905eb" providerId="ADAL" clId="{CBB518F1-6B10-4061-BD79-9045FC6529D7}" dt="2022-06-29T17:25:14.703" v="162" actId="1076"/>
          <ac:graphicFrameMkLst>
            <pc:docMk/>
            <pc:sldMk cId="3149725342" sldId="2147468607"/>
            <ac:graphicFrameMk id="163" creationId="{20F65DE7-C412-4D1C-A725-59AACF6D7971}"/>
          </ac:graphicFrameMkLst>
        </pc:graphicFrameChg>
        <pc:picChg chg="del">
          <ac:chgData name="Dan Moore" userId="432a1231-f1bc-48da-b3ef-5b1092c905eb" providerId="ADAL" clId="{CBB518F1-6B10-4061-BD79-9045FC6529D7}" dt="2022-06-29T17:23:04.955" v="98" actId="478"/>
          <ac:picMkLst>
            <pc:docMk/>
            <pc:sldMk cId="3149725342" sldId="2147468607"/>
            <ac:picMk id="82" creationId="{51FEA366-7F55-497C-A6D1-42A8B7B83A17}"/>
          </ac:picMkLst>
        </pc:picChg>
        <pc:picChg chg="del">
          <ac:chgData name="Dan Moore" userId="432a1231-f1bc-48da-b3ef-5b1092c905eb" providerId="ADAL" clId="{CBB518F1-6B10-4061-BD79-9045FC6529D7}" dt="2022-06-29T17:23:04.955" v="98" actId="478"/>
          <ac:picMkLst>
            <pc:docMk/>
            <pc:sldMk cId="3149725342" sldId="2147468607"/>
            <ac:picMk id="83" creationId="{8F676E88-C60F-42C4-9D44-3D4057950260}"/>
          </ac:picMkLst>
        </pc:picChg>
      </pc:sldChg>
      <pc:sldChg chg="delSp del mod delAnim">
        <pc:chgData name="Dan Moore" userId="432a1231-f1bc-48da-b3ef-5b1092c905eb" providerId="ADAL" clId="{CBB518F1-6B10-4061-BD79-9045FC6529D7}" dt="2022-06-29T17:25:45.113" v="170" actId="47"/>
        <pc:sldMkLst>
          <pc:docMk/>
          <pc:sldMk cId="2480450378" sldId="2147468608"/>
        </pc:sldMkLst>
        <pc:spChg chg="del">
          <ac:chgData name="Dan Moore" userId="432a1231-f1bc-48da-b3ef-5b1092c905eb" providerId="ADAL" clId="{CBB518F1-6B10-4061-BD79-9045FC6529D7}" dt="2022-06-29T17:25:24.313" v="164" actId="21"/>
          <ac:spMkLst>
            <pc:docMk/>
            <pc:sldMk cId="2480450378" sldId="2147468608"/>
            <ac:spMk id="19" creationId="{5C0E1AD3-8FD0-4F8B-8C89-3FEB103FFB1B}"/>
          </ac:spMkLst>
        </pc:spChg>
        <pc:spChg chg="del">
          <ac:chgData name="Dan Moore" userId="432a1231-f1bc-48da-b3ef-5b1092c905eb" providerId="ADAL" clId="{CBB518F1-6B10-4061-BD79-9045FC6529D7}" dt="2022-06-29T17:25:24.313" v="164" actId="21"/>
          <ac:spMkLst>
            <pc:docMk/>
            <pc:sldMk cId="2480450378" sldId="2147468608"/>
            <ac:spMk id="25" creationId="{3C5B710C-0031-4C1C-9BCD-5315696B7DB7}"/>
          </ac:spMkLst>
        </pc:spChg>
        <pc:spChg chg="del">
          <ac:chgData name="Dan Moore" userId="432a1231-f1bc-48da-b3ef-5b1092c905eb" providerId="ADAL" clId="{CBB518F1-6B10-4061-BD79-9045FC6529D7}" dt="2022-06-29T17:25:24.313" v="164" actId="21"/>
          <ac:spMkLst>
            <pc:docMk/>
            <pc:sldMk cId="2480450378" sldId="2147468608"/>
            <ac:spMk id="31" creationId="{89B61D18-AD38-42CA-9F9B-8254306EE817}"/>
          </ac:spMkLst>
        </pc:spChg>
        <pc:spChg chg="del">
          <ac:chgData name="Dan Moore" userId="432a1231-f1bc-48da-b3ef-5b1092c905eb" providerId="ADAL" clId="{CBB518F1-6B10-4061-BD79-9045FC6529D7}" dt="2022-06-29T17:25:24.313" v="164" actId="21"/>
          <ac:spMkLst>
            <pc:docMk/>
            <pc:sldMk cId="2480450378" sldId="2147468608"/>
            <ac:spMk id="43" creationId="{B778C27D-CE59-4376-8676-54DA75A25C4B}"/>
          </ac:spMkLst>
        </pc:spChg>
        <pc:grpChg chg="del">
          <ac:chgData name="Dan Moore" userId="432a1231-f1bc-48da-b3ef-5b1092c905eb" providerId="ADAL" clId="{CBB518F1-6B10-4061-BD79-9045FC6529D7}" dt="2022-06-29T17:25:24.313" v="164" actId="21"/>
          <ac:grpSpMkLst>
            <pc:docMk/>
            <pc:sldMk cId="2480450378" sldId="2147468608"/>
            <ac:grpSpMk id="20" creationId="{5FE0C4BD-8608-41CE-B64F-B2DCE3577D14}"/>
          </ac:grpSpMkLst>
        </pc:grpChg>
        <pc:grpChg chg="del">
          <ac:chgData name="Dan Moore" userId="432a1231-f1bc-48da-b3ef-5b1092c905eb" providerId="ADAL" clId="{CBB518F1-6B10-4061-BD79-9045FC6529D7}" dt="2022-06-29T17:25:24.313" v="164" actId="21"/>
          <ac:grpSpMkLst>
            <pc:docMk/>
            <pc:sldMk cId="2480450378" sldId="2147468608"/>
            <ac:grpSpMk id="26" creationId="{CDDC785F-37C4-4B08-9C85-C6FEA1F95278}"/>
          </ac:grpSpMkLst>
        </pc:grpChg>
        <pc:grpChg chg="del">
          <ac:chgData name="Dan Moore" userId="432a1231-f1bc-48da-b3ef-5b1092c905eb" providerId="ADAL" clId="{CBB518F1-6B10-4061-BD79-9045FC6529D7}" dt="2022-06-29T17:25:24.313" v="164" actId="21"/>
          <ac:grpSpMkLst>
            <pc:docMk/>
            <pc:sldMk cId="2480450378" sldId="2147468608"/>
            <ac:grpSpMk id="32" creationId="{CEDCD621-4533-4210-9E05-09F4309589D2}"/>
          </ac:grpSpMkLst>
        </pc:grpChg>
        <pc:grpChg chg="del">
          <ac:chgData name="Dan Moore" userId="432a1231-f1bc-48da-b3ef-5b1092c905eb" providerId="ADAL" clId="{CBB518F1-6B10-4061-BD79-9045FC6529D7}" dt="2022-06-29T17:25:24.313" v="164" actId="21"/>
          <ac:grpSpMkLst>
            <pc:docMk/>
            <pc:sldMk cId="2480450378" sldId="2147468608"/>
            <ac:grpSpMk id="44" creationId="{182CBB3F-125F-4701-9948-F7F6046802BD}"/>
          </ac:grpSpMkLst>
        </pc:grpChg>
        <pc:graphicFrameChg chg="del">
          <ac:chgData name="Dan Moore" userId="432a1231-f1bc-48da-b3ef-5b1092c905eb" providerId="ADAL" clId="{CBB518F1-6B10-4061-BD79-9045FC6529D7}" dt="2022-06-29T17:25:24.313" v="164" actId="21"/>
          <ac:graphicFrameMkLst>
            <pc:docMk/>
            <pc:sldMk cId="2480450378" sldId="2147468608"/>
            <ac:graphicFrameMk id="18" creationId="{0B2A8525-810A-4C84-9CCE-CE5DF891C028}"/>
          </ac:graphicFrameMkLst>
        </pc:graphicFrameChg>
      </pc:sldChg>
      <pc:sldChg chg="modSp mod">
        <pc:chgData name="Dan Moore" userId="432a1231-f1bc-48da-b3ef-5b1092c905eb" providerId="ADAL" clId="{CBB518F1-6B10-4061-BD79-9045FC6529D7}" dt="2022-06-29T17:15:20.487" v="41" actId="207"/>
        <pc:sldMkLst>
          <pc:docMk/>
          <pc:sldMk cId="307894445" sldId="2147469593"/>
        </pc:sldMkLst>
        <pc:spChg chg="mod">
          <ac:chgData name="Dan Moore" userId="432a1231-f1bc-48da-b3ef-5b1092c905eb" providerId="ADAL" clId="{CBB518F1-6B10-4061-BD79-9045FC6529D7}" dt="2022-06-29T17:15:15.319" v="40" actId="207"/>
          <ac:spMkLst>
            <pc:docMk/>
            <pc:sldMk cId="307894445" sldId="2147469593"/>
            <ac:spMk id="18" creationId="{F7674E5F-BF5A-498F-043D-8CFD2965F5B0}"/>
          </ac:spMkLst>
        </pc:spChg>
        <pc:spChg chg="mod">
          <ac:chgData name="Dan Moore" userId="432a1231-f1bc-48da-b3ef-5b1092c905eb" providerId="ADAL" clId="{CBB518F1-6B10-4061-BD79-9045FC6529D7}" dt="2022-06-29T17:15:20.487" v="41" actId="207"/>
          <ac:spMkLst>
            <pc:docMk/>
            <pc:sldMk cId="307894445" sldId="2147469593"/>
            <ac:spMk id="21" creationId="{6C2F7BD8-EBBC-8391-E6BA-B507FABEF61C}"/>
          </ac:spMkLst>
        </pc:spChg>
        <pc:spChg chg="mod">
          <ac:chgData name="Dan Moore" userId="432a1231-f1bc-48da-b3ef-5b1092c905eb" providerId="ADAL" clId="{CBB518F1-6B10-4061-BD79-9045FC6529D7}" dt="2022-06-29T17:15:09.606" v="39" actId="207"/>
          <ac:spMkLst>
            <pc:docMk/>
            <pc:sldMk cId="307894445" sldId="2147469593"/>
            <ac:spMk id="45" creationId="{420FF0DB-99BC-D4E6-EC54-C649E54EE11A}"/>
          </ac:spMkLst>
        </pc:spChg>
        <pc:spChg chg="mod">
          <ac:chgData name="Dan Moore" userId="432a1231-f1bc-48da-b3ef-5b1092c905eb" providerId="ADAL" clId="{CBB518F1-6B10-4061-BD79-9045FC6529D7}" dt="2022-06-29T17:14:36.433" v="34" actId="207"/>
          <ac:spMkLst>
            <pc:docMk/>
            <pc:sldMk cId="307894445" sldId="2147469593"/>
            <ac:spMk id="54" creationId="{CB8D755E-020C-070C-4CE5-F287E8760ACE}"/>
          </ac:spMkLst>
        </pc:spChg>
        <pc:grpChg chg="mod">
          <ac:chgData name="Dan Moore" userId="432a1231-f1bc-48da-b3ef-5b1092c905eb" providerId="ADAL" clId="{CBB518F1-6B10-4061-BD79-9045FC6529D7}" dt="2022-06-29T17:14:36.433" v="34" actId="207"/>
          <ac:grpSpMkLst>
            <pc:docMk/>
            <pc:sldMk cId="307894445" sldId="2147469593"/>
            <ac:grpSpMk id="53" creationId="{DA6A34E3-DF70-D523-807A-D4444AACCBF7}"/>
          </ac:grpSpMkLst>
        </pc:grpChg>
        <pc:picChg chg="mod">
          <ac:chgData name="Dan Moore" userId="432a1231-f1bc-48da-b3ef-5b1092c905eb" providerId="ADAL" clId="{CBB518F1-6B10-4061-BD79-9045FC6529D7}" dt="2022-06-29T17:14:42.979" v="35" actId="207"/>
          <ac:picMkLst>
            <pc:docMk/>
            <pc:sldMk cId="307894445" sldId="2147469593"/>
            <ac:picMk id="55" creationId="{E8C87A89-7E13-35DA-E6BB-4EAEC5C94F50}"/>
          </ac:picMkLst>
        </pc:picChg>
      </pc:sldChg>
      <pc:sldChg chg="modSp mod modCm">
        <pc:chgData name="Dan Moore" userId="432a1231-f1bc-48da-b3ef-5b1092c905eb" providerId="ADAL" clId="{CBB518F1-6B10-4061-BD79-9045FC6529D7}" dt="2022-06-29T18:34:05.440" v="985"/>
        <pc:sldMkLst>
          <pc:docMk/>
          <pc:sldMk cId="4229963047" sldId="2147469617"/>
        </pc:sldMkLst>
        <pc:spChg chg="mod">
          <ac:chgData name="Dan Moore" userId="432a1231-f1bc-48da-b3ef-5b1092c905eb" providerId="ADAL" clId="{CBB518F1-6B10-4061-BD79-9045FC6529D7}" dt="2022-06-29T17:13:20.768" v="31" actId="207"/>
          <ac:spMkLst>
            <pc:docMk/>
            <pc:sldMk cId="4229963047" sldId="2147469617"/>
            <ac:spMk id="9" creationId="{C961AE50-873E-7F1C-7E39-BC03E886AFA6}"/>
          </ac:spMkLst>
        </pc:spChg>
      </pc:sldChg>
      <pc:sldChg chg="delSp modSp mod delAnim">
        <pc:chgData name="Dan Moore" userId="432a1231-f1bc-48da-b3ef-5b1092c905eb" providerId="ADAL" clId="{CBB518F1-6B10-4061-BD79-9045FC6529D7}" dt="2022-06-29T17:59:51.142" v="739" actId="1076"/>
        <pc:sldMkLst>
          <pc:docMk/>
          <pc:sldMk cId="1038962183" sldId="2147470184"/>
        </pc:sldMkLst>
        <pc:spChg chg="del">
          <ac:chgData name="Dan Moore" userId="432a1231-f1bc-48da-b3ef-5b1092c905eb" providerId="ADAL" clId="{CBB518F1-6B10-4061-BD79-9045FC6529D7}" dt="2022-06-29T17:59:37.640" v="737" actId="478"/>
          <ac:spMkLst>
            <pc:docMk/>
            <pc:sldMk cId="1038962183" sldId="2147470184"/>
            <ac:spMk id="12" creationId="{488A6809-67B7-4FD0-A255-C938E0882764}"/>
          </ac:spMkLst>
        </pc:spChg>
        <pc:spChg chg="mod">
          <ac:chgData name="Dan Moore" userId="432a1231-f1bc-48da-b3ef-5b1092c905eb" providerId="ADAL" clId="{CBB518F1-6B10-4061-BD79-9045FC6529D7}" dt="2022-06-29T17:59:51.142" v="739" actId="1076"/>
          <ac:spMkLst>
            <pc:docMk/>
            <pc:sldMk cId="1038962183" sldId="2147470184"/>
            <ac:spMk id="22" creationId="{B067B45C-1B9E-4189-A86E-8D9058D48519}"/>
          </ac:spMkLst>
        </pc:spChg>
        <pc:spChg chg="mod">
          <ac:chgData name="Dan Moore" userId="432a1231-f1bc-48da-b3ef-5b1092c905eb" providerId="ADAL" clId="{CBB518F1-6B10-4061-BD79-9045FC6529D7}" dt="2022-06-29T17:59:51.142" v="739" actId="1076"/>
          <ac:spMkLst>
            <pc:docMk/>
            <pc:sldMk cId="1038962183" sldId="2147470184"/>
            <ac:spMk id="23" creationId="{4D4BB0DC-7FF5-4641-943D-8D6BA03107BC}"/>
          </ac:spMkLst>
        </pc:spChg>
        <pc:spChg chg="mod">
          <ac:chgData name="Dan Moore" userId="432a1231-f1bc-48da-b3ef-5b1092c905eb" providerId="ADAL" clId="{CBB518F1-6B10-4061-BD79-9045FC6529D7}" dt="2022-06-29T17:59:51.142" v="739" actId="1076"/>
          <ac:spMkLst>
            <pc:docMk/>
            <pc:sldMk cId="1038962183" sldId="2147470184"/>
            <ac:spMk id="35" creationId="{0A57F3E4-090E-4B5B-87C4-6D6084DEA3A8}"/>
          </ac:spMkLst>
        </pc:spChg>
        <pc:spChg chg="mod">
          <ac:chgData name="Dan Moore" userId="432a1231-f1bc-48da-b3ef-5b1092c905eb" providerId="ADAL" clId="{CBB518F1-6B10-4061-BD79-9045FC6529D7}" dt="2022-06-29T17:59:51.142" v="739" actId="1076"/>
          <ac:spMkLst>
            <pc:docMk/>
            <pc:sldMk cId="1038962183" sldId="2147470184"/>
            <ac:spMk id="36" creationId="{492D2A3F-BDD8-4778-AF19-61BAFA5899C6}"/>
          </ac:spMkLst>
        </pc:spChg>
        <pc:spChg chg="mod">
          <ac:chgData name="Dan Moore" userId="432a1231-f1bc-48da-b3ef-5b1092c905eb" providerId="ADAL" clId="{CBB518F1-6B10-4061-BD79-9045FC6529D7}" dt="2022-06-29T17:59:51.142" v="739" actId="1076"/>
          <ac:spMkLst>
            <pc:docMk/>
            <pc:sldMk cId="1038962183" sldId="2147470184"/>
            <ac:spMk id="37" creationId="{F6DC337C-0B50-453A-B91C-A37A54A67A24}"/>
          </ac:spMkLst>
        </pc:spChg>
        <pc:spChg chg="mod">
          <ac:chgData name="Dan Moore" userId="432a1231-f1bc-48da-b3ef-5b1092c905eb" providerId="ADAL" clId="{CBB518F1-6B10-4061-BD79-9045FC6529D7}" dt="2022-06-29T17:59:51.142" v="739" actId="1076"/>
          <ac:spMkLst>
            <pc:docMk/>
            <pc:sldMk cId="1038962183" sldId="2147470184"/>
            <ac:spMk id="38" creationId="{48BC8BE9-F239-4FD4-B96B-D8AA63943F74}"/>
          </ac:spMkLst>
        </pc:spChg>
        <pc:spChg chg="mod">
          <ac:chgData name="Dan Moore" userId="432a1231-f1bc-48da-b3ef-5b1092c905eb" providerId="ADAL" clId="{CBB518F1-6B10-4061-BD79-9045FC6529D7}" dt="2022-06-29T17:59:51.142" v="739" actId="1076"/>
          <ac:spMkLst>
            <pc:docMk/>
            <pc:sldMk cId="1038962183" sldId="2147470184"/>
            <ac:spMk id="39" creationId="{F0CC75D3-C331-480D-995E-3112BDC6824F}"/>
          </ac:spMkLst>
        </pc:spChg>
        <pc:spChg chg="mod">
          <ac:chgData name="Dan Moore" userId="432a1231-f1bc-48da-b3ef-5b1092c905eb" providerId="ADAL" clId="{CBB518F1-6B10-4061-BD79-9045FC6529D7}" dt="2022-06-29T17:59:51.142" v="739" actId="1076"/>
          <ac:spMkLst>
            <pc:docMk/>
            <pc:sldMk cId="1038962183" sldId="2147470184"/>
            <ac:spMk id="40" creationId="{8EB72829-36F9-46EE-AE71-C008A2746356}"/>
          </ac:spMkLst>
        </pc:spChg>
        <pc:spChg chg="mod">
          <ac:chgData name="Dan Moore" userId="432a1231-f1bc-48da-b3ef-5b1092c905eb" providerId="ADAL" clId="{CBB518F1-6B10-4061-BD79-9045FC6529D7}" dt="2022-06-29T17:59:51.142" v="739" actId="1076"/>
          <ac:spMkLst>
            <pc:docMk/>
            <pc:sldMk cId="1038962183" sldId="2147470184"/>
            <ac:spMk id="41" creationId="{E5DF2BDB-C1B3-4570-8B04-07D61769DFC7}"/>
          </ac:spMkLst>
        </pc:spChg>
        <pc:spChg chg="mod">
          <ac:chgData name="Dan Moore" userId="432a1231-f1bc-48da-b3ef-5b1092c905eb" providerId="ADAL" clId="{CBB518F1-6B10-4061-BD79-9045FC6529D7}" dt="2022-06-29T17:59:51.142" v="739" actId="1076"/>
          <ac:spMkLst>
            <pc:docMk/>
            <pc:sldMk cId="1038962183" sldId="2147470184"/>
            <ac:spMk id="42" creationId="{778EA793-F9D8-4F25-8DC6-75E4CD3F21A9}"/>
          </ac:spMkLst>
        </pc:spChg>
        <pc:spChg chg="mod">
          <ac:chgData name="Dan Moore" userId="432a1231-f1bc-48da-b3ef-5b1092c905eb" providerId="ADAL" clId="{CBB518F1-6B10-4061-BD79-9045FC6529D7}" dt="2022-06-29T17:59:51.142" v="739" actId="1076"/>
          <ac:spMkLst>
            <pc:docMk/>
            <pc:sldMk cId="1038962183" sldId="2147470184"/>
            <ac:spMk id="43" creationId="{6342B032-EA6C-4977-A4B6-763DBDBE07C1}"/>
          </ac:spMkLst>
        </pc:spChg>
        <pc:spChg chg="mod">
          <ac:chgData name="Dan Moore" userId="432a1231-f1bc-48da-b3ef-5b1092c905eb" providerId="ADAL" clId="{CBB518F1-6B10-4061-BD79-9045FC6529D7}" dt="2022-06-29T17:59:51.142" v="739" actId="1076"/>
          <ac:spMkLst>
            <pc:docMk/>
            <pc:sldMk cId="1038962183" sldId="2147470184"/>
            <ac:spMk id="44" creationId="{3EB76548-90AC-487F-A9A4-8427F89C9A39}"/>
          </ac:spMkLst>
        </pc:spChg>
        <pc:spChg chg="mod">
          <ac:chgData name="Dan Moore" userId="432a1231-f1bc-48da-b3ef-5b1092c905eb" providerId="ADAL" clId="{CBB518F1-6B10-4061-BD79-9045FC6529D7}" dt="2022-06-29T17:59:51.142" v="739" actId="1076"/>
          <ac:spMkLst>
            <pc:docMk/>
            <pc:sldMk cId="1038962183" sldId="2147470184"/>
            <ac:spMk id="45" creationId="{9025D55B-3F42-4708-8ADB-824C79A24135}"/>
          </ac:spMkLst>
        </pc:spChg>
        <pc:spChg chg="mod">
          <ac:chgData name="Dan Moore" userId="432a1231-f1bc-48da-b3ef-5b1092c905eb" providerId="ADAL" clId="{CBB518F1-6B10-4061-BD79-9045FC6529D7}" dt="2022-06-29T17:59:51.142" v="739" actId="1076"/>
          <ac:spMkLst>
            <pc:docMk/>
            <pc:sldMk cId="1038962183" sldId="2147470184"/>
            <ac:spMk id="46" creationId="{C278688A-36E0-4CFA-A590-840B6C8AD020}"/>
          </ac:spMkLst>
        </pc:spChg>
        <pc:spChg chg="mod">
          <ac:chgData name="Dan Moore" userId="432a1231-f1bc-48da-b3ef-5b1092c905eb" providerId="ADAL" clId="{CBB518F1-6B10-4061-BD79-9045FC6529D7}" dt="2022-06-29T17:59:51.142" v="739" actId="1076"/>
          <ac:spMkLst>
            <pc:docMk/>
            <pc:sldMk cId="1038962183" sldId="2147470184"/>
            <ac:spMk id="47" creationId="{48678C07-4CC2-4110-9692-FB677D5FD11E}"/>
          </ac:spMkLst>
        </pc:spChg>
        <pc:spChg chg="mod">
          <ac:chgData name="Dan Moore" userId="432a1231-f1bc-48da-b3ef-5b1092c905eb" providerId="ADAL" clId="{CBB518F1-6B10-4061-BD79-9045FC6529D7}" dt="2022-06-29T17:59:51.142" v="739" actId="1076"/>
          <ac:spMkLst>
            <pc:docMk/>
            <pc:sldMk cId="1038962183" sldId="2147470184"/>
            <ac:spMk id="48" creationId="{A0476DDF-E6C4-4632-9E27-62F5FD8D5E9E}"/>
          </ac:spMkLst>
        </pc:spChg>
        <pc:spChg chg="mod">
          <ac:chgData name="Dan Moore" userId="432a1231-f1bc-48da-b3ef-5b1092c905eb" providerId="ADAL" clId="{CBB518F1-6B10-4061-BD79-9045FC6529D7}" dt="2022-06-29T17:59:51.142" v="739" actId="1076"/>
          <ac:spMkLst>
            <pc:docMk/>
            <pc:sldMk cId="1038962183" sldId="2147470184"/>
            <ac:spMk id="49" creationId="{D81F06D7-A9CD-4FCF-8169-E61D7BDC28AF}"/>
          </ac:spMkLst>
        </pc:spChg>
        <pc:spChg chg="mod">
          <ac:chgData name="Dan Moore" userId="432a1231-f1bc-48da-b3ef-5b1092c905eb" providerId="ADAL" clId="{CBB518F1-6B10-4061-BD79-9045FC6529D7}" dt="2022-06-29T17:59:51.142" v="739" actId="1076"/>
          <ac:spMkLst>
            <pc:docMk/>
            <pc:sldMk cId="1038962183" sldId="2147470184"/>
            <ac:spMk id="50" creationId="{3E69BDAF-4336-4CBE-8F21-A9662B74D654}"/>
          </ac:spMkLst>
        </pc:spChg>
        <pc:spChg chg="mod">
          <ac:chgData name="Dan Moore" userId="432a1231-f1bc-48da-b3ef-5b1092c905eb" providerId="ADAL" clId="{CBB518F1-6B10-4061-BD79-9045FC6529D7}" dt="2022-06-29T17:59:51.142" v="739" actId="1076"/>
          <ac:spMkLst>
            <pc:docMk/>
            <pc:sldMk cId="1038962183" sldId="2147470184"/>
            <ac:spMk id="51" creationId="{02AF2F6C-8FD7-4BF8-9B24-440BED3FA2C5}"/>
          </ac:spMkLst>
        </pc:spChg>
        <pc:spChg chg="mod">
          <ac:chgData name="Dan Moore" userId="432a1231-f1bc-48da-b3ef-5b1092c905eb" providerId="ADAL" clId="{CBB518F1-6B10-4061-BD79-9045FC6529D7}" dt="2022-06-29T17:59:51.142" v="739" actId="1076"/>
          <ac:spMkLst>
            <pc:docMk/>
            <pc:sldMk cId="1038962183" sldId="2147470184"/>
            <ac:spMk id="52" creationId="{A4CBD18F-441A-4C27-8A10-E9BD22CC1271}"/>
          </ac:spMkLst>
        </pc:spChg>
        <pc:spChg chg="mod">
          <ac:chgData name="Dan Moore" userId="432a1231-f1bc-48da-b3ef-5b1092c905eb" providerId="ADAL" clId="{CBB518F1-6B10-4061-BD79-9045FC6529D7}" dt="2022-06-29T17:59:51.142" v="739" actId="1076"/>
          <ac:spMkLst>
            <pc:docMk/>
            <pc:sldMk cId="1038962183" sldId="2147470184"/>
            <ac:spMk id="53" creationId="{888A6A2F-D95C-4895-B866-9E7F7C280FCA}"/>
          </ac:spMkLst>
        </pc:spChg>
        <pc:spChg chg="mod">
          <ac:chgData name="Dan Moore" userId="432a1231-f1bc-48da-b3ef-5b1092c905eb" providerId="ADAL" clId="{CBB518F1-6B10-4061-BD79-9045FC6529D7}" dt="2022-06-29T17:59:51.142" v="739" actId="1076"/>
          <ac:spMkLst>
            <pc:docMk/>
            <pc:sldMk cId="1038962183" sldId="2147470184"/>
            <ac:spMk id="54" creationId="{5A893374-30A3-4A22-8A97-5303C96024E6}"/>
          </ac:spMkLst>
        </pc:spChg>
        <pc:spChg chg="mod">
          <ac:chgData name="Dan Moore" userId="432a1231-f1bc-48da-b3ef-5b1092c905eb" providerId="ADAL" clId="{CBB518F1-6B10-4061-BD79-9045FC6529D7}" dt="2022-06-29T17:59:51.142" v="739" actId="1076"/>
          <ac:spMkLst>
            <pc:docMk/>
            <pc:sldMk cId="1038962183" sldId="2147470184"/>
            <ac:spMk id="55" creationId="{81A60990-B7AC-45F5-9C52-DAF2976E07DF}"/>
          </ac:spMkLst>
        </pc:spChg>
        <pc:spChg chg="mod">
          <ac:chgData name="Dan Moore" userId="432a1231-f1bc-48da-b3ef-5b1092c905eb" providerId="ADAL" clId="{CBB518F1-6B10-4061-BD79-9045FC6529D7}" dt="2022-06-29T17:59:51.142" v="739" actId="1076"/>
          <ac:spMkLst>
            <pc:docMk/>
            <pc:sldMk cId="1038962183" sldId="2147470184"/>
            <ac:spMk id="74" creationId="{1C0A80AC-0E6B-4122-8F2D-97C11FF90003}"/>
          </ac:spMkLst>
        </pc:spChg>
        <pc:spChg chg="mod">
          <ac:chgData name="Dan Moore" userId="432a1231-f1bc-48da-b3ef-5b1092c905eb" providerId="ADAL" clId="{CBB518F1-6B10-4061-BD79-9045FC6529D7}" dt="2022-06-29T17:59:51.142" v="739" actId="1076"/>
          <ac:spMkLst>
            <pc:docMk/>
            <pc:sldMk cId="1038962183" sldId="2147470184"/>
            <ac:spMk id="75" creationId="{17E3BC53-BF33-4BC6-8ABB-9B4D3E097AA8}"/>
          </ac:spMkLst>
        </pc:spChg>
        <pc:spChg chg="mod">
          <ac:chgData name="Dan Moore" userId="432a1231-f1bc-48da-b3ef-5b1092c905eb" providerId="ADAL" clId="{CBB518F1-6B10-4061-BD79-9045FC6529D7}" dt="2022-06-29T17:59:51.142" v="739" actId="1076"/>
          <ac:spMkLst>
            <pc:docMk/>
            <pc:sldMk cId="1038962183" sldId="2147470184"/>
            <ac:spMk id="76" creationId="{70352267-66EF-439B-B2BC-E3238DC6C2E7}"/>
          </ac:spMkLst>
        </pc:spChg>
        <pc:spChg chg="mod">
          <ac:chgData name="Dan Moore" userId="432a1231-f1bc-48da-b3ef-5b1092c905eb" providerId="ADAL" clId="{CBB518F1-6B10-4061-BD79-9045FC6529D7}" dt="2022-06-29T17:59:51.142" v="739" actId="1076"/>
          <ac:spMkLst>
            <pc:docMk/>
            <pc:sldMk cId="1038962183" sldId="2147470184"/>
            <ac:spMk id="77" creationId="{421B6D89-4E53-4887-A59A-0C1F71F5CD3C}"/>
          </ac:spMkLst>
        </pc:spChg>
        <pc:spChg chg="mod">
          <ac:chgData name="Dan Moore" userId="432a1231-f1bc-48da-b3ef-5b1092c905eb" providerId="ADAL" clId="{CBB518F1-6B10-4061-BD79-9045FC6529D7}" dt="2022-06-29T17:59:51.142" v="739" actId="1076"/>
          <ac:spMkLst>
            <pc:docMk/>
            <pc:sldMk cId="1038962183" sldId="2147470184"/>
            <ac:spMk id="78" creationId="{56D041BE-8DE9-422A-8207-4A594D96F4AD}"/>
          </ac:spMkLst>
        </pc:spChg>
        <pc:spChg chg="mod">
          <ac:chgData name="Dan Moore" userId="432a1231-f1bc-48da-b3ef-5b1092c905eb" providerId="ADAL" clId="{CBB518F1-6B10-4061-BD79-9045FC6529D7}" dt="2022-06-29T17:59:51.142" v="739" actId="1076"/>
          <ac:spMkLst>
            <pc:docMk/>
            <pc:sldMk cId="1038962183" sldId="2147470184"/>
            <ac:spMk id="79" creationId="{1B9B160B-3B24-4FCB-8692-F2E3800737EE}"/>
          </ac:spMkLst>
        </pc:spChg>
        <pc:spChg chg="mod">
          <ac:chgData name="Dan Moore" userId="432a1231-f1bc-48da-b3ef-5b1092c905eb" providerId="ADAL" clId="{CBB518F1-6B10-4061-BD79-9045FC6529D7}" dt="2022-06-29T17:59:51.142" v="739" actId="1076"/>
          <ac:spMkLst>
            <pc:docMk/>
            <pc:sldMk cId="1038962183" sldId="2147470184"/>
            <ac:spMk id="80" creationId="{BBD68869-068E-4477-8A1F-4A9F499B1B30}"/>
          </ac:spMkLst>
        </pc:spChg>
        <pc:spChg chg="mod">
          <ac:chgData name="Dan Moore" userId="432a1231-f1bc-48da-b3ef-5b1092c905eb" providerId="ADAL" clId="{CBB518F1-6B10-4061-BD79-9045FC6529D7}" dt="2022-06-29T17:59:51.142" v="739" actId="1076"/>
          <ac:spMkLst>
            <pc:docMk/>
            <pc:sldMk cId="1038962183" sldId="2147470184"/>
            <ac:spMk id="81" creationId="{A665A361-FA8C-48F7-9BB6-A6600D9FAF90}"/>
          </ac:spMkLst>
        </pc:spChg>
        <pc:spChg chg="mod">
          <ac:chgData name="Dan Moore" userId="432a1231-f1bc-48da-b3ef-5b1092c905eb" providerId="ADAL" clId="{CBB518F1-6B10-4061-BD79-9045FC6529D7}" dt="2022-06-29T17:59:51.142" v="739" actId="1076"/>
          <ac:spMkLst>
            <pc:docMk/>
            <pc:sldMk cId="1038962183" sldId="2147470184"/>
            <ac:spMk id="82" creationId="{53BCF912-599F-4F7B-9596-92CDE8BBFFA4}"/>
          </ac:spMkLst>
        </pc:spChg>
        <pc:spChg chg="mod">
          <ac:chgData name="Dan Moore" userId="432a1231-f1bc-48da-b3ef-5b1092c905eb" providerId="ADAL" clId="{CBB518F1-6B10-4061-BD79-9045FC6529D7}" dt="2022-06-29T17:59:51.142" v="739" actId="1076"/>
          <ac:spMkLst>
            <pc:docMk/>
            <pc:sldMk cId="1038962183" sldId="2147470184"/>
            <ac:spMk id="83" creationId="{DFB584EB-EBBA-410D-A910-23B0FA96893A}"/>
          </ac:spMkLst>
        </pc:spChg>
        <pc:spChg chg="mod">
          <ac:chgData name="Dan Moore" userId="432a1231-f1bc-48da-b3ef-5b1092c905eb" providerId="ADAL" clId="{CBB518F1-6B10-4061-BD79-9045FC6529D7}" dt="2022-06-29T17:59:51.142" v="739" actId="1076"/>
          <ac:spMkLst>
            <pc:docMk/>
            <pc:sldMk cId="1038962183" sldId="2147470184"/>
            <ac:spMk id="84" creationId="{F971B62D-2575-4437-847C-DD506838F68D}"/>
          </ac:spMkLst>
        </pc:spChg>
        <pc:spChg chg="mod">
          <ac:chgData name="Dan Moore" userId="432a1231-f1bc-48da-b3ef-5b1092c905eb" providerId="ADAL" clId="{CBB518F1-6B10-4061-BD79-9045FC6529D7}" dt="2022-06-29T17:59:51.142" v="739" actId="1076"/>
          <ac:spMkLst>
            <pc:docMk/>
            <pc:sldMk cId="1038962183" sldId="2147470184"/>
            <ac:spMk id="85" creationId="{6FFF415F-EC00-445F-85DB-F409E7D8DAD2}"/>
          </ac:spMkLst>
        </pc:spChg>
        <pc:spChg chg="mod">
          <ac:chgData name="Dan Moore" userId="432a1231-f1bc-48da-b3ef-5b1092c905eb" providerId="ADAL" clId="{CBB518F1-6B10-4061-BD79-9045FC6529D7}" dt="2022-06-29T17:59:51.142" v="739" actId="1076"/>
          <ac:spMkLst>
            <pc:docMk/>
            <pc:sldMk cId="1038962183" sldId="2147470184"/>
            <ac:spMk id="86" creationId="{83B0A760-4617-44CF-8ED0-76EF48CC8FFA}"/>
          </ac:spMkLst>
        </pc:spChg>
        <pc:spChg chg="mod">
          <ac:chgData name="Dan Moore" userId="432a1231-f1bc-48da-b3ef-5b1092c905eb" providerId="ADAL" clId="{CBB518F1-6B10-4061-BD79-9045FC6529D7}" dt="2022-06-29T17:59:51.142" v="739" actId="1076"/>
          <ac:spMkLst>
            <pc:docMk/>
            <pc:sldMk cId="1038962183" sldId="2147470184"/>
            <ac:spMk id="87" creationId="{A792C1F2-EFE7-4DBA-8C80-E495C16D4A3E}"/>
          </ac:spMkLst>
        </pc:spChg>
        <pc:spChg chg="mod">
          <ac:chgData name="Dan Moore" userId="432a1231-f1bc-48da-b3ef-5b1092c905eb" providerId="ADAL" clId="{CBB518F1-6B10-4061-BD79-9045FC6529D7}" dt="2022-06-29T17:59:51.142" v="739" actId="1076"/>
          <ac:spMkLst>
            <pc:docMk/>
            <pc:sldMk cId="1038962183" sldId="2147470184"/>
            <ac:spMk id="88" creationId="{A27CAC16-694D-4918-8D3E-5CED7FE78BC8}"/>
          </ac:spMkLst>
        </pc:spChg>
        <pc:spChg chg="mod">
          <ac:chgData name="Dan Moore" userId="432a1231-f1bc-48da-b3ef-5b1092c905eb" providerId="ADAL" clId="{CBB518F1-6B10-4061-BD79-9045FC6529D7}" dt="2022-06-29T17:59:51.142" v="739" actId="1076"/>
          <ac:spMkLst>
            <pc:docMk/>
            <pc:sldMk cId="1038962183" sldId="2147470184"/>
            <ac:spMk id="89" creationId="{90A75BD2-E8F0-4834-AD8F-43B2578EC039}"/>
          </ac:spMkLst>
        </pc:spChg>
        <pc:spChg chg="mod">
          <ac:chgData name="Dan Moore" userId="432a1231-f1bc-48da-b3ef-5b1092c905eb" providerId="ADAL" clId="{CBB518F1-6B10-4061-BD79-9045FC6529D7}" dt="2022-06-29T17:59:51.142" v="739" actId="1076"/>
          <ac:spMkLst>
            <pc:docMk/>
            <pc:sldMk cId="1038962183" sldId="2147470184"/>
            <ac:spMk id="90" creationId="{E995AE7F-906C-432B-9934-66E4D2222518}"/>
          </ac:spMkLst>
        </pc:spChg>
        <pc:grpChg chg="mod">
          <ac:chgData name="Dan Moore" userId="432a1231-f1bc-48da-b3ef-5b1092c905eb" providerId="ADAL" clId="{CBB518F1-6B10-4061-BD79-9045FC6529D7}" dt="2022-06-29T17:59:51.142" v="739" actId="1076"/>
          <ac:grpSpMkLst>
            <pc:docMk/>
            <pc:sldMk cId="1038962183" sldId="2147470184"/>
            <ac:grpSpMk id="6" creationId="{AE82C453-F336-4453-8C87-CB6DB82D4646}"/>
          </ac:grpSpMkLst>
        </pc:grpChg>
        <pc:grpChg chg="mod">
          <ac:chgData name="Dan Moore" userId="432a1231-f1bc-48da-b3ef-5b1092c905eb" providerId="ADAL" clId="{CBB518F1-6B10-4061-BD79-9045FC6529D7}" dt="2022-06-29T17:59:51.142" v="739" actId="1076"/>
          <ac:grpSpMkLst>
            <pc:docMk/>
            <pc:sldMk cId="1038962183" sldId="2147470184"/>
            <ac:grpSpMk id="7" creationId="{60EC79D2-59BE-4684-AEE3-8FB3D51CF00F}"/>
          </ac:grpSpMkLst>
        </pc:grpChg>
        <pc:grpChg chg="mod">
          <ac:chgData name="Dan Moore" userId="432a1231-f1bc-48da-b3ef-5b1092c905eb" providerId="ADAL" clId="{CBB518F1-6B10-4061-BD79-9045FC6529D7}" dt="2022-06-29T17:59:51.142" v="739" actId="1076"/>
          <ac:grpSpMkLst>
            <pc:docMk/>
            <pc:sldMk cId="1038962183" sldId="2147470184"/>
            <ac:grpSpMk id="34" creationId="{D0477CC8-46EA-4171-9F11-7D55A1AB8FCE}"/>
          </ac:grpSpMkLst>
        </pc:grpChg>
        <pc:grpChg chg="mod">
          <ac:chgData name="Dan Moore" userId="432a1231-f1bc-48da-b3ef-5b1092c905eb" providerId="ADAL" clId="{CBB518F1-6B10-4061-BD79-9045FC6529D7}" dt="2022-06-29T17:59:51.142" v="739" actId="1076"/>
          <ac:grpSpMkLst>
            <pc:docMk/>
            <pc:sldMk cId="1038962183" sldId="2147470184"/>
            <ac:grpSpMk id="73" creationId="{C688EDBD-E206-4BF0-98FB-164C60CA2CA8}"/>
          </ac:grpSpMkLst>
        </pc:grpChg>
      </pc:sldChg>
      <pc:sldChg chg="delSp del mod delAnim">
        <pc:chgData name="Dan Moore" userId="432a1231-f1bc-48da-b3ef-5b1092c905eb" providerId="ADAL" clId="{CBB518F1-6B10-4061-BD79-9045FC6529D7}" dt="2022-06-29T18:02:41.003" v="765" actId="47"/>
        <pc:sldMkLst>
          <pc:docMk/>
          <pc:sldMk cId="2526638429" sldId="2147470185"/>
        </pc:sldMkLst>
        <pc:spChg chg="del">
          <ac:chgData name="Dan Moore" userId="432a1231-f1bc-48da-b3ef-5b1092c905eb" providerId="ADAL" clId="{CBB518F1-6B10-4061-BD79-9045FC6529D7}" dt="2022-06-29T18:00:11.201" v="743" actId="21"/>
          <ac:spMkLst>
            <pc:docMk/>
            <pc:sldMk cId="2526638429" sldId="2147470185"/>
            <ac:spMk id="56" creationId="{9D00D43C-DAF9-45C3-ADEC-D7A5541E73E9}"/>
          </ac:spMkLst>
        </pc:spChg>
        <pc:spChg chg="del">
          <ac:chgData name="Dan Moore" userId="432a1231-f1bc-48da-b3ef-5b1092c905eb" providerId="ADAL" clId="{CBB518F1-6B10-4061-BD79-9045FC6529D7}" dt="2022-06-29T18:00:11.201" v="743" actId="21"/>
          <ac:spMkLst>
            <pc:docMk/>
            <pc:sldMk cId="2526638429" sldId="2147470185"/>
            <ac:spMk id="57" creationId="{F47CEA79-2E39-43B6-B1C0-9506905947FC}"/>
          </ac:spMkLst>
        </pc:spChg>
        <pc:spChg chg="del">
          <ac:chgData name="Dan Moore" userId="432a1231-f1bc-48da-b3ef-5b1092c905eb" providerId="ADAL" clId="{CBB518F1-6B10-4061-BD79-9045FC6529D7}" dt="2022-06-29T18:00:11.201" v="743" actId="21"/>
          <ac:spMkLst>
            <pc:docMk/>
            <pc:sldMk cId="2526638429" sldId="2147470185"/>
            <ac:spMk id="58" creationId="{8B60A422-3C3F-47C3-B3CE-B2E350F5B96D}"/>
          </ac:spMkLst>
        </pc:spChg>
        <pc:spChg chg="del">
          <ac:chgData name="Dan Moore" userId="432a1231-f1bc-48da-b3ef-5b1092c905eb" providerId="ADAL" clId="{CBB518F1-6B10-4061-BD79-9045FC6529D7}" dt="2022-06-29T18:00:11.201" v="743" actId="21"/>
          <ac:spMkLst>
            <pc:docMk/>
            <pc:sldMk cId="2526638429" sldId="2147470185"/>
            <ac:spMk id="59" creationId="{4D48D050-A1B6-4818-9481-04E0CE45F0B9}"/>
          </ac:spMkLst>
        </pc:spChg>
        <pc:grpChg chg="del">
          <ac:chgData name="Dan Moore" userId="432a1231-f1bc-48da-b3ef-5b1092c905eb" providerId="ADAL" clId="{CBB518F1-6B10-4061-BD79-9045FC6529D7}" dt="2022-06-29T18:00:11.201" v="743" actId="21"/>
          <ac:grpSpMkLst>
            <pc:docMk/>
            <pc:sldMk cId="2526638429" sldId="2147470185"/>
            <ac:grpSpMk id="60" creationId="{6E83A288-0ADD-428D-ADEA-35B2C812D04F}"/>
          </ac:grpSpMkLst>
        </pc:grpChg>
      </pc:sldChg>
      <pc:sldChg chg="delSp modSp del mod">
        <pc:chgData name="Dan Moore" userId="432a1231-f1bc-48da-b3ef-5b1092c905eb" providerId="ADAL" clId="{CBB518F1-6B10-4061-BD79-9045FC6529D7}" dt="2022-06-29T18:04:21.012" v="778" actId="47"/>
        <pc:sldMkLst>
          <pc:docMk/>
          <pc:sldMk cId="429378152" sldId="2147470186"/>
        </pc:sldMkLst>
        <pc:spChg chg="mod topLvl">
          <ac:chgData name="Dan Moore" userId="432a1231-f1bc-48da-b3ef-5b1092c905eb" providerId="ADAL" clId="{CBB518F1-6B10-4061-BD79-9045FC6529D7}" dt="2022-06-29T18:02:50.645" v="766" actId="165"/>
          <ac:spMkLst>
            <pc:docMk/>
            <pc:sldMk cId="429378152" sldId="2147470186"/>
            <ac:spMk id="59" creationId="{4D48D050-A1B6-4818-9481-04E0CE45F0B9}"/>
          </ac:spMkLst>
        </pc:spChg>
        <pc:spChg chg="mod">
          <ac:chgData name="Dan Moore" userId="432a1231-f1bc-48da-b3ef-5b1092c905eb" providerId="ADAL" clId="{CBB518F1-6B10-4061-BD79-9045FC6529D7}" dt="2022-06-29T18:02:50.645" v="766" actId="165"/>
          <ac:spMkLst>
            <pc:docMk/>
            <pc:sldMk cId="429378152" sldId="2147470186"/>
            <ac:spMk id="61" creationId="{725E0EAD-CA8F-4F63-8D29-2E74981C783D}"/>
          </ac:spMkLst>
        </pc:spChg>
        <pc:spChg chg="mod">
          <ac:chgData name="Dan Moore" userId="432a1231-f1bc-48da-b3ef-5b1092c905eb" providerId="ADAL" clId="{CBB518F1-6B10-4061-BD79-9045FC6529D7}" dt="2022-06-29T18:02:50.645" v="766" actId="165"/>
          <ac:spMkLst>
            <pc:docMk/>
            <pc:sldMk cId="429378152" sldId="2147470186"/>
            <ac:spMk id="62" creationId="{C463E5E5-50F1-40B9-A71E-2BFE02A634E1}"/>
          </ac:spMkLst>
        </pc:spChg>
        <pc:spChg chg="mod">
          <ac:chgData name="Dan Moore" userId="432a1231-f1bc-48da-b3ef-5b1092c905eb" providerId="ADAL" clId="{CBB518F1-6B10-4061-BD79-9045FC6529D7}" dt="2022-06-29T18:02:50.645" v="766" actId="165"/>
          <ac:spMkLst>
            <pc:docMk/>
            <pc:sldMk cId="429378152" sldId="2147470186"/>
            <ac:spMk id="63" creationId="{BD050DBB-A611-4A6D-9FA9-A158C6D8593D}"/>
          </ac:spMkLst>
        </pc:spChg>
        <pc:spChg chg="mod">
          <ac:chgData name="Dan Moore" userId="432a1231-f1bc-48da-b3ef-5b1092c905eb" providerId="ADAL" clId="{CBB518F1-6B10-4061-BD79-9045FC6529D7}" dt="2022-06-29T18:02:50.645" v="766" actId="165"/>
          <ac:spMkLst>
            <pc:docMk/>
            <pc:sldMk cId="429378152" sldId="2147470186"/>
            <ac:spMk id="64" creationId="{A1A0B7BF-DADE-4DF8-8F99-40AC97AE575A}"/>
          </ac:spMkLst>
        </pc:spChg>
        <pc:spChg chg="mod">
          <ac:chgData name="Dan Moore" userId="432a1231-f1bc-48da-b3ef-5b1092c905eb" providerId="ADAL" clId="{CBB518F1-6B10-4061-BD79-9045FC6529D7}" dt="2022-06-29T18:02:50.645" v="766" actId="165"/>
          <ac:spMkLst>
            <pc:docMk/>
            <pc:sldMk cId="429378152" sldId="2147470186"/>
            <ac:spMk id="65" creationId="{4025755C-460D-4271-9D9D-1F38DFCE78FD}"/>
          </ac:spMkLst>
        </pc:spChg>
        <pc:spChg chg="mod">
          <ac:chgData name="Dan Moore" userId="432a1231-f1bc-48da-b3ef-5b1092c905eb" providerId="ADAL" clId="{CBB518F1-6B10-4061-BD79-9045FC6529D7}" dt="2022-06-29T18:02:50.645" v="766" actId="165"/>
          <ac:spMkLst>
            <pc:docMk/>
            <pc:sldMk cId="429378152" sldId="2147470186"/>
            <ac:spMk id="66" creationId="{A8F35D87-525F-45B3-931B-6C6F7D32ECD5}"/>
          </ac:spMkLst>
        </pc:spChg>
        <pc:spChg chg="mod">
          <ac:chgData name="Dan Moore" userId="432a1231-f1bc-48da-b3ef-5b1092c905eb" providerId="ADAL" clId="{CBB518F1-6B10-4061-BD79-9045FC6529D7}" dt="2022-06-29T18:02:50.645" v="766" actId="165"/>
          <ac:spMkLst>
            <pc:docMk/>
            <pc:sldMk cId="429378152" sldId="2147470186"/>
            <ac:spMk id="67" creationId="{B225A367-05B1-4C6D-94F6-6031A066ED27}"/>
          </ac:spMkLst>
        </pc:spChg>
        <pc:spChg chg="mod">
          <ac:chgData name="Dan Moore" userId="432a1231-f1bc-48da-b3ef-5b1092c905eb" providerId="ADAL" clId="{CBB518F1-6B10-4061-BD79-9045FC6529D7}" dt="2022-06-29T18:02:50.645" v="766" actId="165"/>
          <ac:spMkLst>
            <pc:docMk/>
            <pc:sldMk cId="429378152" sldId="2147470186"/>
            <ac:spMk id="96" creationId="{71496416-0E5F-4149-B079-A2936038CF94}"/>
          </ac:spMkLst>
        </pc:spChg>
        <pc:spChg chg="mod">
          <ac:chgData name="Dan Moore" userId="432a1231-f1bc-48da-b3ef-5b1092c905eb" providerId="ADAL" clId="{CBB518F1-6B10-4061-BD79-9045FC6529D7}" dt="2022-06-29T18:02:50.645" v="766" actId="165"/>
          <ac:spMkLst>
            <pc:docMk/>
            <pc:sldMk cId="429378152" sldId="2147470186"/>
            <ac:spMk id="99" creationId="{E0B666D6-CD0E-4B15-9B8B-45B42A884325}"/>
          </ac:spMkLst>
        </pc:spChg>
        <pc:grpChg chg="del mod topLvl">
          <ac:chgData name="Dan Moore" userId="432a1231-f1bc-48da-b3ef-5b1092c905eb" providerId="ADAL" clId="{CBB518F1-6B10-4061-BD79-9045FC6529D7}" dt="2022-06-29T18:02:54.478" v="767" actId="21"/>
          <ac:grpSpMkLst>
            <pc:docMk/>
            <pc:sldMk cId="429378152" sldId="2147470186"/>
            <ac:grpSpMk id="4" creationId="{ADB04954-13DA-1454-8239-B34B9FDEA893}"/>
          </ac:grpSpMkLst>
        </pc:grpChg>
        <pc:grpChg chg="del">
          <ac:chgData name="Dan Moore" userId="432a1231-f1bc-48da-b3ef-5b1092c905eb" providerId="ADAL" clId="{CBB518F1-6B10-4061-BD79-9045FC6529D7}" dt="2022-06-29T18:02:50.645" v="766" actId="165"/>
          <ac:grpSpMkLst>
            <pc:docMk/>
            <pc:sldMk cId="429378152" sldId="2147470186"/>
            <ac:grpSpMk id="5" creationId="{EF30AE22-8B5F-9CD3-0FAD-1CAF7544A938}"/>
          </ac:grpSpMkLst>
        </pc:grpChg>
        <pc:grpChg chg="mod topLvl">
          <ac:chgData name="Dan Moore" userId="432a1231-f1bc-48da-b3ef-5b1092c905eb" providerId="ADAL" clId="{CBB518F1-6B10-4061-BD79-9045FC6529D7}" dt="2022-06-29T18:02:50.645" v="766" actId="165"/>
          <ac:grpSpMkLst>
            <pc:docMk/>
            <pc:sldMk cId="429378152" sldId="2147470186"/>
            <ac:grpSpMk id="60" creationId="{6E83A288-0ADD-428D-ADEA-35B2C812D04F}"/>
          </ac:grpSpMkLst>
        </pc:grpChg>
        <pc:grpChg chg="mod">
          <ac:chgData name="Dan Moore" userId="432a1231-f1bc-48da-b3ef-5b1092c905eb" providerId="ADAL" clId="{CBB518F1-6B10-4061-BD79-9045FC6529D7}" dt="2022-06-29T18:02:50.645" v="766" actId="165"/>
          <ac:grpSpMkLst>
            <pc:docMk/>
            <pc:sldMk cId="429378152" sldId="2147470186"/>
            <ac:grpSpMk id="70" creationId="{EA1C7310-A2A4-46A6-AACE-72D84D6CC998}"/>
          </ac:grpSpMkLst>
        </pc:grpChg>
        <pc:grpChg chg="mod">
          <ac:chgData name="Dan Moore" userId="432a1231-f1bc-48da-b3ef-5b1092c905eb" providerId="ADAL" clId="{CBB518F1-6B10-4061-BD79-9045FC6529D7}" dt="2022-06-29T18:02:50.645" v="766" actId="165"/>
          <ac:grpSpMkLst>
            <pc:docMk/>
            <pc:sldMk cId="429378152" sldId="2147470186"/>
            <ac:grpSpMk id="91" creationId="{BAF41B07-5E82-4BFA-9222-6957875E1404}"/>
          </ac:grpSpMkLst>
        </pc:grpChg>
        <pc:grpChg chg="mod">
          <ac:chgData name="Dan Moore" userId="432a1231-f1bc-48da-b3ef-5b1092c905eb" providerId="ADAL" clId="{CBB518F1-6B10-4061-BD79-9045FC6529D7}" dt="2022-06-29T18:02:50.645" v="766" actId="165"/>
          <ac:grpSpMkLst>
            <pc:docMk/>
            <pc:sldMk cId="429378152" sldId="2147470186"/>
            <ac:grpSpMk id="94" creationId="{70B4770C-E4C5-405C-BB8F-312328162A53}"/>
          </ac:grpSpMkLst>
        </pc:grpChg>
        <pc:grpChg chg="mod">
          <ac:chgData name="Dan Moore" userId="432a1231-f1bc-48da-b3ef-5b1092c905eb" providerId="ADAL" clId="{CBB518F1-6B10-4061-BD79-9045FC6529D7}" dt="2022-06-29T18:02:50.645" v="766" actId="165"/>
          <ac:grpSpMkLst>
            <pc:docMk/>
            <pc:sldMk cId="429378152" sldId="2147470186"/>
            <ac:grpSpMk id="97" creationId="{5FA0CB27-F610-4937-8CF1-83C89B4FA8E0}"/>
          </ac:grpSpMkLst>
        </pc:grpChg>
        <pc:picChg chg="mod">
          <ac:chgData name="Dan Moore" userId="432a1231-f1bc-48da-b3ef-5b1092c905eb" providerId="ADAL" clId="{CBB518F1-6B10-4061-BD79-9045FC6529D7}" dt="2022-06-29T18:02:50.645" v="766" actId="165"/>
          <ac:picMkLst>
            <pc:docMk/>
            <pc:sldMk cId="429378152" sldId="2147470186"/>
            <ac:picMk id="68" creationId="{4D6229FD-096B-4AE8-A64B-E2EFC778AAC0}"/>
          </ac:picMkLst>
        </pc:picChg>
        <pc:picChg chg="mod">
          <ac:chgData name="Dan Moore" userId="432a1231-f1bc-48da-b3ef-5b1092c905eb" providerId="ADAL" clId="{CBB518F1-6B10-4061-BD79-9045FC6529D7}" dt="2022-06-29T18:02:50.645" v="766" actId="165"/>
          <ac:picMkLst>
            <pc:docMk/>
            <pc:sldMk cId="429378152" sldId="2147470186"/>
            <ac:picMk id="69" creationId="{27A0562B-5D38-4EAC-A44C-020C9B98EF6E}"/>
          </ac:picMkLst>
        </pc:picChg>
        <pc:picChg chg="mod">
          <ac:chgData name="Dan Moore" userId="432a1231-f1bc-48da-b3ef-5b1092c905eb" providerId="ADAL" clId="{CBB518F1-6B10-4061-BD79-9045FC6529D7}" dt="2022-06-29T18:02:50.645" v="766" actId="165"/>
          <ac:picMkLst>
            <pc:docMk/>
            <pc:sldMk cId="429378152" sldId="2147470186"/>
            <ac:picMk id="71" creationId="{C9BF07A7-93EE-484A-8B95-2A3D9D8688E0}"/>
          </ac:picMkLst>
        </pc:picChg>
        <pc:picChg chg="mod">
          <ac:chgData name="Dan Moore" userId="432a1231-f1bc-48da-b3ef-5b1092c905eb" providerId="ADAL" clId="{CBB518F1-6B10-4061-BD79-9045FC6529D7}" dt="2022-06-29T18:02:50.645" v="766" actId="165"/>
          <ac:picMkLst>
            <pc:docMk/>
            <pc:sldMk cId="429378152" sldId="2147470186"/>
            <ac:picMk id="72" creationId="{603E2C31-9B92-48F2-9BE0-374F7D585361}"/>
          </ac:picMkLst>
        </pc:picChg>
        <pc:picChg chg="mod">
          <ac:chgData name="Dan Moore" userId="432a1231-f1bc-48da-b3ef-5b1092c905eb" providerId="ADAL" clId="{CBB518F1-6B10-4061-BD79-9045FC6529D7}" dt="2022-06-29T18:02:50.645" v="766" actId="165"/>
          <ac:picMkLst>
            <pc:docMk/>
            <pc:sldMk cId="429378152" sldId="2147470186"/>
            <ac:picMk id="92" creationId="{872618C3-98FE-4C27-8F83-F29AA07281EA}"/>
          </ac:picMkLst>
        </pc:picChg>
        <pc:picChg chg="mod">
          <ac:chgData name="Dan Moore" userId="432a1231-f1bc-48da-b3ef-5b1092c905eb" providerId="ADAL" clId="{CBB518F1-6B10-4061-BD79-9045FC6529D7}" dt="2022-06-29T18:02:50.645" v="766" actId="165"/>
          <ac:picMkLst>
            <pc:docMk/>
            <pc:sldMk cId="429378152" sldId="2147470186"/>
            <ac:picMk id="93" creationId="{CAE7AFA5-ED17-4ED1-9D2B-C844483F521A}"/>
          </ac:picMkLst>
        </pc:picChg>
        <pc:picChg chg="mod">
          <ac:chgData name="Dan Moore" userId="432a1231-f1bc-48da-b3ef-5b1092c905eb" providerId="ADAL" clId="{CBB518F1-6B10-4061-BD79-9045FC6529D7}" dt="2022-06-29T18:02:50.645" v="766" actId="165"/>
          <ac:picMkLst>
            <pc:docMk/>
            <pc:sldMk cId="429378152" sldId="2147470186"/>
            <ac:picMk id="95" creationId="{49CD3E38-C83F-44AA-86AF-4CC2C44E59F4}"/>
          </ac:picMkLst>
        </pc:picChg>
        <pc:picChg chg="mod">
          <ac:chgData name="Dan Moore" userId="432a1231-f1bc-48da-b3ef-5b1092c905eb" providerId="ADAL" clId="{CBB518F1-6B10-4061-BD79-9045FC6529D7}" dt="2022-06-29T18:02:50.645" v="766" actId="165"/>
          <ac:picMkLst>
            <pc:docMk/>
            <pc:sldMk cId="429378152" sldId="2147470186"/>
            <ac:picMk id="98" creationId="{DA75CA2D-9B28-47F2-A4B7-E516E85A42B0}"/>
          </ac:picMkLst>
        </pc:picChg>
      </pc:sldChg>
      <pc:sldChg chg="modSp mod">
        <pc:chgData name="Dan Moore" userId="432a1231-f1bc-48da-b3ef-5b1092c905eb" providerId="ADAL" clId="{CBB518F1-6B10-4061-BD79-9045FC6529D7}" dt="2022-06-29T17:30:41.788" v="323" actId="14100"/>
        <pc:sldMkLst>
          <pc:docMk/>
          <pc:sldMk cId="1151731301" sldId="2147470188"/>
        </pc:sldMkLst>
        <pc:spChg chg="mod">
          <ac:chgData name="Dan Moore" userId="432a1231-f1bc-48da-b3ef-5b1092c905eb" providerId="ADAL" clId="{CBB518F1-6B10-4061-BD79-9045FC6529D7}" dt="2022-06-29T17:30:41.788" v="323" actId="14100"/>
          <ac:spMkLst>
            <pc:docMk/>
            <pc:sldMk cId="1151731301" sldId="2147470188"/>
            <ac:spMk id="3" creationId="{BA6CAD71-2B13-63B5-1C6F-EA6CF19183F5}"/>
          </ac:spMkLst>
        </pc:spChg>
        <pc:picChg chg="mod">
          <ac:chgData name="Dan Moore" userId="432a1231-f1bc-48da-b3ef-5b1092c905eb" providerId="ADAL" clId="{CBB518F1-6B10-4061-BD79-9045FC6529D7}" dt="2022-06-29T17:30:32.125" v="319" actId="1076"/>
          <ac:picMkLst>
            <pc:docMk/>
            <pc:sldMk cId="1151731301" sldId="2147470188"/>
            <ac:picMk id="5" creationId="{D124D0CE-1E43-203D-A5BD-9ADD54E0BD4F}"/>
          </ac:picMkLst>
        </pc:picChg>
        <pc:picChg chg="mod">
          <ac:chgData name="Dan Moore" userId="432a1231-f1bc-48da-b3ef-5b1092c905eb" providerId="ADAL" clId="{CBB518F1-6B10-4061-BD79-9045FC6529D7}" dt="2022-06-29T17:30:27.705" v="316" actId="1076"/>
          <ac:picMkLst>
            <pc:docMk/>
            <pc:sldMk cId="1151731301" sldId="2147470188"/>
            <ac:picMk id="6" creationId="{C0DE31AE-CD97-012E-F29D-9D8B69DFBE4B}"/>
          </ac:picMkLst>
        </pc:picChg>
      </pc:sldChg>
      <pc:sldChg chg="delSp modSp mod">
        <pc:chgData name="Dan Moore" userId="432a1231-f1bc-48da-b3ef-5b1092c905eb" providerId="ADAL" clId="{CBB518F1-6B10-4061-BD79-9045FC6529D7}" dt="2022-06-29T17:32:14.396" v="328" actId="1076"/>
        <pc:sldMkLst>
          <pc:docMk/>
          <pc:sldMk cId="2996763583" sldId="2147470189"/>
        </pc:sldMkLst>
        <pc:spChg chg="del">
          <ac:chgData name="Dan Moore" userId="432a1231-f1bc-48da-b3ef-5b1092c905eb" providerId="ADAL" clId="{CBB518F1-6B10-4061-BD79-9045FC6529D7}" dt="2022-06-29T17:32:11.436" v="327" actId="478"/>
          <ac:spMkLst>
            <pc:docMk/>
            <pc:sldMk cId="2996763583" sldId="2147470189"/>
            <ac:spMk id="4" creationId="{B7012214-46B7-851C-C3FF-45FECB67550F}"/>
          </ac:spMkLst>
        </pc:spChg>
        <pc:picChg chg="mod">
          <ac:chgData name="Dan Moore" userId="432a1231-f1bc-48da-b3ef-5b1092c905eb" providerId="ADAL" clId="{CBB518F1-6B10-4061-BD79-9045FC6529D7}" dt="2022-06-29T17:32:14.396" v="328" actId="1076"/>
          <ac:picMkLst>
            <pc:docMk/>
            <pc:sldMk cId="2996763583" sldId="2147470189"/>
            <ac:picMk id="2050" creationId="{8B489611-6518-AD2A-2DE3-F7FEDDF83EA1}"/>
          </ac:picMkLst>
        </pc:picChg>
      </pc:sldChg>
      <pc:sldChg chg="delSp mod">
        <pc:chgData name="Dan Moore" userId="432a1231-f1bc-48da-b3ef-5b1092c905eb" providerId="ADAL" clId="{CBB518F1-6B10-4061-BD79-9045FC6529D7}" dt="2022-06-29T17:31:56.632" v="326" actId="478"/>
        <pc:sldMkLst>
          <pc:docMk/>
          <pc:sldMk cId="3558894971" sldId="2147470191"/>
        </pc:sldMkLst>
        <pc:spChg chg="del">
          <ac:chgData name="Dan Moore" userId="432a1231-f1bc-48da-b3ef-5b1092c905eb" providerId="ADAL" clId="{CBB518F1-6B10-4061-BD79-9045FC6529D7}" dt="2022-06-29T17:31:56.632" v="326" actId="478"/>
          <ac:spMkLst>
            <pc:docMk/>
            <pc:sldMk cId="3558894971" sldId="2147470191"/>
            <ac:spMk id="4" creationId="{0E702CEB-6AEE-7796-02EB-06D907211382}"/>
          </ac:spMkLst>
        </pc:spChg>
      </pc:sldChg>
      <pc:sldChg chg="delSp modSp mod modCm chgLayout">
        <pc:chgData name="Dan Moore" userId="432a1231-f1bc-48da-b3ef-5b1092c905eb" providerId="ADAL" clId="{CBB518F1-6B10-4061-BD79-9045FC6529D7}" dt="2022-06-29T18:33:17.510" v="984"/>
        <pc:sldMkLst>
          <pc:docMk/>
          <pc:sldMk cId="552015189" sldId="2147470193"/>
        </pc:sldMkLst>
        <pc:spChg chg="mod ord">
          <ac:chgData name="Dan Moore" userId="432a1231-f1bc-48da-b3ef-5b1092c905eb" providerId="ADAL" clId="{CBB518F1-6B10-4061-BD79-9045FC6529D7}" dt="2022-06-29T18:05:46.239" v="860" actId="20577"/>
          <ac:spMkLst>
            <pc:docMk/>
            <pc:sldMk cId="552015189" sldId="2147470193"/>
            <ac:spMk id="2" creationId="{C22D04A3-8CAF-2D42-234C-BF1B1E346D1D}"/>
          </ac:spMkLst>
        </pc:spChg>
        <pc:spChg chg="del">
          <ac:chgData name="Dan Moore" userId="432a1231-f1bc-48da-b3ef-5b1092c905eb" providerId="ADAL" clId="{CBB518F1-6B10-4061-BD79-9045FC6529D7}" dt="2022-06-29T18:05:59.410" v="861" actId="478"/>
          <ac:spMkLst>
            <pc:docMk/>
            <pc:sldMk cId="552015189" sldId="2147470193"/>
            <ac:spMk id="12" creationId="{815A8441-08C3-829D-D717-F6A5211F3AAD}"/>
          </ac:spMkLst>
        </pc:spChg>
        <pc:grpChg chg="del">
          <ac:chgData name="Dan Moore" userId="432a1231-f1bc-48da-b3ef-5b1092c905eb" providerId="ADAL" clId="{CBB518F1-6B10-4061-BD79-9045FC6529D7}" dt="2022-06-29T18:05:59.889" v="862" actId="478"/>
          <ac:grpSpMkLst>
            <pc:docMk/>
            <pc:sldMk cId="552015189" sldId="2147470193"/>
            <ac:grpSpMk id="5" creationId="{8ABE18EA-14F2-1F31-C05D-13E1CD8F6F90}"/>
          </ac:grpSpMkLst>
        </pc:grpChg>
        <pc:grpChg chg="del">
          <ac:chgData name="Dan Moore" userId="432a1231-f1bc-48da-b3ef-5b1092c905eb" providerId="ADAL" clId="{CBB518F1-6B10-4061-BD79-9045FC6529D7}" dt="2022-06-29T18:05:59.410" v="861" actId="478"/>
          <ac:grpSpMkLst>
            <pc:docMk/>
            <pc:sldMk cId="552015189" sldId="2147470193"/>
            <ac:grpSpMk id="51" creationId="{CCC9A7A3-C592-5A4A-3D05-53D40CC846BD}"/>
          </ac:grpSpMkLst>
        </pc:grpChg>
        <pc:picChg chg="mod">
          <ac:chgData name="Dan Moore" userId="432a1231-f1bc-48da-b3ef-5b1092c905eb" providerId="ADAL" clId="{CBB518F1-6B10-4061-BD79-9045FC6529D7}" dt="2022-06-29T18:06:12.346" v="867" actId="1076"/>
          <ac:picMkLst>
            <pc:docMk/>
            <pc:sldMk cId="552015189" sldId="2147470193"/>
            <ac:picMk id="3074" creationId="{88A3CC3E-81F3-3231-AF42-3D93FEC9843D}"/>
          </ac:picMkLst>
        </pc:picChg>
      </pc:sldChg>
      <pc:sldChg chg="modCm">
        <pc:chgData name="Dan Moore" userId="432a1231-f1bc-48da-b3ef-5b1092c905eb" providerId="ADAL" clId="{CBB518F1-6B10-4061-BD79-9045FC6529D7}" dt="2022-06-29T17:14:00.779" v="33"/>
        <pc:sldMkLst>
          <pc:docMk/>
          <pc:sldMk cId="2669396274" sldId="2147470197"/>
        </pc:sldMkLst>
      </pc:sldChg>
      <pc:sldChg chg="addSp delSp modSp mod addAnim delAnim">
        <pc:chgData name="Dan Moore" userId="432a1231-f1bc-48da-b3ef-5b1092c905eb" providerId="ADAL" clId="{CBB518F1-6B10-4061-BD79-9045FC6529D7}" dt="2022-06-29T18:04:52.732" v="822" actId="207"/>
        <pc:sldMkLst>
          <pc:docMk/>
          <pc:sldMk cId="389114252" sldId="2147470202"/>
        </pc:sldMkLst>
        <pc:spChg chg="mod">
          <ac:chgData name="Dan Moore" userId="432a1231-f1bc-48da-b3ef-5b1092c905eb" providerId="ADAL" clId="{CBB518F1-6B10-4061-BD79-9045FC6529D7}" dt="2022-06-29T17:54:00.043" v="643" actId="207"/>
          <ac:spMkLst>
            <pc:docMk/>
            <pc:sldMk cId="389114252" sldId="2147470202"/>
            <ac:spMk id="27" creationId="{B5E06022-540C-D6AB-E52E-A0321C2D4F20}"/>
          </ac:spMkLst>
        </pc:spChg>
        <pc:spChg chg="mod">
          <ac:chgData name="Dan Moore" userId="432a1231-f1bc-48da-b3ef-5b1092c905eb" providerId="ADAL" clId="{CBB518F1-6B10-4061-BD79-9045FC6529D7}" dt="2022-06-29T17:54:30.664" v="670" actId="207"/>
          <ac:spMkLst>
            <pc:docMk/>
            <pc:sldMk cId="389114252" sldId="2147470202"/>
            <ac:spMk id="29" creationId="{56F44386-68C4-48F1-6BC8-AE6771375848}"/>
          </ac:spMkLst>
        </pc:spChg>
        <pc:spChg chg="mod">
          <ac:chgData name="Dan Moore" userId="432a1231-f1bc-48da-b3ef-5b1092c905eb" providerId="ADAL" clId="{CBB518F1-6B10-4061-BD79-9045FC6529D7}" dt="2022-06-29T17:53:57.304" v="642" actId="207"/>
          <ac:spMkLst>
            <pc:docMk/>
            <pc:sldMk cId="389114252" sldId="2147470202"/>
            <ac:spMk id="34" creationId="{1FA1DE02-BD45-5BC0-90C0-841B980B8194}"/>
          </ac:spMkLst>
        </pc:spChg>
        <pc:spChg chg="mod">
          <ac:chgData name="Dan Moore" userId="432a1231-f1bc-48da-b3ef-5b1092c905eb" providerId="ADAL" clId="{CBB518F1-6B10-4061-BD79-9045FC6529D7}" dt="2022-06-29T17:54:37.072" v="671" actId="207"/>
          <ac:spMkLst>
            <pc:docMk/>
            <pc:sldMk cId="389114252" sldId="2147470202"/>
            <ac:spMk id="50" creationId="{01ABE63E-DF88-CDA4-C2ED-D6E75E294850}"/>
          </ac:spMkLst>
        </pc:spChg>
        <pc:spChg chg="mod">
          <ac:chgData name="Dan Moore" userId="432a1231-f1bc-48da-b3ef-5b1092c905eb" providerId="ADAL" clId="{CBB518F1-6B10-4061-BD79-9045FC6529D7}" dt="2022-06-29T17:51:54.843" v="622" actId="207"/>
          <ac:spMkLst>
            <pc:docMk/>
            <pc:sldMk cId="389114252" sldId="2147470202"/>
            <ac:spMk id="56" creationId="{C8422202-BD5A-1B0E-2AE7-847525771342}"/>
          </ac:spMkLst>
        </pc:spChg>
        <pc:spChg chg="mod">
          <ac:chgData name="Dan Moore" userId="432a1231-f1bc-48da-b3ef-5b1092c905eb" providerId="ADAL" clId="{CBB518F1-6B10-4061-BD79-9045FC6529D7}" dt="2022-06-29T17:52:58.201" v="631" actId="207"/>
          <ac:spMkLst>
            <pc:docMk/>
            <pc:sldMk cId="389114252" sldId="2147470202"/>
            <ac:spMk id="72" creationId="{100A3816-3132-4D16-6C71-821C22C2470C}"/>
          </ac:spMkLst>
        </pc:spChg>
        <pc:spChg chg="mod">
          <ac:chgData name="Dan Moore" userId="432a1231-f1bc-48da-b3ef-5b1092c905eb" providerId="ADAL" clId="{CBB518F1-6B10-4061-BD79-9045FC6529D7}" dt="2022-06-29T17:52:15.786" v="624" actId="207"/>
          <ac:spMkLst>
            <pc:docMk/>
            <pc:sldMk cId="389114252" sldId="2147470202"/>
            <ac:spMk id="74" creationId="{88C33406-5601-BCB1-6C8A-D191BDCD51E3}"/>
          </ac:spMkLst>
        </pc:spChg>
        <pc:spChg chg="mod">
          <ac:chgData name="Dan Moore" userId="432a1231-f1bc-48da-b3ef-5b1092c905eb" providerId="ADAL" clId="{CBB518F1-6B10-4061-BD79-9045FC6529D7}" dt="2022-06-29T17:51:28.332" v="619" actId="207"/>
          <ac:spMkLst>
            <pc:docMk/>
            <pc:sldMk cId="389114252" sldId="2147470202"/>
            <ac:spMk id="76" creationId="{A53FAD8A-27C3-3A77-385B-8D1E2CB4C610}"/>
          </ac:spMkLst>
        </pc:spChg>
        <pc:spChg chg="mod">
          <ac:chgData name="Dan Moore" userId="432a1231-f1bc-48da-b3ef-5b1092c905eb" providerId="ADAL" clId="{CBB518F1-6B10-4061-BD79-9045FC6529D7}" dt="2022-06-29T17:51:28.332" v="619" actId="207"/>
          <ac:spMkLst>
            <pc:docMk/>
            <pc:sldMk cId="389114252" sldId="2147470202"/>
            <ac:spMk id="77" creationId="{29E57468-CA8C-ED89-F06C-3BF37831C7AF}"/>
          </ac:spMkLst>
        </pc:spChg>
        <pc:spChg chg="mod">
          <ac:chgData name="Dan Moore" userId="432a1231-f1bc-48da-b3ef-5b1092c905eb" providerId="ADAL" clId="{CBB518F1-6B10-4061-BD79-9045FC6529D7}" dt="2022-06-29T17:51:28.332" v="619" actId="207"/>
          <ac:spMkLst>
            <pc:docMk/>
            <pc:sldMk cId="389114252" sldId="2147470202"/>
            <ac:spMk id="78" creationId="{251E5847-103A-E059-BA1A-C588A3E465B8}"/>
          </ac:spMkLst>
        </pc:spChg>
        <pc:spChg chg="mod">
          <ac:chgData name="Dan Moore" userId="432a1231-f1bc-48da-b3ef-5b1092c905eb" providerId="ADAL" clId="{CBB518F1-6B10-4061-BD79-9045FC6529D7}" dt="2022-06-29T17:51:28.332" v="619" actId="207"/>
          <ac:spMkLst>
            <pc:docMk/>
            <pc:sldMk cId="389114252" sldId="2147470202"/>
            <ac:spMk id="79" creationId="{3E9E3251-952A-4231-D72C-0C026D259467}"/>
          </ac:spMkLst>
        </pc:spChg>
        <pc:spChg chg="mod">
          <ac:chgData name="Dan Moore" userId="432a1231-f1bc-48da-b3ef-5b1092c905eb" providerId="ADAL" clId="{CBB518F1-6B10-4061-BD79-9045FC6529D7}" dt="2022-06-29T17:51:28.332" v="619" actId="207"/>
          <ac:spMkLst>
            <pc:docMk/>
            <pc:sldMk cId="389114252" sldId="2147470202"/>
            <ac:spMk id="80" creationId="{70ED716F-6287-CE92-8217-9B89C04A030A}"/>
          </ac:spMkLst>
        </pc:spChg>
        <pc:spChg chg="mod">
          <ac:chgData name="Dan Moore" userId="432a1231-f1bc-48da-b3ef-5b1092c905eb" providerId="ADAL" clId="{CBB518F1-6B10-4061-BD79-9045FC6529D7}" dt="2022-06-29T17:51:28.332" v="619" actId="207"/>
          <ac:spMkLst>
            <pc:docMk/>
            <pc:sldMk cId="389114252" sldId="2147470202"/>
            <ac:spMk id="81" creationId="{86F82045-4CF7-ABE0-4D12-DE6C2842C399}"/>
          </ac:spMkLst>
        </pc:spChg>
        <pc:spChg chg="mod">
          <ac:chgData name="Dan Moore" userId="432a1231-f1bc-48da-b3ef-5b1092c905eb" providerId="ADAL" clId="{CBB518F1-6B10-4061-BD79-9045FC6529D7}" dt="2022-06-29T17:51:28.332" v="619" actId="207"/>
          <ac:spMkLst>
            <pc:docMk/>
            <pc:sldMk cId="389114252" sldId="2147470202"/>
            <ac:spMk id="82" creationId="{764739A0-1D0D-81CB-9E07-0A1901F96AA0}"/>
          </ac:spMkLst>
        </pc:spChg>
        <pc:spChg chg="mod">
          <ac:chgData name="Dan Moore" userId="432a1231-f1bc-48da-b3ef-5b1092c905eb" providerId="ADAL" clId="{CBB518F1-6B10-4061-BD79-9045FC6529D7}" dt="2022-06-29T17:51:28.332" v="619" actId="207"/>
          <ac:spMkLst>
            <pc:docMk/>
            <pc:sldMk cId="389114252" sldId="2147470202"/>
            <ac:spMk id="83" creationId="{BDB0DB07-6D0F-E1D7-104E-13615A004869}"/>
          </ac:spMkLst>
        </pc:spChg>
        <pc:spChg chg="mod">
          <ac:chgData name="Dan Moore" userId="432a1231-f1bc-48da-b3ef-5b1092c905eb" providerId="ADAL" clId="{CBB518F1-6B10-4061-BD79-9045FC6529D7}" dt="2022-06-29T17:51:28.332" v="619" actId="207"/>
          <ac:spMkLst>
            <pc:docMk/>
            <pc:sldMk cId="389114252" sldId="2147470202"/>
            <ac:spMk id="84" creationId="{2194CF19-57DD-2A42-6600-EB678C9AFECA}"/>
          </ac:spMkLst>
        </pc:spChg>
        <pc:spChg chg="mod">
          <ac:chgData name="Dan Moore" userId="432a1231-f1bc-48da-b3ef-5b1092c905eb" providerId="ADAL" clId="{CBB518F1-6B10-4061-BD79-9045FC6529D7}" dt="2022-06-29T17:51:28.332" v="619" actId="207"/>
          <ac:spMkLst>
            <pc:docMk/>
            <pc:sldMk cId="389114252" sldId="2147470202"/>
            <ac:spMk id="85" creationId="{01C81C4F-7F8A-72C3-5F80-C43B99DF1782}"/>
          </ac:spMkLst>
        </pc:spChg>
        <pc:spChg chg="mod">
          <ac:chgData name="Dan Moore" userId="432a1231-f1bc-48da-b3ef-5b1092c905eb" providerId="ADAL" clId="{CBB518F1-6B10-4061-BD79-9045FC6529D7}" dt="2022-06-29T17:51:28.332" v="619" actId="207"/>
          <ac:spMkLst>
            <pc:docMk/>
            <pc:sldMk cId="389114252" sldId="2147470202"/>
            <ac:spMk id="86" creationId="{6BD89317-894B-40C5-9EBA-6BCF110C4C0E}"/>
          </ac:spMkLst>
        </pc:spChg>
        <pc:spChg chg="mod">
          <ac:chgData name="Dan Moore" userId="432a1231-f1bc-48da-b3ef-5b1092c905eb" providerId="ADAL" clId="{CBB518F1-6B10-4061-BD79-9045FC6529D7}" dt="2022-06-29T17:51:28.332" v="619" actId="207"/>
          <ac:spMkLst>
            <pc:docMk/>
            <pc:sldMk cId="389114252" sldId="2147470202"/>
            <ac:spMk id="87" creationId="{1CFCACEA-E386-D565-2A50-5FF555D7CA0B}"/>
          </ac:spMkLst>
        </pc:spChg>
        <pc:spChg chg="mod">
          <ac:chgData name="Dan Moore" userId="432a1231-f1bc-48da-b3ef-5b1092c905eb" providerId="ADAL" clId="{CBB518F1-6B10-4061-BD79-9045FC6529D7}" dt="2022-06-29T17:51:28.332" v="619" actId="207"/>
          <ac:spMkLst>
            <pc:docMk/>
            <pc:sldMk cId="389114252" sldId="2147470202"/>
            <ac:spMk id="88" creationId="{943E0F5A-5731-EA12-13BE-DD3590DFDB45}"/>
          </ac:spMkLst>
        </pc:spChg>
        <pc:spChg chg="mod">
          <ac:chgData name="Dan Moore" userId="432a1231-f1bc-48da-b3ef-5b1092c905eb" providerId="ADAL" clId="{CBB518F1-6B10-4061-BD79-9045FC6529D7}" dt="2022-06-29T17:51:28.332" v="619" actId="207"/>
          <ac:spMkLst>
            <pc:docMk/>
            <pc:sldMk cId="389114252" sldId="2147470202"/>
            <ac:spMk id="89" creationId="{7B02DD69-3E6A-12B8-A97B-AB2E4063E9F6}"/>
          </ac:spMkLst>
        </pc:spChg>
        <pc:spChg chg="mod">
          <ac:chgData name="Dan Moore" userId="432a1231-f1bc-48da-b3ef-5b1092c905eb" providerId="ADAL" clId="{CBB518F1-6B10-4061-BD79-9045FC6529D7}" dt="2022-06-29T17:53:07.190" v="632" actId="207"/>
          <ac:spMkLst>
            <pc:docMk/>
            <pc:sldMk cId="389114252" sldId="2147470202"/>
            <ac:spMk id="90" creationId="{D4AD6996-366A-0DA5-B146-CB14FEF7B363}"/>
          </ac:spMkLst>
        </pc:spChg>
        <pc:spChg chg="mod">
          <ac:chgData name="Dan Moore" userId="432a1231-f1bc-48da-b3ef-5b1092c905eb" providerId="ADAL" clId="{CBB518F1-6B10-4061-BD79-9045FC6529D7}" dt="2022-06-29T17:52:19.510" v="625" actId="207"/>
          <ac:spMkLst>
            <pc:docMk/>
            <pc:sldMk cId="389114252" sldId="2147470202"/>
            <ac:spMk id="92" creationId="{B6777AA4-548A-6C0A-416F-E3D910D84D38}"/>
          </ac:spMkLst>
        </pc:spChg>
        <pc:spChg chg="mod">
          <ac:chgData name="Dan Moore" userId="432a1231-f1bc-48da-b3ef-5b1092c905eb" providerId="ADAL" clId="{CBB518F1-6B10-4061-BD79-9045FC6529D7}" dt="2022-06-29T17:51:28.332" v="619" actId="207"/>
          <ac:spMkLst>
            <pc:docMk/>
            <pc:sldMk cId="389114252" sldId="2147470202"/>
            <ac:spMk id="94" creationId="{ED31C1A8-3245-EF5E-ADDA-9E84BF8E9B45}"/>
          </ac:spMkLst>
        </pc:spChg>
        <pc:spChg chg="mod">
          <ac:chgData name="Dan Moore" userId="432a1231-f1bc-48da-b3ef-5b1092c905eb" providerId="ADAL" clId="{CBB518F1-6B10-4061-BD79-9045FC6529D7}" dt="2022-06-29T17:51:28.332" v="619" actId="207"/>
          <ac:spMkLst>
            <pc:docMk/>
            <pc:sldMk cId="389114252" sldId="2147470202"/>
            <ac:spMk id="95" creationId="{1C255951-AA38-EA3F-A80A-E9F7F5A4DC04}"/>
          </ac:spMkLst>
        </pc:spChg>
        <pc:spChg chg="mod">
          <ac:chgData name="Dan Moore" userId="432a1231-f1bc-48da-b3ef-5b1092c905eb" providerId="ADAL" clId="{CBB518F1-6B10-4061-BD79-9045FC6529D7}" dt="2022-06-29T17:51:28.332" v="619" actId="207"/>
          <ac:spMkLst>
            <pc:docMk/>
            <pc:sldMk cId="389114252" sldId="2147470202"/>
            <ac:spMk id="96" creationId="{2173993F-F0C6-F486-A14E-660B367184DC}"/>
          </ac:spMkLst>
        </pc:spChg>
        <pc:spChg chg="mod">
          <ac:chgData name="Dan Moore" userId="432a1231-f1bc-48da-b3ef-5b1092c905eb" providerId="ADAL" clId="{CBB518F1-6B10-4061-BD79-9045FC6529D7}" dt="2022-06-29T17:51:28.332" v="619" actId="207"/>
          <ac:spMkLst>
            <pc:docMk/>
            <pc:sldMk cId="389114252" sldId="2147470202"/>
            <ac:spMk id="97" creationId="{E77A49B3-1D52-2D5D-DFBA-D10C78421B07}"/>
          </ac:spMkLst>
        </pc:spChg>
        <pc:spChg chg="mod">
          <ac:chgData name="Dan Moore" userId="432a1231-f1bc-48da-b3ef-5b1092c905eb" providerId="ADAL" clId="{CBB518F1-6B10-4061-BD79-9045FC6529D7}" dt="2022-06-29T17:51:28.332" v="619" actId="207"/>
          <ac:spMkLst>
            <pc:docMk/>
            <pc:sldMk cId="389114252" sldId="2147470202"/>
            <ac:spMk id="98" creationId="{BC28C6D3-AAE9-0E88-8FDF-55C099A7C13F}"/>
          </ac:spMkLst>
        </pc:spChg>
        <pc:spChg chg="mod">
          <ac:chgData name="Dan Moore" userId="432a1231-f1bc-48da-b3ef-5b1092c905eb" providerId="ADAL" clId="{CBB518F1-6B10-4061-BD79-9045FC6529D7}" dt="2022-06-29T17:51:28.332" v="619" actId="207"/>
          <ac:spMkLst>
            <pc:docMk/>
            <pc:sldMk cId="389114252" sldId="2147470202"/>
            <ac:spMk id="99" creationId="{7B754E69-B95D-0A36-D476-4B62E08025C0}"/>
          </ac:spMkLst>
        </pc:spChg>
        <pc:spChg chg="mod">
          <ac:chgData name="Dan Moore" userId="432a1231-f1bc-48da-b3ef-5b1092c905eb" providerId="ADAL" clId="{CBB518F1-6B10-4061-BD79-9045FC6529D7}" dt="2022-06-29T17:51:28.332" v="619" actId="207"/>
          <ac:spMkLst>
            <pc:docMk/>
            <pc:sldMk cId="389114252" sldId="2147470202"/>
            <ac:spMk id="100" creationId="{F1AF67B4-2CA1-0930-2357-5AD11E088827}"/>
          </ac:spMkLst>
        </pc:spChg>
        <pc:spChg chg="mod">
          <ac:chgData name="Dan Moore" userId="432a1231-f1bc-48da-b3ef-5b1092c905eb" providerId="ADAL" clId="{CBB518F1-6B10-4061-BD79-9045FC6529D7}" dt="2022-06-29T17:51:28.332" v="619" actId="207"/>
          <ac:spMkLst>
            <pc:docMk/>
            <pc:sldMk cId="389114252" sldId="2147470202"/>
            <ac:spMk id="101" creationId="{57342DAD-95C9-F1F7-B976-8B1389040A82}"/>
          </ac:spMkLst>
        </pc:spChg>
        <pc:spChg chg="mod">
          <ac:chgData name="Dan Moore" userId="432a1231-f1bc-48da-b3ef-5b1092c905eb" providerId="ADAL" clId="{CBB518F1-6B10-4061-BD79-9045FC6529D7}" dt="2022-06-29T17:51:28.332" v="619" actId="207"/>
          <ac:spMkLst>
            <pc:docMk/>
            <pc:sldMk cId="389114252" sldId="2147470202"/>
            <ac:spMk id="102" creationId="{ABDA81F6-6E09-CEF0-4263-7C8F552A8FF3}"/>
          </ac:spMkLst>
        </pc:spChg>
        <pc:spChg chg="mod">
          <ac:chgData name="Dan Moore" userId="432a1231-f1bc-48da-b3ef-5b1092c905eb" providerId="ADAL" clId="{CBB518F1-6B10-4061-BD79-9045FC6529D7}" dt="2022-06-29T17:51:28.332" v="619" actId="207"/>
          <ac:spMkLst>
            <pc:docMk/>
            <pc:sldMk cId="389114252" sldId="2147470202"/>
            <ac:spMk id="103" creationId="{AB2E018D-3BFD-1EA4-7F65-61EB46EFC049}"/>
          </ac:spMkLst>
        </pc:spChg>
        <pc:spChg chg="mod">
          <ac:chgData name="Dan Moore" userId="432a1231-f1bc-48da-b3ef-5b1092c905eb" providerId="ADAL" clId="{CBB518F1-6B10-4061-BD79-9045FC6529D7}" dt="2022-06-29T17:51:28.332" v="619" actId="207"/>
          <ac:spMkLst>
            <pc:docMk/>
            <pc:sldMk cId="389114252" sldId="2147470202"/>
            <ac:spMk id="104" creationId="{2D9B2D5F-659E-BB13-12D8-B6FAFC0A2D7B}"/>
          </ac:spMkLst>
        </pc:spChg>
        <pc:spChg chg="mod">
          <ac:chgData name="Dan Moore" userId="432a1231-f1bc-48da-b3ef-5b1092c905eb" providerId="ADAL" clId="{CBB518F1-6B10-4061-BD79-9045FC6529D7}" dt="2022-06-29T17:51:28.332" v="619" actId="207"/>
          <ac:spMkLst>
            <pc:docMk/>
            <pc:sldMk cId="389114252" sldId="2147470202"/>
            <ac:spMk id="105" creationId="{2E2EE796-89A8-44B0-DA99-50FAE2AA4AEF}"/>
          </ac:spMkLst>
        </pc:spChg>
        <pc:spChg chg="mod">
          <ac:chgData name="Dan Moore" userId="432a1231-f1bc-48da-b3ef-5b1092c905eb" providerId="ADAL" clId="{CBB518F1-6B10-4061-BD79-9045FC6529D7}" dt="2022-06-29T17:51:28.332" v="619" actId="207"/>
          <ac:spMkLst>
            <pc:docMk/>
            <pc:sldMk cId="389114252" sldId="2147470202"/>
            <ac:spMk id="106" creationId="{281845EF-C74B-FAA3-5100-D12132A961FF}"/>
          </ac:spMkLst>
        </pc:spChg>
        <pc:spChg chg="mod">
          <ac:chgData name="Dan Moore" userId="432a1231-f1bc-48da-b3ef-5b1092c905eb" providerId="ADAL" clId="{CBB518F1-6B10-4061-BD79-9045FC6529D7}" dt="2022-06-29T17:51:28.332" v="619" actId="207"/>
          <ac:spMkLst>
            <pc:docMk/>
            <pc:sldMk cId="389114252" sldId="2147470202"/>
            <ac:spMk id="107" creationId="{1569DCE4-8287-AB09-199B-6B24576E94A1}"/>
          </ac:spMkLst>
        </pc:spChg>
        <pc:spChg chg="mod">
          <ac:chgData name="Dan Moore" userId="432a1231-f1bc-48da-b3ef-5b1092c905eb" providerId="ADAL" clId="{CBB518F1-6B10-4061-BD79-9045FC6529D7}" dt="2022-06-29T17:53:11.895" v="633" actId="207"/>
          <ac:spMkLst>
            <pc:docMk/>
            <pc:sldMk cId="389114252" sldId="2147470202"/>
            <ac:spMk id="108" creationId="{25412459-A541-DD3E-A800-F6BE2C5FDA1C}"/>
          </ac:spMkLst>
        </pc:spChg>
        <pc:spChg chg="mod">
          <ac:chgData name="Dan Moore" userId="432a1231-f1bc-48da-b3ef-5b1092c905eb" providerId="ADAL" clId="{CBB518F1-6B10-4061-BD79-9045FC6529D7}" dt="2022-06-29T17:52:23.540" v="626" actId="207"/>
          <ac:spMkLst>
            <pc:docMk/>
            <pc:sldMk cId="389114252" sldId="2147470202"/>
            <ac:spMk id="110" creationId="{9CA7B0E4-62B0-9852-A6F6-9393CFF2617B}"/>
          </ac:spMkLst>
        </pc:spChg>
        <pc:spChg chg="mod">
          <ac:chgData name="Dan Moore" userId="432a1231-f1bc-48da-b3ef-5b1092c905eb" providerId="ADAL" clId="{CBB518F1-6B10-4061-BD79-9045FC6529D7}" dt="2022-06-29T17:51:28.332" v="619" actId="207"/>
          <ac:spMkLst>
            <pc:docMk/>
            <pc:sldMk cId="389114252" sldId="2147470202"/>
            <ac:spMk id="112" creationId="{0E196293-E40A-3F95-1328-343E9984905E}"/>
          </ac:spMkLst>
        </pc:spChg>
        <pc:spChg chg="mod">
          <ac:chgData name="Dan Moore" userId="432a1231-f1bc-48da-b3ef-5b1092c905eb" providerId="ADAL" clId="{CBB518F1-6B10-4061-BD79-9045FC6529D7}" dt="2022-06-29T17:51:28.332" v="619" actId="207"/>
          <ac:spMkLst>
            <pc:docMk/>
            <pc:sldMk cId="389114252" sldId="2147470202"/>
            <ac:spMk id="113" creationId="{72B5D61A-F21C-8454-78A6-57727869CCA6}"/>
          </ac:spMkLst>
        </pc:spChg>
        <pc:spChg chg="mod">
          <ac:chgData name="Dan Moore" userId="432a1231-f1bc-48da-b3ef-5b1092c905eb" providerId="ADAL" clId="{CBB518F1-6B10-4061-BD79-9045FC6529D7}" dt="2022-06-29T17:51:28.332" v="619" actId="207"/>
          <ac:spMkLst>
            <pc:docMk/>
            <pc:sldMk cId="389114252" sldId="2147470202"/>
            <ac:spMk id="114" creationId="{6BB0D7D8-1DD1-C1BC-5F28-F40D5E8A6793}"/>
          </ac:spMkLst>
        </pc:spChg>
        <pc:spChg chg="mod">
          <ac:chgData name="Dan Moore" userId="432a1231-f1bc-48da-b3ef-5b1092c905eb" providerId="ADAL" clId="{CBB518F1-6B10-4061-BD79-9045FC6529D7}" dt="2022-06-29T17:51:28.332" v="619" actId="207"/>
          <ac:spMkLst>
            <pc:docMk/>
            <pc:sldMk cId="389114252" sldId="2147470202"/>
            <ac:spMk id="115" creationId="{2B5D2ADA-B1DD-A40D-421D-72A3E58C00C6}"/>
          </ac:spMkLst>
        </pc:spChg>
        <pc:spChg chg="mod">
          <ac:chgData name="Dan Moore" userId="432a1231-f1bc-48da-b3ef-5b1092c905eb" providerId="ADAL" clId="{CBB518F1-6B10-4061-BD79-9045FC6529D7}" dt="2022-06-29T17:51:28.332" v="619" actId="207"/>
          <ac:spMkLst>
            <pc:docMk/>
            <pc:sldMk cId="389114252" sldId="2147470202"/>
            <ac:spMk id="116" creationId="{B9B9B7ED-8447-9072-4D0B-C68FC13FB72C}"/>
          </ac:spMkLst>
        </pc:spChg>
        <pc:spChg chg="mod">
          <ac:chgData name="Dan Moore" userId="432a1231-f1bc-48da-b3ef-5b1092c905eb" providerId="ADAL" clId="{CBB518F1-6B10-4061-BD79-9045FC6529D7}" dt="2022-06-29T17:51:28.332" v="619" actId="207"/>
          <ac:spMkLst>
            <pc:docMk/>
            <pc:sldMk cId="389114252" sldId="2147470202"/>
            <ac:spMk id="117" creationId="{E997A473-6FED-1719-9D8F-5E6BCCCB50A2}"/>
          </ac:spMkLst>
        </pc:spChg>
        <pc:spChg chg="mod">
          <ac:chgData name="Dan Moore" userId="432a1231-f1bc-48da-b3ef-5b1092c905eb" providerId="ADAL" clId="{CBB518F1-6B10-4061-BD79-9045FC6529D7}" dt="2022-06-29T17:51:28.332" v="619" actId="207"/>
          <ac:spMkLst>
            <pc:docMk/>
            <pc:sldMk cId="389114252" sldId="2147470202"/>
            <ac:spMk id="118" creationId="{EA68B7EA-7661-91EC-2D50-12889175A807}"/>
          </ac:spMkLst>
        </pc:spChg>
        <pc:spChg chg="mod">
          <ac:chgData name="Dan Moore" userId="432a1231-f1bc-48da-b3ef-5b1092c905eb" providerId="ADAL" clId="{CBB518F1-6B10-4061-BD79-9045FC6529D7}" dt="2022-06-29T17:51:28.332" v="619" actId="207"/>
          <ac:spMkLst>
            <pc:docMk/>
            <pc:sldMk cId="389114252" sldId="2147470202"/>
            <ac:spMk id="119" creationId="{0C312A9E-F35A-548B-92C1-9367149633F6}"/>
          </ac:spMkLst>
        </pc:spChg>
        <pc:spChg chg="mod">
          <ac:chgData name="Dan Moore" userId="432a1231-f1bc-48da-b3ef-5b1092c905eb" providerId="ADAL" clId="{CBB518F1-6B10-4061-BD79-9045FC6529D7}" dt="2022-06-29T17:51:28.332" v="619" actId="207"/>
          <ac:spMkLst>
            <pc:docMk/>
            <pc:sldMk cId="389114252" sldId="2147470202"/>
            <ac:spMk id="120" creationId="{0322EEF5-A2EF-DF88-2B5A-B3D5916CA739}"/>
          </ac:spMkLst>
        </pc:spChg>
        <pc:spChg chg="mod">
          <ac:chgData name="Dan Moore" userId="432a1231-f1bc-48da-b3ef-5b1092c905eb" providerId="ADAL" clId="{CBB518F1-6B10-4061-BD79-9045FC6529D7}" dt="2022-06-29T17:51:28.332" v="619" actId="207"/>
          <ac:spMkLst>
            <pc:docMk/>
            <pc:sldMk cId="389114252" sldId="2147470202"/>
            <ac:spMk id="121" creationId="{3B0F736B-4A92-DB7F-FC1F-4110B81B208A}"/>
          </ac:spMkLst>
        </pc:spChg>
        <pc:spChg chg="mod">
          <ac:chgData name="Dan Moore" userId="432a1231-f1bc-48da-b3ef-5b1092c905eb" providerId="ADAL" clId="{CBB518F1-6B10-4061-BD79-9045FC6529D7}" dt="2022-06-29T17:51:28.332" v="619" actId="207"/>
          <ac:spMkLst>
            <pc:docMk/>
            <pc:sldMk cId="389114252" sldId="2147470202"/>
            <ac:spMk id="122" creationId="{B9705205-2E9D-C2D9-3D44-5F42DCC0C149}"/>
          </ac:spMkLst>
        </pc:spChg>
        <pc:spChg chg="mod">
          <ac:chgData name="Dan Moore" userId="432a1231-f1bc-48da-b3ef-5b1092c905eb" providerId="ADAL" clId="{CBB518F1-6B10-4061-BD79-9045FC6529D7}" dt="2022-06-29T17:51:28.332" v="619" actId="207"/>
          <ac:spMkLst>
            <pc:docMk/>
            <pc:sldMk cId="389114252" sldId="2147470202"/>
            <ac:spMk id="123" creationId="{6DF3A2FE-E8A6-23F6-29CD-0C30421DA64D}"/>
          </ac:spMkLst>
        </pc:spChg>
        <pc:spChg chg="mod">
          <ac:chgData name="Dan Moore" userId="432a1231-f1bc-48da-b3ef-5b1092c905eb" providerId="ADAL" clId="{CBB518F1-6B10-4061-BD79-9045FC6529D7}" dt="2022-06-29T17:51:28.332" v="619" actId="207"/>
          <ac:spMkLst>
            <pc:docMk/>
            <pc:sldMk cId="389114252" sldId="2147470202"/>
            <ac:spMk id="124" creationId="{91A4D7CD-E509-EB9E-FCB3-F394E831BAED}"/>
          </ac:spMkLst>
        </pc:spChg>
        <pc:spChg chg="mod">
          <ac:chgData name="Dan Moore" userId="432a1231-f1bc-48da-b3ef-5b1092c905eb" providerId="ADAL" clId="{CBB518F1-6B10-4061-BD79-9045FC6529D7}" dt="2022-06-29T17:51:28.332" v="619" actId="207"/>
          <ac:spMkLst>
            <pc:docMk/>
            <pc:sldMk cId="389114252" sldId="2147470202"/>
            <ac:spMk id="125" creationId="{1B664B83-40E6-D7F4-08FA-A24057271F5C}"/>
          </ac:spMkLst>
        </pc:spChg>
        <pc:spChg chg="mod">
          <ac:chgData name="Dan Moore" userId="432a1231-f1bc-48da-b3ef-5b1092c905eb" providerId="ADAL" clId="{CBB518F1-6B10-4061-BD79-9045FC6529D7}" dt="2022-06-29T17:53:16.167" v="634" actId="207"/>
          <ac:spMkLst>
            <pc:docMk/>
            <pc:sldMk cId="389114252" sldId="2147470202"/>
            <ac:spMk id="126" creationId="{DE52E3D3-1876-7FB6-A728-5D85B1CB71AA}"/>
          </ac:spMkLst>
        </pc:spChg>
        <pc:spChg chg="mod">
          <ac:chgData name="Dan Moore" userId="432a1231-f1bc-48da-b3ef-5b1092c905eb" providerId="ADAL" clId="{CBB518F1-6B10-4061-BD79-9045FC6529D7}" dt="2022-06-29T17:52:27.651" v="627" actId="207"/>
          <ac:spMkLst>
            <pc:docMk/>
            <pc:sldMk cId="389114252" sldId="2147470202"/>
            <ac:spMk id="128" creationId="{41AB9492-57C9-421F-7034-64B00254DF0C}"/>
          </ac:spMkLst>
        </pc:spChg>
        <pc:spChg chg="mod">
          <ac:chgData name="Dan Moore" userId="432a1231-f1bc-48da-b3ef-5b1092c905eb" providerId="ADAL" clId="{CBB518F1-6B10-4061-BD79-9045FC6529D7}" dt="2022-06-29T17:51:28.332" v="619" actId="207"/>
          <ac:spMkLst>
            <pc:docMk/>
            <pc:sldMk cId="389114252" sldId="2147470202"/>
            <ac:spMk id="130" creationId="{6002009A-9500-2294-B09D-20759D832311}"/>
          </ac:spMkLst>
        </pc:spChg>
        <pc:spChg chg="mod">
          <ac:chgData name="Dan Moore" userId="432a1231-f1bc-48da-b3ef-5b1092c905eb" providerId="ADAL" clId="{CBB518F1-6B10-4061-BD79-9045FC6529D7}" dt="2022-06-29T17:51:28.332" v="619" actId="207"/>
          <ac:spMkLst>
            <pc:docMk/>
            <pc:sldMk cId="389114252" sldId="2147470202"/>
            <ac:spMk id="131" creationId="{90B6ACFE-7394-E0C2-01E5-3ECBF265FE25}"/>
          </ac:spMkLst>
        </pc:spChg>
        <pc:spChg chg="mod">
          <ac:chgData name="Dan Moore" userId="432a1231-f1bc-48da-b3ef-5b1092c905eb" providerId="ADAL" clId="{CBB518F1-6B10-4061-BD79-9045FC6529D7}" dt="2022-06-29T17:51:28.332" v="619" actId="207"/>
          <ac:spMkLst>
            <pc:docMk/>
            <pc:sldMk cId="389114252" sldId="2147470202"/>
            <ac:spMk id="132" creationId="{C5DEF7C9-8DA6-93E4-8AF4-13A813AC7FB1}"/>
          </ac:spMkLst>
        </pc:spChg>
        <pc:spChg chg="mod">
          <ac:chgData name="Dan Moore" userId="432a1231-f1bc-48da-b3ef-5b1092c905eb" providerId="ADAL" clId="{CBB518F1-6B10-4061-BD79-9045FC6529D7}" dt="2022-06-29T17:51:28.332" v="619" actId="207"/>
          <ac:spMkLst>
            <pc:docMk/>
            <pc:sldMk cId="389114252" sldId="2147470202"/>
            <ac:spMk id="133" creationId="{01439D00-9F2C-0C97-833D-C3AB5CD20FBE}"/>
          </ac:spMkLst>
        </pc:spChg>
        <pc:spChg chg="mod">
          <ac:chgData name="Dan Moore" userId="432a1231-f1bc-48da-b3ef-5b1092c905eb" providerId="ADAL" clId="{CBB518F1-6B10-4061-BD79-9045FC6529D7}" dt="2022-06-29T17:51:28.332" v="619" actId="207"/>
          <ac:spMkLst>
            <pc:docMk/>
            <pc:sldMk cId="389114252" sldId="2147470202"/>
            <ac:spMk id="134" creationId="{FC14A36E-DD13-2B41-C7E0-951A300F1306}"/>
          </ac:spMkLst>
        </pc:spChg>
        <pc:spChg chg="mod">
          <ac:chgData name="Dan Moore" userId="432a1231-f1bc-48da-b3ef-5b1092c905eb" providerId="ADAL" clId="{CBB518F1-6B10-4061-BD79-9045FC6529D7}" dt="2022-06-29T17:51:28.332" v="619" actId="207"/>
          <ac:spMkLst>
            <pc:docMk/>
            <pc:sldMk cId="389114252" sldId="2147470202"/>
            <ac:spMk id="135" creationId="{D34815CC-0AF3-DC4A-E045-D17E0EA053AE}"/>
          </ac:spMkLst>
        </pc:spChg>
        <pc:spChg chg="mod">
          <ac:chgData name="Dan Moore" userId="432a1231-f1bc-48da-b3ef-5b1092c905eb" providerId="ADAL" clId="{CBB518F1-6B10-4061-BD79-9045FC6529D7}" dt="2022-06-29T17:51:28.332" v="619" actId="207"/>
          <ac:spMkLst>
            <pc:docMk/>
            <pc:sldMk cId="389114252" sldId="2147470202"/>
            <ac:spMk id="136" creationId="{6EE491D5-D925-56F1-4AB4-D94B3B494670}"/>
          </ac:spMkLst>
        </pc:spChg>
        <pc:spChg chg="mod">
          <ac:chgData name="Dan Moore" userId="432a1231-f1bc-48da-b3ef-5b1092c905eb" providerId="ADAL" clId="{CBB518F1-6B10-4061-BD79-9045FC6529D7}" dt="2022-06-29T17:51:28.332" v="619" actId="207"/>
          <ac:spMkLst>
            <pc:docMk/>
            <pc:sldMk cId="389114252" sldId="2147470202"/>
            <ac:spMk id="137" creationId="{5C2773BB-35AF-423A-841E-D32081772BB6}"/>
          </ac:spMkLst>
        </pc:spChg>
        <pc:spChg chg="mod">
          <ac:chgData name="Dan Moore" userId="432a1231-f1bc-48da-b3ef-5b1092c905eb" providerId="ADAL" clId="{CBB518F1-6B10-4061-BD79-9045FC6529D7}" dt="2022-06-29T17:51:28.332" v="619" actId="207"/>
          <ac:spMkLst>
            <pc:docMk/>
            <pc:sldMk cId="389114252" sldId="2147470202"/>
            <ac:spMk id="138" creationId="{30EBEF5F-BDBA-B79B-F811-D40976D6AAD3}"/>
          </ac:spMkLst>
        </pc:spChg>
        <pc:spChg chg="mod">
          <ac:chgData name="Dan Moore" userId="432a1231-f1bc-48da-b3ef-5b1092c905eb" providerId="ADAL" clId="{CBB518F1-6B10-4061-BD79-9045FC6529D7}" dt="2022-06-29T17:51:28.332" v="619" actId="207"/>
          <ac:spMkLst>
            <pc:docMk/>
            <pc:sldMk cId="389114252" sldId="2147470202"/>
            <ac:spMk id="139" creationId="{12EF1A0A-75A1-6F3F-9B37-14082230EA93}"/>
          </ac:spMkLst>
        </pc:spChg>
        <pc:spChg chg="mod">
          <ac:chgData name="Dan Moore" userId="432a1231-f1bc-48da-b3ef-5b1092c905eb" providerId="ADAL" clId="{CBB518F1-6B10-4061-BD79-9045FC6529D7}" dt="2022-06-29T17:51:28.332" v="619" actId="207"/>
          <ac:spMkLst>
            <pc:docMk/>
            <pc:sldMk cId="389114252" sldId="2147470202"/>
            <ac:spMk id="140" creationId="{97FF003D-C37A-21E8-4E48-662CE22B96D1}"/>
          </ac:spMkLst>
        </pc:spChg>
        <pc:spChg chg="mod">
          <ac:chgData name="Dan Moore" userId="432a1231-f1bc-48da-b3ef-5b1092c905eb" providerId="ADAL" clId="{CBB518F1-6B10-4061-BD79-9045FC6529D7}" dt="2022-06-29T17:51:28.332" v="619" actId="207"/>
          <ac:spMkLst>
            <pc:docMk/>
            <pc:sldMk cId="389114252" sldId="2147470202"/>
            <ac:spMk id="141" creationId="{E0E9FDCB-F9A3-490C-E4E7-B459A97BFCEE}"/>
          </ac:spMkLst>
        </pc:spChg>
        <pc:spChg chg="mod">
          <ac:chgData name="Dan Moore" userId="432a1231-f1bc-48da-b3ef-5b1092c905eb" providerId="ADAL" clId="{CBB518F1-6B10-4061-BD79-9045FC6529D7}" dt="2022-06-29T17:51:28.332" v="619" actId="207"/>
          <ac:spMkLst>
            <pc:docMk/>
            <pc:sldMk cId="389114252" sldId="2147470202"/>
            <ac:spMk id="142" creationId="{B0628DA4-3734-B586-0722-AD19E958B0A5}"/>
          </ac:spMkLst>
        </pc:spChg>
        <pc:spChg chg="mod">
          <ac:chgData name="Dan Moore" userId="432a1231-f1bc-48da-b3ef-5b1092c905eb" providerId="ADAL" clId="{CBB518F1-6B10-4061-BD79-9045FC6529D7}" dt="2022-06-29T17:51:28.332" v="619" actId="207"/>
          <ac:spMkLst>
            <pc:docMk/>
            <pc:sldMk cId="389114252" sldId="2147470202"/>
            <ac:spMk id="143" creationId="{49F8D394-62FB-3D85-934A-DC12C6023011}"/>
          </ac:spMkLst>
        </pc:spChg>
        <pc:spChg chg="mod">
          <ac:chgData name="Dan Moore" userId="432a1231-f1bc-48da-b3ef-5b1092c905eb" providerId="ADAL" clId="{CBB518F1-6B10-4061-BD79-9045FC6529D7}" dt="2022-06-29T17:53:22.163" v="635" actId="207"/>
          <ac:spMkLst>
            <pc:docMk/>
            <pc:sldMk cId="389114252" sldId="2147470202"/>
            <ac:spMk id="144" creationId="{4C17A53C-98D5-18BE-52E7-4BBCBEC13408}"/>
          </ac:spMkLst>
        </pc:spChg>
        <pc:spChg chg="mod">
          <ac:chgData name="Dan Moore" userId="432a1231-f1bc-48da-b3ef-5b1092c905eb" providerId="ADAL" clId="{CBB518F1-6B10-4061-BD79-9045FC6529D7}" dt="2022-06-29T17:52:31.286" v="628" actId="207"/>
          <ac:spMkLst>
            <pc:docMk/>
            <pc:sldMk cId="389114252" sldId="2147470202"/>
            <ac:spMk id="146" creationId="{C21826EB-67B7-BF9E-0A56-2048A735F26B}"/>
          </ac:spMkLst>
        </pc:spChg>
        <pc:spChg chg="mod">
          <ac:chgData name="Dan Moore" userId="432a1231-f1bc-48da-b3ef-5b1092c905eb" providerId="ADAL" clId="{CBB518F1-6B10-4061-BD79-9045FC6529D7}" dt="2022-06-29T17:51:28.332" v="619" actId="207"/>
          <ac:spMkLst>
            <pc:docMk/>
            <pc:sldMk cId="389114252" sldId="2147470202"/>
            <ac:spMk id="148" creationId="{99E276BD-3EE7-7804-9CBF-D8AEC10DFF3B}"/>
          </ac:spMkLst>
        </pc:spChg>
        <pc:spChg chg="mod">
          <ac:chgData name="Dan Moore" userId="432a1231-f1bc-48da-b3ef-5b1092c905eb" providerId="ADAL" clId="{CBB518F1-6B10-4061-BD79-9045FC6529D7}" dt="2022-06-29T17:51:28.332" v="619" actId="207"/>
          <ac:spMkLst>
            <pc:docMk/>
            <pc:sldMk cId="389114252" sldId="2147470202"/>
            <ac:spMk id="149" creationId="{E1708C69-2142-EE64-3D7F-0D13090BC0B2}"/>
          </ac:spMkLst>
        </pc:spChg>
        <pc:spChg chg="mod">
          <ac:chgData name="Dan Moore" userId="432a1231-f1bc-48da-b3ef-5b1092c905eb" providerId="ADAL" clId="{CBB518F1-6B10-4061-BD79-9045FC6529D7}" dt="2022-06-29T17:51:28.332" v="619" actId="207"/>
          <ac:spMkLst>
            <pc:docMk/>
            <pc:sldMk cId="389114252" sldId="2147470202"/>
            <ac:spMk id="150" creationId="{CA9B6659-420A-B3D9-6E63-BC82CE9D5A05}"/>
          </ac:spMkLst>
        </pc:spChg>
        <pc:spChg chg="mod">
          <ac:chgData name="Dan Moore" userId="432a1231-f1bc-48da-b3ef-5b1092c905eb" providerId="ADAL" clId="{CBB518F1-6B10-4061-BD79-9045FC6529D7}" dt="2022-06-29T17:51:28.332" v="619" actId="207"/>
          <ac:spMkLst>
            <pc:docMk/>
            <pc:sldMk cId="389114252" sldId="2147470202"/>
            <ac:spMk id="151" creationId="{4AFAA090-97E3-1036-ED3A-6C2CFD1A3F99}"/>
          </ac:spMkLst>
        </pc:spChg>
        <pc:spChg chg="mod">
          <ac:chgData name="Dan Moore" userId="432a1231-f1bc-48da-b3ef-5b1092c905eb" providerId="ADAL" clId="{CBB518F1-6B10-4061-BD79-9045FC6529D7}" dt="2022-06-29T17:51:28.332" v="619" actId="207"/>
          <ac:spMkLst>
            <pc:docMk/>
            <pc:sldMk cId="389114252" sldId="2147470202"/>
            <ac:spMk id="152" creationId="{664999B8-8047-9218-EF94-43A4130222F6}"/>
          </ac:spMkLst>
        </pc:spChg>
        <pc:spChg chg="mod">
          <ac:chgData name="Dan Moore" userId="432a1231-f1bc-48da-b3ef-5b1092c905eb" providerId="ADAL" clId="{CBB518F1-6B10-4061-BD79-9045FC6529D7}" dt="2022-06-29T17:51:28.332" v="619" actId="207"/>
          <ac:spMkLst>
            <pc:docMk/>
            <pc:sldMk cId="389114252" sldId="2147470202"/>
            <ac:spMk id="153" creationId="{33E87995-D1D0-DFBC-B29A-8B7B79950750}"/>
          </ac:spMkLst>
        </pc:spChg>
        <pc:spChg chg="mod">
          <ac:chgData name="Dan Moore" userId="432a1231-f1bc-48da-b3ef-5b1092c905eb" providerId="ADAL" clId="{CBB518F1-6B10-4061-BD79-9045FC6529D7}" dt="2022-06-29T17:51:28.332" v="619" actId="207"/>
          <ac:spMkLst>
            <pc:docMk/>
            <pc:sldMk cId="389114252" sldId="2147470202"/>
            <ac:spMk id="154" creationId="{12580674-4CF5-AA40-9AC8-8EDE194BC178}"/>
          </ac:spMkLst>
        </pc:spChg>
        <pc:spChg chg="mod">
          <ac:chgData name="Dan Moore" userId="432a1231-f1bc-48da-b3ef-5b1092c905eb" providerId="ADAL" clId="{CBB518F1-6B10-4061-BD79-9045FC6529D7}" dt="2022-06-29T17:51:28.332" v="619" actId="207"/>
          <ac:spMkLst>
            <pc:docMk/>
            <pc:sldMk cId="389114252" sldId="2147470202"/>
            <ac:spMk id="155" creationId="{9206E5AF-39F4-3D2B-DFEB-4DED21D5A121}"/>
          </ac:spMkLst>
        </pc:spChg>
        <pc:spChg chg="mod">
          <ac:chgData name="Dan Moore" userId="432a1231-f1bc-48da-b3ef-5b1092c905eb" providerId="ADAL" clId="{CBB518F1-6B10-4061-BD79-9045FC6529D7}" dt="2022-06-29T17:51:28.332" v="619" actId="207"/>
          <ac:spMkLst>
            <pc:docMk/>
            <pc:sldMk cId="389114252" sldId="2147470202"/>
            <ac:spMk id="156" creationId="{940AEE0B-EE81-9549-94CE-DCB28B37EE1F}"/>
          </ac:spMkLst>
        </pc:spChg>
        <pc:spChg chg="mod">
          <ac:chgData name="Dan Moore" userId="432a1231-f1bc-48da-b3ef-5b1092c905eb" providerId="ADAL" clId="{CBB518F1-6B10-4061-BD79-9045FC6529D7}" dt="2022-06-29T17:51:28.332" v="619" actId="207"/>
          <ac:spMkLst>
            <pc:docMk/>
            <pc:sldMk cId="389114252" sldId="2147470202"/>
            <ac:spMk id="157" creationId="{A6A893B7-B153-1C45-89C3-55EBC0202B38}"/>
          </ac:spMkLst>
        </pc:spChg>
        <pc:spChg chg="mod">
          <ac:chgData name="Dan Moore" userId="432a1231-f1bc-48da-b3ef-5b1092c905eb" providerId="ADAL" clId="{CBB518F1-6B10-4061-BD79-9045FC6529D7}" dt="2022-06-29T17:51:28.332" v="619" actId="207"/>
          <ac:spMkLst>
            <pc:docMk/>
            <pc:sldMk cId="389114252" sldId="2147470202"/>
            <ac:spMk id="158" creationId="{DC468CB9-DBF4-33C2-1D9C-14F52147C72C}"/>
          </ac:spMkLst>
        </pc:spChg>
        <pc:spChg chg="mod">
          <ac:chgData name="Dan Moore" userId="432a1231-f1bc-48da-b3ef-5b1092c905eb" providerId="ADAL" clId="{CBB518F1-6B10-4061-BD79-9045FC6529D7}" dt="2022-06-29T17:51:28.332" v="619" actId="207"/>
          <ac:spMkLst>
            <pc:docMk/>
            <pc:sldMk cId="389114252" sldId="2147470202"/>
            <ac:spMk id="159" creationId="{93CF3EA2-FF6C-1CCC-6EFF-8C48723BC14F}"/>
          </ac:spMkLst>
        </pc:spChg>
        <pc:spChg chg="mod">
          <ac:chgData name="Dan Moore" userId="432a1231-f1bc-48da-b3ef-5b1092c905eb" providerId="ADAL" clId="{CBB518F1-6B10-4061-BD79-9045FC6529D7}" dt="2022-06-29T17:51:28.332" v="619" actId="207"/>
          <ac:spMkLst>
            <pc:docMk/>
            <pc:sldMk cId="389114252" sldId="2147470202"/>
            <ac:spMk id="160" creationId="{ED8A2CAE-CF89-D20E-85C1-96A8A501B61E}"/>
          </ac:spMkLst>
        </pc:spChg>
        <pc:spChg chg="mod">
          <ac:chgData name="Dan Moore" userId="432a1231-f1bc-48da-b3ef-5b1092c905eb" providerId="ADAL" clId="{CBB518F1-6B10-4061-BD79-9045FC6529D7}" dt="2022-06-29T17:51:28.332" v="619" actId="207"/>
          <ac:spMkLst>
            <pc:docMk/>
            <pc:sldMk cId="389114252" sldId="2147470202"/>
            <ac:spMk id="161" creationId="{54BB6923-C08C-13B8-0074-05ECBDE8FD74}"/>
          </ac:spMkLst>
        </pc:spChg>
        <pc:spChg chg="mod">
          <ac:chgData name="Dan Moore" userId="432a1231-f1bc-48da-b3ef-5b1092c905eb" providerId="ADAL" clId="{CBB518F1-6B10-4061-BD79-9045FC6529D7}" dt="2022-06-29T17:53:28.832" v="637" actId="207"/>
          <ac:spMkLst>
            <pc:docMk/>
            <pc:sldMk cId="389114252" sldId="2147470202"/>
            <ac:spMk id="162" creationId="{C929A528-96D0-9EB6-255D-51392BC55660}"/>
          </ac:spMkLst>
        </pc:spChg>
        <pc:spChg chg="mod">
          <ac:chgData name="Dan Moore" userId="432a1231-f1bc-48da-b3ef-5b1092c905eb" providerId="ADAL" clId="{CBB518F1-6B10-4061-BD79-9045FC6529D7}" dt="2022-06-29T17:52:36.611" v="629" actId="207"/>
          <ac:spMkLst>
            <pc:docMk/>
            <pc:sldMk cId="389114252" sldId="2147470202"/>
            <ac:spMk id="164" creationId="{156375F4-A34E-6506-69F5-545717BC5AD3}"/>
          </ac:spMkLst>
        </pc:spChg>
        <pc:spChg chg="mod">
          <ac:chgData name="Dan Moore" userId="432a1231-f1bc-48da-b3ef-5b1092c905eb" providerId="ADAL" clId="{CBB518F1-6B10-4061-BD79-9045FC6529D7}" dt="2022-06-29T17:51:28.332" v="619" actId="207"/>
          <ac:spMkLst>
            <pc:docMk/>
            <pc:sldMk cId="389114252" sldId="2147470202"/>
            <ac:spMk id="166" creationId="{371001CC-8B31-21DF-BD0F-533A6E6EE748}"/>
          </ac:spMkLst>
        </pc:spChg>
        <pc:spChg chg="mod">
          <ac:chgData name="Dan Moore" userId="432a1231-f1bc-48da-b3ef-5b1092c905eb" providerId="ADAL" clId="{CBB518F1-6B10-4061-BD79-9045FC6529D7}" dt="2022-06-29T17:51:28.332" v="619" actId="207"/>
          <ac:spMkLst>
            <pc:docMk/>
            <pc:sldMk cId="389114252" sldId="2147470202"/>
            <ac:spMk id="167" creationId="{78A42072-8113-FD93-3E3D-2717AC529F50}"/>
          </ac:spMkLst>
        </pc:spChg>
        <pc:spChg chg="mod">
          <ac:chgData name="Dan Moore" userId="432a1231-f1bc-48da-b3ef-5b1092c905eb" providerId="ADAL" clId="{CBB518F1-6B10-4061-BD79-9045FC6529D7}" dt="2022-06-29T17:51:28.332" v="619" actId="207"/>
          <ac:spMkLst>
            <pc:docMk/>
            <pc:sldMk cId="389114252" sldId="2147470202"/>
            <ac:spMk id="168" creationId="{EC1A5C31-A021-FB36-E7F1-24BFF46C1EC1}"/>
          </ac:spMkLst>
        </pc:spChg>
        <pc:spChg chg="mod">
          <ac:chgData name="Dan Moore" userId="432a1231-f1bc-48da-b3ef-5b1092c905eb" providerId="ADAL" clId="{CBB518F1-6B10-4061-BD79-9045FC6529D7}" dt="2022-06-29T17:51:28.332" v="619" actId="207"/>
          <ac:spMkLst>
            <pc:docMk/>
            <pc:sldMk cId="389114252" sldId="2147470202"/>
            <ac:spMk id="169" creationId="{CAE30F9D-E9DD-22DA-0E5D-51D8D1837C5B}"/>
          </ac:spMkLst>
        </pc:spChg>
        <pc:spChg chg="mod">
          <ac:chgData name="Dan Moore" userId="432a1231-f1bc-48da-b3ef-5b1092c905eb" providerId="ADAL" clId="{CBB518F1-6B10-4061-BD79-9045FC6529D7}" dt="2022-06-29T17:51:28.332" v="619" actId="207"/>
          <ac:spMkLst>
            <pc:docMk/>
            <pc:sldMk cId="389114252" sldId="2147470202"/>
            <ac:spMk id="170" creationId="{5C425915-7D62-9FC7-CB8C-8A8A3BAF3B7B}"/>
          </ac:spMkLst>
        </pc:spChg>
        <pc:spChg chg="mod">
          <ac:chgData name="Dan Moore" userId="432a1231-f1bc-48da-b3ef-5b1092c905eb" providerId="ADAL" clId="{CBB518F1-6B10-4061-BD79-9045FC6529D7}" dt="2022-06-29T17:51:28.332" v="619" actId="207"/>
          <ac:spMkLst>
            <pc:docMk/>
            <pc:sldMk cId="389114252" sldId="2147470202"/>
            <ac:spMk id="171" creationId="{5E5736CA-5C06-775B-7068-45506965DE4C}"/>
          </ac:spMkLst>
        </pc:spChg>
        <pc:spChg chg="mod">
          <ac:chgData name="Dan Moore" userId="432a1231-f1bc-48da-b3ef-5b1092c905eb" providerId="ADAL" clId="{CBB518F1-6B10-4061-BD79-9045FC6529D7}" dt="2022-06-29T17:51:28.332" v="619" actId="207"/>
          <ac:spMkLst>
            <pc:docMk/>
            <pc:sldMk cId="389114252" sldId="2147470202"/>
            <ac:spMk id="172" creationId="{0172FA4B-FCE8-D738-1382-6AC75B59229A}"/>
          </ac:spMkLst>
        </pc:spChg>
        <pc:spChg chg="mod">
          <ac:chgData name="Dan Moore" userId="432a1231-f1bc-48da-b3ef-5b1092c905eb" providerId="ADAL" clId="{CBB518F1-6B10-4061-BD79-9045FC6529D7}" dt="2022-06-29T17:51:28.332" v="619" actId="207"/>
          <ac:spMkLst>
            <pc:docMk/>
            <pc:sldMk cId="389114252" sldId="2147470202"/>
            <ac:spMk id="173" creationId="{AB7137C9-2980-03B4-E657-69160AB69125}"/>
          </ac:spMkLst>
        </pc:spChg>
        <pc:spChg chg="mod">
          <ac:chgData name="Dan Moore" userId="432a1231-f1bc-48da-b3ef-5b1092c905eb" providerId="ADAL" clId="{CBB518F1-6B10-4061-BD79-9045FC6529D7}" dt="2022-06-29T17:51:28.332" v="619" actId="207"/>
          <ac:spMkLst>
            <pc:docMk/>
            <pc:sldMk cId="389114252" sldId="2147470202"/>
            <ac:spMk id="174" creationId="{492E4F86-936A-382F-F665-C9445F8891AB}"/>
          </ac:spMkLst>
        </pc:spChg>
        <pc:spChg chg="mod">
          <ac:chgData name="Dan Moore" userId="432a1231-f1bc-48da-b3ef-5b1092c905eb" providerId="ADAL" clId="{CBB518F1-6B10-4061-BD79-9045FC6529D7}" dt="2022-06-29T17:51:28.332" v="619" actId="207"/>
          <ac:spMkLst>
            <pc:docMk/>
            <pc:sldMk cId="389114252" sldId="2147470202"/>
            <ac:spMk id="175" creationId="{3F6D8762-5070-DF47-4ECB-614E98ADA042}"/>
          </ac:spMkLst>
        </pc:spChg>
        <pc:spChg chg="mod">
          <ac:chgData name="Dan Moore" userId="432a1231-f1bc-48da-b3ef-5b1092c905eb" providerId="ADAL" clId="{CBB518F1-6B10-4061-BD79-9045FC6529D7}" dt="2022-06-29T17:51:28.332" v="619" actId="207"/>
          <ac:spMkLst>
            <pc:docMk/>
            <pc:sldMk cId="389114252" sldId="2147470202"/>
            <ac:spMk id="176" creationId="{06B15183-BF5B-5A7B-56CD-321FF5F992F4}"/>
          </ac:spMkLst>
        </pc:spChg>
        <pc:spChg chg="mod">
          <ac:chgData name="Dan Moore" userId="432a1231-f1bc-48da-b3ef-5b1092c905eb" providerId="ADAL" clId="{CBB518F1-6B10-4061-BD79-9045FC6529D7}" dt="2022-06-29T17:51:28.332" v="619" actId="207"/>
          <ac:spMkLst>
            <pc:docMk/>
            <pc:sldMk cId="389114252" sldId="2147470202"/>
            <ac:spMk id="177" creationId="{424B6EF6-5B8A-4C90-DF45-4BD09F53FE0E}"/>
          </ac:spMkLst>
        </pc:spChg>
        <pc:spChg chg="mod">
          <ac:chgData name="Dan Moore" userId="432a1231-f1bc-48da-b3ef-5b1092c905eb" providerId="ADAL" clId="{CBB518F1-6B10-4061-BD79-9045FC6529D7}" dt="2022-06-29T17:51:28.332" v="619" actId="207"/>
          <ac:spMkLst>
            <pc:docMk/>
            <pc:sldMk cId="389114252" sldId="2147470202"/>
            <ac:spMk id="178" creationId="{CF789C22-1130-7ACE-392B-0EFCC243E003}"/>
          </ac:spMkLst>
        </pc:spChg>
        <pc:spChg chg="mod">
          <ac:chgData name="Dan Moore" userId="432a1231-f1bc-48da-b3ef-5b1092c905eb" providerId="ADAL" clId="{CBB518F1-6B10-4061-BD79-9045FC6529D7}" dt="2022-06-29T17:51:28.332" v="619" actId="207"/>
          <ac:spMkLst>
            <pc:docMk/>
            <pc:sldMk cId="389114252" sldId="2147470202"/>
            <ac:spMk id="179" creationId="{F492A0F1-AAAD-91B8-9909-20CCD08BC228}"/>
          </ac:spMkLst>
        </pc:spChg>
        <pc:spChg chg="mod">
          <ac:chgData name="Dan Moore" userId="432a1231-f1bc-48da-b3ef-5b1092c905eb" providerId="ADAL" clId="{CBB518F1-6B10-4061-BD79-9045FC6529D7}" dt="2022-06-29T17:53:25.369" v="636" actId="207"/>
          <ac:spMkLst>
            <pc:docMk/>
            <pc:sldMk cId="389114252" sldId="2147470202"/>
            <ac:spMk id="180" creationId="{042ED91A-32C7-B43B-20DD-204796EA39F2}"/>
          </ac:spMkLst>
        </pc:spChg>
        <pc:spChg chg="mod">
          <ac:chgData name="Dan Moore" userId="432a1231-f1bc-48da-b3ef-5b1092c905eb" providerId="ADAL" clId="{CBB518F1-6B10-4061-BD79-9045FC6529D7}" dt="2022-06-29T17:52:40.500" v="630" actId="207"/>
          <ac:spMkLst>
            <pc:docMk/>
            <pc:sldMk cId="389114252" sldId="2147470202"/>
            <ac:spMk id="182" creationId="{9D9791F1-2F38-C20B-E896-2229D5654F5A}"/>
          </ac:spMkLst>
        </pc:spChg>
        <pc:spChg chg="mod">
          <ac:chgData name="Dan Moore" userId="432a1231-f1bc-48da-b3ef-5b1092c905eb" providerId="ADAL" clId="{CBB518F1-6B10-4061-BD79-9045FC6529D7}" dt="2022-06-29T17:51:28.332" v="619" actId="207"/>
          <ac:spMkLst>
            <pc:docMk/>
            <pc:sldMk cId="389114252" sldId="2147470202"/>
            <ac:spMk id="184" creationId="{0B96D67E-B1EF-80CE-EC3A-1770B07A67C1}"/>
          </ac:spMkLst>
        </pc:spChg>
        <pc:spChg chg="mod">
          <ac:chgData name="Dan Moore" userId="432a1231-f1bc-48da-b3ef-5b1092c905eb" providerId="ADAL" clId="{CBB518F1-6B10-4061-BD79-9045FC6529D7}" dt="2022-06-29T17:51:28.332" v="619" actId="207"/>
          <ac:spMkLst>
            <pc:docMk/>
            <pc:sldMk cId="389114252" sldId="2147470202"/>
            <ac:spMk id="185" creationId="{D3F9BF4E-C908-741E-E464-991148224936}"/>
          </ac:spMkLst>
        </pc:spChg>
        <pc:spChg chg="mod">
          <ac:chgData name="Dan Moore" userId="432a1231-f1bc-48da-b3ef-5b1092c905eb" providerId="ADAL" clId="{CBB518F1-6B10-4061-BD79-9045FC6529D7}" dt="2022-06-29T17:51:28.332" v="619" actId="207"/>
          <ac:spMkLst>
            <pc:docMk/>
            <pc:sldMk cId="389114252" sldId="2147470202"/>
            <ac:spMk id="186" creationId="{34B14B33-CE6E-D993-2421-E6ACFF2D74AC}"/>
          </ac:spMkLst>
        </pc:spChg>
        <pc:spChg chg="mod">
          <ac:chgData name="Dan Moore" userId="432a1231-f1bc-48da-b3ef-5b1092c905eb" providerId="ADAL" clId="{CBB518F1-6B10-4061-BD79-9045FC6529D7}" dt="2022-06-29T17:51:28.332" v="619" actId="207"/>
          <ac:spMkLst>
            <pc:docMk/>
            <pc:sldMk cId="389114252" sldId="2147470202"/>
            <ac:spMk id="187" creationId="{F0C48488-0CE9-7547-88FC-69147480D968}"/>
          </ac:spMkLst>
        </pc:spChg>
        <pc:spChg chg="mod">
          <ac:chgData name="Dan Moore" userId="432a1231-f1bc-48da-b3ef-5b1092c905eb" providerId="ADAL" clId="{CBB518F1-6B10-4061-BD79-9045FC6529D7}" dt="2022-06-29T17:51:28.332" v="619" actId="207"/>
          <ac:spMkLst>
            <pc:docMk/>
            <pc:sldMk cId="389114252" sldId="2147470202"/>
            <ac:spMk id="188" creationId="{35F478D6-6797-5CB7-0FEB-8860B321BF7F}"/>
          </ac:spMkLst>
        </pc:spChg>
        <pc:spChg chg="mod">
          <ac:chgData name="Dan Moore" userId="432a1231-f1bc-48da-b3ef-5b1092c905eb" providerId="ADAL" clId="{CBB518F1-6B10-4061-BD79-9045FC6529D7}" dt="2022-06-29T17:51:28.332" v="619" actId="207"/>
          <ac:spMkLst>
            <pc:docMk/>
            <pc:sldMk cId="389114252" sldId="2147470202"/>
            <ac:spMk id="189" creationId="{5F0C67A3-424E-CC97-45AA-E924950FD08F}"/>
          </ac:spMkLst>
        </pc:spChg>
        <pc:spChg chg="mod">
          <ac:chgData name="Dan Moore" userId="432a1231-f1bc-48da-b3ef-5b1092c905eb" providerId="ADAL" clId="{CBB518F1-6B10-4061-BD79-9045FC6529D7}" dt="2022-06-29T17:51:28.332" v="619" actId="207"/>
          <ac:spMkLst>
            <pc:docMk/>
            <pc:sldMk cId="389114252" sldId="2147470202"/>
            <ac:spMk id="190" creationId="{64DD2914-C90D-08BB-6BAC-9615F8B93D23}"/>
          </ac:spMkLst>
        </pc:spChg>
        <pc:spChg chg="mod">
          <ac:chgData name="Dan Moore" userId="432a1231-f1bc-48da-b3ef-5b1092c905eb" providerId="ADAL" clId="{CBB518F1-6B10-4061-BD79-9045FC6529D7}" dt="2022-06-29T17:51:28.332" v="619" actId="207"/>
          <ac:spMkLst>
            <pc:docMk/>
            <pc:sldMk cId="389114252" sldId="2147470202"/>
            <ac:spMk id="191" creationId="{675891A5-9E8D-56E4-5B50-EA2F2970C507}"/>
          </ac:spMkLst>
        </pc:spChg>
        <pc:spChg chg="mod">
          <ac:chgData name="Dan Moore" userId="432a1231-f1bc-48da-b3ef-5b1092c905eb" providerId="ADAL" clId="{CBB518F1-6B10-4061-BD79-9045FC6529D7}" dt="2022-06-29T17:51:28.332" v="619" actId="207"/>
          <ac:spMkLst>
            <pc:docMk/>
            <pc:sldMk cId="389114252" sldId="2147470202"/>
            <ac:spMk id="192" creationId="{0EB7AE5C-95BF-EE94-7B88-61271D629FF5}"/>
          </ac:spMkLst>
        </pc:spChg>
        <pc:spChg chg="mod">
          <ac:chgData name="Dan Moore" userId="432a1231-f1bc-48da-b3ef-5b1092c905eb" providerId="ADAL" clId="{CBB518F1-6B10-4061-BD79-9045FC6529D7}" dt="2022-06-29T17:51:28.332" v="619" actId="207"/>
          <ac:spMkLst>
            <pc:docMk/>
            <pc:sldMk cId="389114252" sldId="2147470202"/>
            <ac:spMk id="193" creationId="{1B01BED4-2B9C-5653-7CE0-904ED9045D3F}"/>
          </ac:spMkLst>
        </pc:spChg>
        <pc:spChg chg="mod">
          <ac:chgData name="Dan Moore" userId="432a1231-f1bc-48da-b3ef-5b1092c905eb" providerId="ADAL" clId="{CBB518F1-6B10-4061-BD79-9045FC6529D7}" dt="2022-06-29T17:51:28.332" v="619" actId="207"/>
          <ac:spMkLst>
            <pc:docMk/>
            <pc:sldMk cId="389114252" sldId="2147470202"/>
            <ac:spMk id="194" creationId="{CA638392-71D8-CEE6-AF7D-30E71D3A0E2A}"/>
          </ac:spMkLst>
        </pc:spChg>
        <pc:spChg chg="mod">
          <ac:chgData name="Dan Moore" userId="432a1231-f1bc-48da-b3ef-5b1092c905eb" providerId="ADAL" clId="{CBB518F1-6B10-4061-BD79-9045FC6529D7}" dt="2022-06-29T17:51:28.332" v="619" actId="207"/>
          <ac:spMkLst>
            <pc:docMk/>
            <pc:sldMk cId="389114252" sldId="2147470202"/>
            <ac:spMk id="195" creationId="{207694AF-C06E-4DEF-4FC9-06ED4A357259}"/>
          </ac:spMkLst>
        </pc:spChg>
        <pc:spChg chg="mod">
          <ac:chgData name="Dan Moore" userId="432a1231-f1bc-48da-b3ef-5b1092c905eb" providerId="ADAL" clId="{CBB518F1-6B10-4061-BD79-9045FC6529D7}" dt="2022-06-29T17:51:28.332" v="619" actId="207"/>
          <ac:spMkLst>
            <pc:docMk/>
            <pc:sldMk cId="389114252" sldId="2147470202"/>
            <ac:spMk id="196" creationId="{C03A800F-901A-B2BA-5A1C-02208015AD79}"/>
          </ac:spMkLst>
        </pc:spChg>
        <pc:spChg chg="mod">
          <ac:chgData name="Dan Moore" userId="432a1231-f1bc-48da-b3ef-5b1092c905eb" providerId="ADAL" clId="{CBB518F1-6B10-4061-BD79-9045FC6529D7}" dt="2022-06-29T17:51:28.332" v="619" actId="207"/>
          <ac:spMkLst>
            <pc:docMk/>
            <pc:sldMk cId="389114252" sldId="2147470202"/>
            <ac:spMk id="197" creationId="{7BC249AB-F742-A733-08AF-C2016E8805F9}"/>
          </ac:spMkLst>
        </pc:spChg>
        <pc:spChg chg="mod">
          <ac:chgData name="Dan Moore" userId="432a1231-f1bc-48da-b3ef-5b1092c905eb" providerId="ADAL" clId="{CBB518F1-6B10-4061-BD79-9045FC6529D7}" dt="2022-06-29T17:53:32.018" v="638" actId="207"/>
          <ac:spMkLst>
            <pc:docMk/>
            <pc:sldMk cId="389114252" sldId="2147470202"/>
            <ac:spMk id="198" creationId="{EECE1E26-9024-8B13-A361-3C0060BC5AED}"/>
          </ac:spMkLst>
        </pc:spChg>
        <pc:spChg chg="mod">
          <ac:chgData name="Dan Moore" userId="432a1231-f1bc-48da-b3ef-5b1092c905eb" providerId="ADAL" clId="{CBB518F1-6B10-4061-BD79-9045FC6529D7}" dt="2022-06-29T17:49:33.712" v="599" actId="207"/>
          <ac:spMkLst>
            <pc:docMk/>
            <pc:sldMk cId="389114252" sldId="2147470202"/>
            <ac:spMk id="203" creationId="{0CE952C4-FAD7-E0E8-E3C1-BA62FA51EDB9}"/>
          </ac:spMkLst>
        </pc:spChg>
        <pc:spChg chg="mod">
          <ac:chgData name="Dan Moore" userId="432a1231-f1bc-48da-b3ef-5b1092c905eb" providerId="ADAL" clId="{CBB518F1-6B10-4061-BD79-9045FC6529D7}" dt="2022-06-29T17:49:33.712" v="599" actId="207"/>
          <ac:spMkLst>
            <pc:docMk/>
            <pc:sldMk cId="389114252" sldId="2147470202"/>
            <ac:spMk id="204" creationId="{3F66D6F2-6D65-6445-08D9-DE63F47407A0}"/>
          </ac:spMkLst>
        </pc:spChg>
        <pc:spChg chg="mod">
          <ac:chgData name="Dan Moore" userId="432a1231-f1bc-48da-b3ef-5b1092c905eb" providerId="ADAL" clId="{CBB518F1-6B10-4061-BD79-9045FC6529D7}" dt="2022-06-29T17:49:33.712" v="599" actId="207"/>
          <ac:spMkLst>
            <pc:docMk/>
            <pc:sldMk cId="389114252" sldId="2147470202"/>
            <ac:spMk id="205" creationId="{131F01F4-6B1F-1E8D-E293-8913AC654506}"/>
          </ac:spMkLst>
        </pc:spChg>
        <pc:spChg chg="mod">
          <ac:chgData name="Dan Moore" userId="432a1231-f1bc-48da-b3ef-5b1092c905eb" providerId="ADAL" clId="{CBB518F1-6B10-4061-BD79-9045FC6529D7}" dt="2022-06-29T17:49:33.712" v="599" actId="207"/>
          <ac:spMkLst>
            <pc:docMk/>
            <pc:sldMk cId="389114252" sldId="2147470202"/>
            <ac:spMk id="206" creationId="{7A93DCA1-0A0D-45BF-4171-FA2BEEF1391A}"/>
          </ac:spMkLst>
        </pc:spChg>
        <pc:spChg chg="mod">
          <ac:chgData name="Dan Moore" userId="432a1231-f1bc-48da-b3ef-5b1092c905eb" providerId="ADAL" clId="{CBB518F1-6B10-4061-BD79-9045FC6529D7}" dt="2022-06-29T17:49:33.712" v="599" actId="207"/>
          <ac:spMkLst>
            <pc:docMk/>
            <pc:sldMk cId="389114252" sldId="2147470202"/>
            <ac:spMk id="207" creationId="{B181EDAC-66B1-3206-CD71-7776A2C1E0ED}"/>
          </ac:spMkLst>
        </pc:spChg>
        <pc:spChg chg="mod">
          <ac:chgData name="Dan Moore" userId="432a1231-f1bc-48da-b3ef-5b1092c905eb" providerId="ADAL" clId="{CBB518F1-6B10-4061-BD79-9045FC6529D7}" dt="2022-06-29T17:49:33.712" v="599" actId="207"/>
          <ac:spMkLst>
            <pc:docMk/>
            <pc:sldMk cId="389114252" sldId="2147470202"/>
            <ac:spMk id="208" creationId="{F3741C3A-5991-3D86-8C33-4952E4E4A0A9}"/>
          </ac:spMkLst>
        </pc:spChg>
        <pc:spChg chg="mod">
          <ac:chgData name="Dan Moore" userId="432a1231-f1bc-48da-b3ef-5b1092c905eb" providerId="ADAL" clId="{CBB518F1-6B10-4061-BD79-9045FC6529D7}" dt="2022-06-29T17:49:33.712" v="599" actId="207"/>
          <ac:spMkLst>
            <pc:docMk/>
            <pc:sldMk cId="389114252" sldId="2147470202"/>
            <ac:spMk id="209" creationId="{4A596F45-D6F7-3F51-A90A-6302A1E33FBF}"/>
          </ac:spMkLst>
        </pc:spChg>
        <pc:spChg chg="add del mod">
          <ac:chgData name="Dan Moore" userId="432a1231-f1bc-48da-b3ef-5b1092c905eb" providerId="ADAL" clId="{CBB518F1-6B10-4061-BD79-9045FC6529D7}" dt="2022-06-29T18:04:52.732" v="822" actId="207"/>
          <ac:spMkLst>
            <pc:docMk/>
            <pc:sldMk cId="389114252" sldId="2147470202"/>
            <ac:spMk id="313" creationId="{00370136-E93F-5714-4C87-436DB93B9D37}"/>
          </ac:spMkLst>
        </pc:spChg>
        <pc:spChg chg="mod">
          <ac:chgData name="Dan Moore" userId="432a1231-f1bc-48da-b3ef-5b1092c905eb" providerId="ADAL" clId="{CBB518F1-6B10-4061-BD79-9045FC6529D7}" dt="2022-06-29T17:53:41.865" v="639" actId="207"/>
          <ac:spMkLst>
            <pc:docMk/>
            <pc:sldMk cId="389114252" sldId="2147470202"/>
            <ac:spMk id="1024" creationId="{ACF628C2-E9FC-DC6C-B10F-C7F5DE7CBCF6}"/>
          </ac:spMkLst>
        </pc:spChg>
        <pc:spChg chg="mod">
          <ac:chgData name="Dan Moore" userId="432a1231-f1bc-48da-b3ef-5b1092c905eb" providerId="ADAL" clId="{CBB518F1-6B10-4061-BD79-9045FC6529D7}" dt="2022-06-29T17:49:33.712" v="599" actId="207"/>
          <ac:spMkLst>
            <pc:docMk/>
            <pc:sldMk cId="389114252" sldId="2147470202"/>
            <ac:spMk id="1025" creationId="{949604B3-73DD-7313-3C3B-AE8114C55433}"/>
          </ac:spMkLst>
        </pc:spChg>
        <pc:grpChg chg="mod">
          <ac:chgData name="Dan Moore" userId="432a1231-f1bc-48da-b3ef-5b1092c905eb" providerId="ADAL" clId="{CBB518F1-6B10-4061-BD79-9045FC6529D7}" dt="2022-06-29T17:49:45.717" v="600" actId="207"/>
          <ac:grpSpMkLst>
            <pc:docMk/>
            <pc:sldMk cId="389114252" sldId="2147470202"/>
            <ac:grpSpMk id="35" creationId="{F2B0F149-32BD-75E2-C6FA-FC0D2521D870}"/>
          </ac:grpSpMkLst>
        </pc:grpChg>
        <pc:grpChg chg="mod">
          <ac:chgData name="Dan Moore" userId="432a1231-f1bc-48da-b3ef-5b1092c905eb" providerId="ADAL" clId="{CBB518F1-6B10-4061-BD79-9045FC6529D7}" dt="2022-06-29T17:51:20.077" v="618" actId="2085"/>
          <ac:grpSpMkLst>
            <pc:docMk/>
            <pc:sldMk cId="389114252" sldId="2147470202"/>
            <ac:grpSpMk id="73" creationId="{7CE22531-8786-F5F2-C798-77711F004D65}"/>
          </ac:grpSpMkLst>
        </pc:grpChg>
        <pc:grpChg chg="mod">
          <ac:chgData name="Dan Moore" userId="432a1231-f1bc-48da-b3ef-5b1092c905eb" providerId="ADAL" clId="{CBB518F1-6B10-4061-BD79-9045FC6529D7}" dt="2022-06-29T17:51:20.077" v="618" actId="2085"/>
          <ac:grpSpMkLst>
            <pc:docMk/>
            <pc:sldMk cId="389114252" sldId="2147470202"/>
            <ac:grpSpMk id="91" creationId="{895BC787-4399-4307-6962-83A583E76065}"/>
          </ac:grpSpMkLst>
        </pc:grpChg>
        <pc:grpChg chg="mod">
          <ac:chgData name="Dan Moore" userId="432a1231-f1bc-48da-b3ef-5b1092c905eb" providerId="ADAL" clId="{CBB518F1-6B10-4061-BD79-9045FC6529D7}" dt="2022-06-29T17:51:20.077" v="618" actId="2085"/>
          <ac:grpSpMkLst>
            <pc:docMk/>
            <pc:sldMk cId="389114252" sldId="2147470202"/>
            <ac:grpSpMk id="109" creationId="{CF60CEAF-D634-F845-CB83-FCD15B013F2D}"/>
          </ac:grpSpMkLst>
        </pc:grpChg>
        <pc:grpChg chg="mod">
          <ac:chgData name="Dan Moore" userId="432a1231-f1bc-48da-b3ef-5b1092c905eb" providerId="ADAL" clId="{CBB518F1-6B10-4061-BD79-9045FC6529D7}" dt="2022-06-29T17:51:20.077" v="618" actId="2085"/>
          <ac:grpSpMkLst>
            <pc:docMk/>
            <pc:sldMk cId="389114252" sldId="2147470202"/>
            <ac:grpSpMk id="127" creationId="{CB14875D-115B-9D9E-479C-38FAC51EECD3}"/>
          </ac:grpSpMkLst>
        </pc:grpChg>
        <pc:grpChg chg="mod">
          <ac:chgData name="Dan Moore" userId="432a1231-f1bc-48da-b3ef-5b1092c905eb" providerId="ADAL" clId="{CBB518F1-6B10-4061-BD79-9045FC6529D7}" dt="2022-06-29T17:51:20.077" v="618" actId="2085"/>
          <ac:grpSpMkLst>
            <pc:docMk/>
            <pc:sldMk cId="389114252" sldId="2147470202"/>
            <ac:grpSpMk id="145" creationId="{8323598A-58A2-804C-095B-6435A12A47CA}"/>
          </ac:grpSpMkLst>
        </pc:grpChg>
        <pc:grpChg chg="mod">
          <ac:chgData name="Dan Moore" userId="432a1231-f1bc-48da-b3ef-5b1092c905eb" providerId="ADAL" clId="{CBB518F1-6B10-4061-BD79-9045FC6529D7}" dt="2022-06-29T17:51:20.077" v="618" actId="2085"/>
          <ac:grpSpMkLst>
            <pc:docMk/>
            <pc:sldMk cId="389114252" sldId="2147470202"/>
            <ac:grpSpMk id="163" creationId="{212BB3E5-C2F6-FCEA-CCEC-8796C5D04A34}"/>
          </ac:grpSpMkLst>
        </pc:grpChg>
        <pc:grpChg chg="mod">
          <ac:chgData name="Dan Moore" userId="432a1231-f1bc-48da-b3ef-5b1092c905eb" providerId="ADAL" clId="{CBB518F1-6B10-4061-BD79-9045FC6529D7}" dt="2022-06-29T17:51:20.077" v="618" actId="2085"/>
          <ac:grpSpMkLst>
            <pc:docMk/>
            <pc:sldMk cId="389114252" sldId="2147470202"/>
            <ac:grpSpMk id="181" creationId="{F9216181-27FD-7DED-AAD8-60A11F24054A}"/>
          </ac:grpSpMkLst>
        </pc:grpChg>
        <pc:grpChg chg="mod">
          <ac:chgData name="Dan Moore" userId="432a1231-f1bc-48da-b3ef-5b1092c905eb" providerId="ADAL" clId="{CBB518F1-6B10-4061-BD79-9045FC6529D7}" dt="2022-06-29T17:50:59.243" v="617" actId="2085"/>
          <ac:grpSpMkLst>
            <pc:docMk/>
            <pc:sldMk cId="389114252" sldId="2147470202"/>
            <ac:grpSpMk id="1031" creationId="{02BC596E-E57E-3C40-EFC4-F90EB0D9384B}"/>
          </ac:grpSpMkLst>
        </pc:grpChg>
      </pc:sldChg>
      <pc:sldChg chg="modSp">
        <pc:chgData name="Dan Moore" userId="432a1231-f1bc-48da-b3ef-5b1092c905eb" providerId="ADAL" clId="{CBB518F1-6B10-4061-BD79-9045FC6529D7}" dt="2022-06-29T17:29:47.018" v="312" actId="1037"/>
        <pc:sldMkLst>
          <pc:docMk/>
          <pc:sldMk cId="3775020641" sldId="2147470204"/>
        </pc:sldMkLst>
        <pc:grpChg chg="mod">
          <ac:chgData name="Dan Moore" userId="432a1231-f1bc-48da-b3ef-5b1092c905eb" providerId="ADAL" clId="{CBB518F1-6B10-4061-BD79-9045FC6529D7}" dt="2022-06-29T17:29:47.018" v="312" actId="1037"/>
          <ac:grpSpMkLst>
            <pc:docMk/>
            <pc:sldMk cId="3775020641" sldId="2147470204"/>
            <ac:grpSpMk id="2" creationId="{E5B39B43-FB6D-4469-8EEC-FB001B8001FF}"/>
          </ac:grpSpMkLst>
        </pc:grpChg>
        <pc:picChg chg="mod">
          <ac:chgData name="Dan Moore" userId="432a1231-f1bc-48da-b3ef-5b1092c905eb" providerId="ADAL" clId="{CBB518F1-6B10-4061-BD79-9045FC6529D7}" dt="2022-06-29T17:29:47.018" v="312" actId="1037"/>
          <ac:picMkLst>
            <pc:docMk/>
            <pc:sldMk cId="3775020641" sldId="2147470204"/>
            <ac:picMk id="91" creationId="{1FBC54F8-E421-4D8B-8936-CF38CED95DC9}"/>
          </ac:picMkLst>
        </pc:picChg>
        <pc:picChg chg="mod">
          <ac:chgData name="Dan Moore" userId="432a1231-f1bc-48da-b3ef-5b1092c905eb" providerId="ADAL" clId="{CBB518F1-6B10-4061-BD79-9045FC6529D7}" dt="2022-06-29T17:29:47.018" v="312" actId="1037"/>
          <ac:picMkLst>
            <pc:docMk/>
            <pc:sldMk cId="3775020641" sldId="2147470204"/>
            <ac:picMk id="34818" creationId="{2853AE16-E275-4E47-8984-771843AA1C56}"/>
          </ac:picMkLst>
        </pc:picChg>
      </pc:sldChg>
      <pc:sldChg chg="addSp delSp modSp mod">
        <pc:chgData name="Dan Moore" userId="432a1231-f1bc-48da-b3ef-5b1092c905eb" providerId="ADAL" clId="{CBB518F1-6B10-4061-BD79-9045FC6529D7}" dt="2022-06-29T17:58:53.730" v="736" actId="20577"/>
        <pc:sldMkLst>
          <pc:docMk/>
          <pc:sldMk cId="374825654" sldId="2147470206"/>
        </pc:sldMkLst>
        <pc:spChg chg="mod">
          <ac:chgData name="Dan Moore" userId="432a1231-f1bc-48da-b3ef-5b1092c905eb" providerId="ADAL" clId="{CBB518F1-6B10-4061-BD79-9045FC6529D7}" dt="2022-06-29T17:58:53.730" v="736" actId="20577"/>
          <ac:spMkLst>
            <pc:docMk/>
            <pc:sldMk cId="374825654" sldId="2147470206"/>
            <ac:spMk id="3" creationId="{AF1A0433-B89A-5F95-8CF8-CA7B1E91C391}"/>
          </ac:spMkLst>
        </pc:spChg>
        <pc:spChg chg="mod">
          <ac:chgData name="Dan Moore" userId="432a1231-f1bc-48da-b3ef-5b1092c905eb" providerId="ADAL" clId="{CBB518F1-6B10-4061-BD79-9045FC6529D7}" dt="2022-06-29T17:47:48.778" v="593" actId="1076"/>
          <ac:spMkLst>
            <pc:docMk/>
            <pc:sldMk cId="374825654" sldId="2147470206"/>
            <ac:spMk id="4" creationId="{CBA6559B-C5A5-6CE4-EDB9-85D2D52E8248}"/>
          </ac:spMkLst>
        </pc:spChg>
        <pc:spChg chg="mod">
          <ac:chgData name="Dan Moore" userId="432a1231-f1bc-48da-b3ef-5b1092c905eb" providerId="ADAL" clId="{CBB518F1-6B10-4061-BD79-9045FC6529D7}" dt="2022-06-29T17:45:57.470" v="569" actId="1076"/>
          <ac:spMkLst>
            <pc:docMk/>
            <pc:sldMk cId="374825654" sldId="2147470206"/>
            <ac:spMk id="5" creationId="{5138D2FB-DD1F-2EC0-F7D5-3FAC8A263B08}"/>
          </ac:spMkLst>
        </pc:spChg>
        <pc:spChg chg="mod">
          <ac:chgData name="Dan Moore" userId="432a1231-f1bc-48da-b3ef-5b1092c905eb" providerId="ADAL" clId="{CBB518F1-6B10-4061-BD79-9045FC6529D7}" dt="2022-06-29T17:45:57.470" v="569" actId="1076"/>
          <ac:spMkLst>
            <pc:docMk/>
            <pc:sldMk cId="374825654" sldId="2147470206"/>
            <ac:spMk id="6" creationId="{B004511F-D05E-36F2-C55D-CE69491FCE7F}"/>
          </ac:spMkLst>
        </pc:spChg>
        <pc:spChg chg="mod">
          <ac:chgData name="Dan Moore" userId="432a1231-f1bc-48da-b3ef-5b1092c905eb" providerId="ADAL" clId="{CBB518F1-6B10-4061-BD79-9045FC6529D7}" dt="2022-06-29T17:45:57.470" v="569" actId="1076"/>
          <ac:spMkLst>
            <pc:docMk/>
            <pc:sldMk cId="374825654" sldId="2147470206"/>
            <ac:spMk id="7" creationId="{23D916EF-0313-C7CD-8418-FF3262B8B750}"/>
          </ac:spMkLst>
        </pc:spChg>
        <pc:spChg chg="mod">
          <ac:chgData name="Dan Moore" userId="432a1231-f1bc-48da-b3ef-5b1092c905eb" providerId="ADAL" clId="{CBB518F1-6B10-4061-BD79-9045FC6529D7}" dt="2022-06-29T17:45:57.470" v="569" actId="1076"/>
          <ac:spMkLst>
            <pc:docMk/>
            <pc:sldMk cId="374825654" sldId="2147470206"/>
            <ac:spMk id="8" creationId="{E50FCDD5-6C66-C31B-5273-C7AD2C4EEADC}"/>
          </ac:spMkLst>
        </pc:spChg>
        <pc:spChg chg="mod">
          <ac:chgData name="Dan Moore" userId="432a1231-f1bc-48da-b3ef-5b1092c905eb" providerId="ADAL" clId="{CBB518F1-6B10-4061-BD79-9045FC6529D7}" dt="2022-06-29T17:45:57.470" v="569" actId="1076"/>
          <ac:spMkLst>
            <pc:docMk/>
            <pc:sldMk cId="374825654" sldId="2147470206"/>
            <ac:spMk id="9" creationId="{F0470C19-3F86-BAC0-AEA8-B69B977DE836}"/>
          </ac:spMkLst>
        </pc:spChg>
        <pc:spChg chg="mod">
          <ac:chgData name="Dan Moore" userId="432a1231-f1bc-48da-b3ef-5b1092c905eb" providerId="ADAL" clId="{CBB518F1-6B10-4061-BD79-9045FC6529D7}" dt="2022-06-29T17:45:57.470" v="569" actId="1076"/>
          <ac:spMkLst>
            <pc:docMk/>
            <pc:sldMk cId="374825654" sldId="2147470206"/>
            <ac:spMk id="10" creationId="{C9BB3919-E4A7-A246-3D24-5C89DBC4CBEF}"/>
          </ac:spMkLst>
        </pc:spChg>
        <pc:spChg chg="mod">
          <ac:chgData name="Dan Moore" userId="432a1231-f1bc-48da-b3ef-5b1092c905eb" providerId="ADAL" clId="{CBB518F1-6B10-4061-BD79-9045FC6529D7}" dt="2022-06-29T17:45:57.470" v="569" actId="1076"/>
          <ac:spMkLst>
            <pc:docMk/>
            <pc:sldMk cId="374825654" sldId="2147470206"/>
            <ac:spMk id="21" creationId="{8ACC687B-803A-BB64-0FB0-943D9247C2EC}"/>
          </ac:spMkLst>
        </pc:spChg>
        <pc:spChg chg="mod">
          <ac:chgData name="Dan Moore" userId="432a1231-f1bc-48da-b3ef-5b1092c905eb" providerId="ADAL" clId="{CBB518F1-6B10-4061-BD79-9045FC6529D7}" dt="2022-06-29T17:45:57.470" v="569" actId="1076"/>
          <ac:spMkLst>
            <pc:docMk/>
            <pc:sldMk cId="374825654" sldId="2147470206"/>
            <ac:spMk id="22" creationId="{2BF392F7-7BFF-7F90-AE6E-2AEFB1C7D666}"/>
          </ac:spMkLst>
        </pc:spChg>
        <pc:spChg chg="mod">
          <ac:chgData name="Dan Moore" userId="432a1231-f1bc-48da-b3ef-5b1092c905eb" providerId="ADAL" clId="{CBB518F1-6B10-4061-BD79-9045FC6529D7}" dt="2022-06-29T17:45:57.470" v="569" actId="1076"/>
          <ac:spMkLst>
            <pc:docMk/>
            <pc:sldMk cId="374825654" sldId="2147470206"/>
            <ac:spMk id="23" creationId="{D09F0440-DD30-7E99-8FF3-763ADD58D62A}"/>
          </ac:spMkLst>
        </pc:spChg>
        <pc:spChg chg="mod">
          <ac:chgData name="Dan Moore" userId="432a1231-f1bc-48da-b3ef-5b1092c905eb" providerId="ADAL" clId="{CBB518F1-6B10-4061-BD79-9045FC6529D7}" dt="2022-06-29T17:45:57.470" v="569" actId="1076"/>
          <ac:spMkLst>
            <pc:docMk/>
            <pc:sldMk cId="374825654" sldId="2147470206"/>
            <ac:spMk id="24" creationId="{9642E5BB-C305-C291-F2AE-0CFAE8096A03}"/>
          </ac:spMkLst>
        </pc:spChg>
        <pc:spChg chg="mod">
          <ac:chgData name="Dan Moore" userId="432a1231-f1bc-48da-b3ef-5b1092c905eb" providerId="ADAL" clId="{CBB518F1-6B10-4061-BD79-9045FC6529D7}" dt="2022-06-29T17:45:57.470" v="569" actId="1076"/>
          <ac:spMkLst>
            <pc:docMk/>
            <pc:sldMk cId="374825654" sldId="2147470206"/>
            <ac:spMk id="25" creationId="{38D80056-DACA-B4C5-6119-7E18147513D0}"/>
          </ac:spMkLst>
        </pc:spChg>
        <pc:spChg chg="mod topLvl">
          <ac:chgData name="Dan Moore" userId="432a1231-f1bc-48da-b3ef-5b1092c905eb" providerId="ADAL" clId="{CBB518F1-6B10-4061-BD79-9045FC6529D7}" dt="2022-06-29T17:47:10.932" v="583" actId="1076"/>
          <ac:spMkLst>
            <pc:docMk/>
            <pc:sldMk cId="374825654" sldId="2147470206"/>
            <ac:spMk id="27" creationId="{2A8C00B3-D9A9-A5C2-2F68-FD6943F05A26}"/>
          </ac:spMkLst>
        </pc:spChg>
        <pc:spChg chg="mod topLvl">
          <ac:chgData name="Dan Moore" userId="432a1231-f1bc-48da-b3ef-5b1092c905eb" providerId="ADAL" clId="{CBB518F1-6B10-4061-BD79-9045FC6529D7}" dt="2022-06-29T17:58:45.690" v="735" actId="1076"/>
          <ac:spMkLst>
            <pc:docMk/>
            <pc:sldMk cId="374825654" sldId="2147470206"/>
            <ac:spMk id="28" creationId="{2988D4D3-E0DC-6A62-0172-BC9474C11025}"/>
          </ac:spMkLst>
        </pc:spChg>
        <pc:spChg chg="mod topLvl">
          <ac:chgData name="Dan Moore" userId="432a1231-f1bc-48da-b3ef-5b1092c905eb" providerId="ADAL" clId="{CBB518F1-6B10-4061-BD79-9045FC6529D7}" dt="2022-06-29T17:42:11.313" v="469" actId="3064"/>
          <ac:spMkLst>
            <pc:docMk/>
            <pc:sldMk cId="374825654" sldId="2147470206"/>
            <ac:spMk id="32" creationId="{81044BAA-C50C-E826-EEDB-4A25C755D636}"/>
          </ac:spMkLst>
        </pc:spChg>
        <pc:spChg chg="del mod">
          <ac:chgData name="Dan Moore" userId="432a1231-f1bc-48da-b3ef-5b1092c905eb" providerId="ADAL" clId="{CBB518F1-6B10-4061-BD79-9045FC6529D7}" dt="2022-06-29T17:39:16.373" v="396" actId="478"/>
          <ac:spMkLst>
            <pc:docMk/>
            <pc:sldMk cId="374825654" sldId="2147470206"/>
            <ac:spMk id="33" creationId="{09EC31C4-CBA9-7DEB-42B1-F1A983A7839B}"/>
          </ac:spMkLst>
        </pc:spChg>
        <pc:spChg chg="mod">
          <ac:chgData name="Dan Moore" userId="432a1231-f1bc-48da-b3ef-5b1092c905eb" providerId="ADAL" clId="{CBB518F1-6B10-4061-BD79-9045FC6529D7}" dt="2022-06-29T17:38:56.319" v="394" actId="404"/>
          <ac:spMkLst>
            <pc:docMk/>
            <pc:sldMk cId="374825654" sldId="2147470206"/>
            <ac:spMk id="38" creationId="{A93C5286-739A-45CE-5BAB-69880BC2D7AF}"/>
          </ac:spMkLst>
        </pc:spChg>
        <pc:spChg chg="mod">
          <ac:chgData name="Dan Moore" userId="432a1231-f1bc-48da-b3ef-5b1092c905eb" providerId="ADAL" clId="{CBB518F1-6B10-4061-BD79-9045FC6529D7}" dt="2022-06-29T17:38:56.319" v="394" actId="404"/>
          <ac:spMkLst>
            <pc:docMk/>
            <pc:sldMk cId="374825654" sldId="2147470206"/>
            <ac:spMk id="39" creationId="{05B9850D-B0DE-BBF4-2953-A3AE08B58D1B}"/>
          </ac:spMkLst>
        </pc:spChg>
        <pc:spChg chg="mod">
          <ac:chgData name="Dan Moore" userId="432a1231-f1bc-48da-b3ef-5b1092c905eb" providerId="ADAL" clId="{CBB518F1-6B10-4061-BD79-9045FC6529D7}" dt="2022-06-29T17:38:56.319" v="394" actId="404"/>
          <ac:spMkLst>
            <pc:docMk/>
            <pc:sldMk cId="374825654" sldId="2147470206"/>
            <ac:spMk id="42" creationId="{5EEC5D3B-9BC7-1C7D-3861-BF5E01462CD8}"/>
          </ac:spMkLst>
        </pc:spChg>
        <pc:spChg chg="mod">
          <ac:chgData name="Dan Moore" userId="432a1231-f1bc-48da-b3ef-5b1092c905eb" providerId="ADAL" clId="{CBB518F1-6B10-4061-BD79-9045FC6529D7}" dt="2022-06-29T17:38:56.319" v="394" actId="404"/>
          <ac:spMkLst>
            <pc:docMk/>
            <pc:sldMk cId="374825654" sldId="2147470206"/>
            <ac:spMk id="43" creationId="{AAE3BA5C-50E8-5126-8596-7B23E828C188}"/>
          </ac:spMkLst>
        </pc:spChg>
        <pc:spChg chg="mod">
          <ac:chgData name="Dan Moore" userId="432a1231-f1bc-48da-b3ef-5b1092c905eb" providerId="ADAL" clId="{CBB518F1-6B10-4061-BD79-9045FC6529D7}" dt="2022-06-29T17:38:56.319" v="394" actId="404"/>
          <ac:spMkLst>
            <pc:docMk/>
            <pc:sldMk cId="374825654" sldId="2147470206"/>
            <ac:spMk id="46" creationId="{1C31607D-9131-F2D0-9EF5-FEF96A1ACF0E}"/>
          </ac:spMkLst>
        </pc:spChg>
        <pc:spChg chg="mod">
          <ac:chgData name="Dan Moore" userId="432a1231-f1bc-48da-b3ef-5b1092c905eb" providerId="ADAL" clId="{CBB518F1-6B10-4061-BD79-9045FC6529D7}" dt="2022-06-29T17:38:56.319" v="394" actId="404"/>
          <ac:spMkLst>
            <pc:docMk/>
            <pc:sldMk cId="374825654" sldId="2147470206"/>
            <ac:spMk id="47" creationId="{EE04DD10-A9C2-6850-08E4-7D3E1B1FE047}"/>
          </ac:spMkLst>
        </pc:spChg>
        <pc:spChg chg="mod">
          <ac:chgData name="Dan Moore" userId="432a1231-f1bc-48da-b3ef-5b1092c905eb" providerId="ADAL" clId="{CBB518F1-6B10-4061-BD79-9045FC6529D7}" dt="2022-06-29T17:38:56.319" v="394" actId="404"/>
          <ac:spMkLst>
            <pc:docMk/>
            <pc:sldMk cId="374825654" sldId="2147470206"/>
            <ac:spMk id="50" creationId="{26730CEC-02F8-AB8B-D588-C7B7186933B5}"/>
          </ac:spMkLst>
        </pc:spChg>
        <pc:spChg chg="mod">
          <ac:chgData name="Dan Moore" userId="432a1231-f1bc-48da-b3ef-5b1092c905eb" providerId="ADAL" clId="{CBB518F1-6B10-4061-BD79-9045FC6529D7}" dt="2022-06-29T17:38:56.319" v="394" actId="404"/>
          <ac:spMkLst>
            <pc:docMk/>
            <pc:sldMk cId="374825654" sldId="2147470206"/>
            <ac:spMk id="51" creationId="{C5FFCFD0-BB05-F9F5-525C-EE3233DFD285}"/>
          </ac:spMkLst>
        </pc:spChg>
        <pc:spChg chg="mod">
          <ac:chgData name="Dan Moore" userId="432a1231-f1bc-48da-b3ef-5b1092c905eb" providerId="ADAL" clId="{CBB518F1-6B10-4061-BD79-9045FC6529D7}" dt="2022-06-29T17:38:56.319" v="394" actId="404"/>
          <ac:spMkLst>
            <pc:docMk/>
            <pc:sldMk cId="374825654" sldId="2147470206"/>
            <ac:spMk id="54" creationId="{7A320E24-4A47-A890-0D48-2D82D25621E4}"/>
          </ac:spMkLst>
        </pc:spChg>
        <pc:spChg chg="mod">
          <ac:chgData name="Dan Moore" userId="432a1231-f1bc-48da-b3ef-5b1092c905eb" providerId="ADAL" clId="{CBB518F1-6B10-4061-BD79-9045FC6529D7}" dt="2022-06-29T17:38:56.319" v="394" actId="404"/>
          <ac:spMkLst>
            <pc:docMk/>
            <pc:sldMk cId="374825654" sldId="2147470206"/>
            <ac:spMk id="55" creationId="{6E85C6A9-9F1B-325C-9EC5-5BE2895E9EF8}"/>
          </ac:spMkLst>
        </pc:spChg>
        <pc:spChg chg="mod">
          <ac:chgData name="Dan Moore" userId="432a1231-f1bc-48da-b3ef-5b1092c905eb" providerId="ADAL" clId="{CBB518F1-6B10-4061-BD79-9045FC6529D7}" dt="2022-06-29T17:38:56.319" v="394" actId="404"/>
          <ac:spMkLst>
            <pc:docMk/>
            <pc:sldMk cId="374825654" sldId="2147470206"/>
            <ac:spMk id="58" creationId="{F8B3D56E-6655-4B42-E06F-8F10DAB0F04C}"/>
          </ac:spMkLst>
        </pc:spChg>
        <pc:spChg chg="mod">
          <ac:chgData name="Dan Moore" userId="432a1231-f1bc-48da-b3ef-5b1092c905eb" providerId="ADAL" clId="{CBB518F1-6B10-4061-BD79-9045FC6529D7}" dt="2022-06-29T17:38:56.319" v="394" actId="404"/>
          <ac:spMkLst>
            <pc:docMk/>
            <pc:sldMk cId="374825654" sldId="2147470206"/>
            <ac:spMk id="59" creationId="{F9BD8154-7A0B-CFDF-217F-3249B803614A}"/>
          </ac:spMkLst>
        </pc:spChg>
        <pc:spChg chg="mod">
          <ac:chgData name="Dan Moore" userId="432a1231-f1bc-48da-b3ef-5b1092c905eb" providerId="ADAL" clId="{CBB518F1-6B10-4061-BD79-9045FC6529D7}" dt="2022-06-29T17:58:45.690" v="735" actId="1076"/>
          <ac:spMkLst>
            <pc:docMk/>
            <pc:sldMk cId="374825654" sldId="2147470206"/>
            <ac:spMk id="60" creationId="{789E4BB0-850E-24AA-09F1-FBCC20AC7FA9}"/>
          </ac:spMkLst>
        </pc:spChg>
        <pc:spChg chg="del mod">
          <ac:chgData name="Dan Moore" userId="432a1231-f1bc-48da-b3ef-5b1092c905eb" providerId="ADAL" clId="{CBB518F1-6B10-4061-BD79-9045FC6529D7}" dt="2022-06-29T17:41:19.646" v="435" actId="478"/>
          <ac:spMkLst>
            <pc:docMk/>
            <pc:sldMk cId="374825654" sldId="2147470206"/>
            <ac:spMk id="61" creationId="{5CD98B1C-EB4C-F302-F5B5-EE882291FFE0}"/>
          </ac:spMkLst>
        </pc:spChg>
        <pc:spChg chg="del mod">
          <ac:chgData name="Dan Moore" userId="432a1231-f1bc-48da-b3ef-5b1092c905eb" providerId="ADAL" clId="{CBB518F1-6B10-4061-BD79-9045FC6529D7}" dt="2022-06-29T17:42:23.181" v="474" actId="478"/>
          <ac:spMkLst>
            <pc:docMk/>
            <pc:sldMk cId="374825654" sldId="2147470206"/>
            <ac:spMk id="62" creationId="{DA9A1D2B-9379-6392-DA0E-450CFAE3C045}"/>
          </ac:spMkLst>
        </pc:spChg>
        <pc:spChg chg="del mod">
          <ac:chgData name="Dan Moore" userId="432a1231-f1bc-48da-b3ef-5b1092c905eb" providerId="ADAL" clId="{CBB518F1-6B10-4061-BD79-9045FC6529D7}" dt="2022-06-29T17:43:05.756" v="496" actId="478"/>
          <ac:spMkLst>
            <pc:docMk/>
            <pc:sldMk cId="374825654" sldId="2147470206"/>
            <ac:spMk id="63" creationId="{6D35538C-2DCE-DAF7-B5DE-F9ABFA524491}"/>
          </ac:spMkLst>
        </pc:spChg>
        <pc:spChg chg="del mod">
          <ac:chgData name="Dan Moore" userId="432a1231-f1bc-48da-b3ef-5b1092c905eb" providerId="ADAL" clId="{CBB518F1-6B10-4061-BD79-9045FC6529D7}" dt="2022-06-29T17:43:51.211" v="522" actId="478"/>
          <ac:spMkLst>
            <pc:docMk/>
            <pc:sldMk cId="374825654" sldId="2147470206"/>
            <ac:spMk id="64" creationId="{0DFD580B-7ADA-7CCD-C46C-7BAB0832148B}"/>
          </ac:spMkLst>
        </pc:spChg>
        <pc:spChg chg="del mod">
          <ac:chgData name="Dan Moore" userId="432a1231-f1bc-48da-b3ef-5b1092c905eb" providerId="ADAL" clId="{CBB518F1-6B10-4061-BD79-9045FC6529D7}" dt="2022-06-29T17:44:01.831" v="527" actId="478"/>
          <ac:spMkLst>
            <pc:docMk/>
            <pc:sldMk cId="374825654" sldId="2147470206"/>
            <ac:spMk id="65" creationId="{5EC9D529-BBFE-C3AF-7C4B-434C80B892A2}"/>
          </ac:spMkLst>
        </pc:spChg>
        <pc:spChg chg="del mod">
          <ac:chgData name="Dan Moore" userId="432a1231-f1bc-48da-b3ef-5b1092c905eb" providerId="ADAL" clId="{CBB518F1-6B10-4061-BD79-9045FC6529D7}" dt="2022-06-29T17:44:13.611" v="531" actId="478"/>
          <ac:spMkLst>
            <pc:docMk/>
            <pc:sldMk cId="374825654" sldId="2147470206"/>
            <ac:spMk id="66" creationId="{70FDA449-1A63-49D6-123F-DC5D46DE24C1}"/>
          </ac:spMkLst>
        </pc:spChg>
        <pc:spChg chg="add mod">
          <ac:chgData name="Dan Moore" userId="432a1231-f1bc-48da-b3ef-5b1092c905eb" providerId="ADAL" clId="{CBB518F1-6B10-4061-BD79-9045FC6529D7}" dt="2022-06-29T17:58:45.690" v="735" actId="1076"/>
          <ac:spMkLst>
            <pc:docMk/>
            <pc:sldMk cId="374825654" sldId="2147470206"/>
            <ac:spMk id="76" creationId="{B71A5CB6-EE54-C153-F782-51F178A26960}"/>
          </ac:spMkLst>
        </pc:spChg>
        <pc:spChg chg="mod">
          <ac:chgData name="Dan Moore" userId="432a1231-f1bc-48da-b3ef-5b1092c905eb" providerId="ADAL" clId="{CBB518F1-6B10-4061-BD79-9045FC6529D7}" dt="2022-06-29T17:42:19.819" v="473" actId="403"/>
          <ac:spMkLst>
            <pc:docMk/>
            <pc:sldMk cId="374825654" sldId="2147470206"/>
            <ac:spMk id="81" creationId="{C0B02C7C-F026-C171-6F27-4E9499E20786}"/>
          </ac:spMkLst>
        </pc:spChg>
        <pc:spChg chg="add mod">
          <ac:chgData name="Dan Moore" userId="432a1231-f1bc-48da-b3ef-5b1092c905eb" providerId="ADAL" clId="{CBB518F1-6B10-4061-BD79-9045FC6529D7}" dt="2022-06-29T17:58:45.690" v="735" actId="1076"/>
          <ac:spMkLst>
            <pc:docMk/>
            <pc:sldMk cId="374825654" sldId="2147470206"/>
            <ac:spMk id="82" creationId="{72910F75-3AA4-3B6C-29E0-CEE1FD6E9ED7}"/>
          </ac:spMkLst>
        </pc:spChg>
        <pc:spChg chg="mod">
          <ac:chgData name="Dan Moore" userId="432a1231-f1bc-48da-b3ef-5b1092c905eb" providerId="ADAL" clId="{CBB518F1-6B10-4061-BD79-9045FC6529D7}" dt="2022-06-29T17:42:52.380" v="493" actId="404"/>
          <ac:spMkLst>
            <pc:docMk/>
            <pc:sldMk cId="374825654" sldId="2147470206"/>
            <ac:spMk id="85" creationId="{9D120BAC-BD9F-5DFB-2CC3-59564C88C625}"/>
          </ac:spMkLst>
        </pc:spChg>
        <pc:spChg chg="add mod">
          <ac:chgData name="Dan Moore" userId="432a1231-f1bc-48da-b3ef-5b1092c905eb" providerId="ADAL" clId="{CBB518F1-6B10-4061-BD79-9045FC6529D7}" dt="2022-06-29T17:42:35.528" v="478" actId="571"/>
          <ac:spMkLst>
            <pc:docMk/>
            <pc:sldMk cId="374825654" sldId="2147470206"/>
            <ac:spMk id="86" creationId="{73652831-2DEF-8803-925F-148EC14B8679}"/>
          </ac:spMkLst>
        </pc:spChg>
        <pc:spChg chg="mod">
          <ac:chgData name="Dan Moore" userId="432a1231-f1bc-48da-b3ef-5b1092c905eb" providerId="ADAL" clId="{CBB518F1-6B10-4061-BD79-9045FC6529D7}" dt="2022-06-29T17:42:35.528" v="478" actId="571"/>
          <ac:spMkLst>
            <pc:docMk/>
            <pc:sldMk cId="374825654" sldId="2147470206"/>
            <ac:spMk id="89" creationId="{1E988138-6E83-F8F6-1939-EA189198B425}"/>
          </ac:spMkLst>
        </pc:spChg>
        <pc:spChg chg="add mod">
          <ac:chgData name="Dan Moore" userId="432a1231-f1bc-48da-b3ef-5b1092c905eb" providerId="ADAL" clId="{CBB518F1-6B10-4061-BD79-9045FC6529D7}" dt="2022-06-29T17:58:45.690" v="735" actId="1076"/>
          <ac:spMkLst>
            <pc:docMk/>
            <pc:sldMk cId="374825654" sldId="2147470206"/>
            <ac:spMk id="90" creationId="{63148D8A-49AB-17D3-4C36-F7AFDBF9090F}"/>
          </ac:spMkLst>
        </pc:spChg>
        <pc:spChg chg="mod">
          <ac:chgData name="Dan Moore" userId="432a1231-f1bc-48da-b3ef-5b1092c905eb" providerId="ADAL" clId="{CBB518F1-6B10-4061-BD79-9045FC6529D7}" dt="2022-06-29T17:43:17.522" v="502" actId="403"/>
          <ac:spMkLst>
            <pc:docMk/>
            <pc:sldMk cId="374825654" sldId="2147470206"/>
            <ac:spMk id="93" creationId="{1FF2DDD1-5063-2D46-C532-71C4A8D3FC89}"/>
          </ac:spMkLst>
        </pc:spChg>
        <pc:spChg chg="mod">
          <ac:chgData name="Dan Moore" userId="432a1231-f1bc-48da-b3ef-5b1092c905eb" providerId="ADAL" clId="{CBB518F1-6B10-4061-BD79-9045FC6529D7}" dt="2022-06-29T17:43:40.691" v="515" actId="20577"/>
          <ac:spMkLst>
            <pc:docMk/>
            <pc:sldMk cId="374825654" sldId="2147470206"/>
            <ac:spMk id="96" creationId="{8862B268-9CCE-B0C2-E5CE-43DD5F650ECE}"/>
          </ac:spMkLst>
        </pc:spChg>
        <pc:spChg chg="add mod">
          <ac:chgData name="Dan Moore" userId="432a1231-f1bc-48da-b3ef-5b1092c905eb" providerId="ADAL" clId="{CBB518F1-6B10-4061-BD79-9045FC6529D7}" dt="2022-06-29T17:58:45.690" v="735" actId="1076"/>
          <ac:spMkLst>
            <pc:docMk/>
            <pc:sldMk cId="374825654" sldId="2147470206"/>
            <ac:spMk id="97" creationId="{4D623D7B-44EA-9138-54D5-780DC2C3283E}"/>
          </ac:spMkLst>
        </pc:spChg>
        <pc:spChg chg="mod">
          <ac:chgData name="Dan Moore" userId="432a1231-f1bc-48da-b3ef-5b1092c905eb" providerId="ADAL" clId="{CBB518F1-6B10-4061-BD79-9045FC6529D7}" dt="2022-06-29T17:43:59.686" v="526" actId="20577"/>
          <ac:spMkLst>
            <pc:docMk/>
            <pc:sldMk cId="374825654" sldId="2147470206"/>
            <ac:spMk id="100" creationId="{7A8A05EC-4CBF-A62B-CC93-09FF462E3562}"/>
          </ac:spMkLst>
        </pc:spChg>
        <pc:spChg chg="add mod">
          <ac:chgData name="Dan Moore" userId="432a1231-f1bc-48da-b3ef-5b1092c905eb" providerId="ADAL" clId="{CBB518F1-6B10-4061-BD79-9045FC6529D7}" dt="2022-06-29T17:44:08.128" v="529" actId="571"/>
          <ac:spMkLst>
            <pc:docMk/>
            <pc:sldMk cId="374825654" sldId="2147470206"/>
            <ac:spMk id="101" creationId="{ED0F03BE-1C91-F3CA-6B79-F21A546D8484}"/>
          </ac:spMkLst>
        </pc:spChg>
        <pc:spChg chg="mod">
          <ac:chgData name="Dan Moore" userId="432a1231-f1bc-48da-b3ef-5b1092c905eb" providerId="ADAL" clId="{CBB518F1-6B10-4061-BD79-9045FC6529D7}" dt="2022-06-29T17:44:08.128" v="529" actId="571"/>
          <ac:spMkLst>
            <pc:docMk/>
            <pc:sldMk cId="374825654" sldId="2147470206"/>
            <ac:spMk id="104" creationId="{9246A548-83C5-E2A4-08BB-1EB7FF630E0E}"/>
          </ac:spMkLst>
        </pc:spChg>
        <pc:spChg chg="add mod">
          <ac:chgData name="Dan Moore" userId="432a1231-f1bc-48da-b3ef-5b1092c905eb" providerId="ADAL" clId="{CBB518F1-6B10-4061-BD79-9045FC6529D7}" dt="2022-06-29T17:58:45.690" v="735" actId="1076"/>
          <ac:spMkLst>
            <pc:docMk/>
            <pc:sldMk cId="374825654" sldId="2147470206"/>
            <ac:spMk id="105" creationId="{BF664329-A492-EF92-68B7-521539AE8DB3}"/>
          </ac:spMkLst>
        </pc:spChg>
        <pc:spChg chg="add mod">
          <ac:chgData name="Dan Moore" userId="432a1231-f1bc-48da-b3ef-5b1092c905eb" providerId="ADAL" clId="{CBB518F1-6B10-4061-BD79-9045FC6529D7}" dt="2022-06-29T17:58:45.690" v="735" actId="1076"/>
          <ac:spMkLst>
            <pc:docMk/>
            <pc:sldMk cId="374825654" sldId="2147470206"/>
            <ac:spMk id="106" creationId="{C435498F-F66B-0A5C-2D83-951B6F8CF6DC}"/>
          </ac:spMkLst>
        </pc:spChg>
        <pc:spChg chg="mod">
          <ac:chgData name="Dan Moore" userId="432a1231-f1bc-48da-b3ef-5b1092c905eb" providerId="ADAL" clId="{CBB518F1-6B10-4061-BD79-9045FC6529D7}" dt="2022-06-29T17:44:39.835" v="553" actId="404"/>
          <ac:spMkLst>
            <pc:docMk/>
            <pc:sldMk cId="374825654" sldId="2147470206"/>
            <ac:spMk id="109" creationId="{2B59BFC9-C395-2B87-5591-F6390E849C80}"/>
          </ac:spMkLst>
        </pc:spChg>
        <pc:spChg chg="add mod ord">
          <ac:chgData name="Dan Moore" userId="432a1231-f1bc-48da-b3ef-5b1092c905eb" providerId="ADAL" clId="{CBB518F1-6B10-4061-BD79-9045FC6529D7}" dt="2022-06-29T17:58:45.690" v="735" actId="1076"/>
          <ac:spMkLst>
            <pc:docMk/>
            <pc:sldMk cId="374825654" sldId="2147470206"/>
            <ac:spMk id="110" creationId="{EC5EF106-F3F4-9841-38FC-14D26D633F6E}"/>
          </ac:spMkLst>
        </pc:spChg>
        <pc:grpChg chg="del">
          <ac:chgData name="Dan Moore" userId="432a1231-f1bc-48da-b3ef-5b1092c905eb" providerId="ADAL" clId="{CBB518F1-6B10-4061-BD79-9045FC6529D7}" dt="2022-06-29T17:33:14.544" v="329" actId="478"/>
          <ac:grpSpMkLst>
            <pc:docMk/>
            <pc:sldMk cId="374825654" sldId="2147470206"/>
            <ac:grpSpMk id="17" creationId="{3DBB6A02-B3FC-3ED9-7B5E-38EC5F3C59E2}"/>
          </ac:grpSpMkLst>
        </pc:grpChg>
        <pc:grpChg chg="del mod">
          <ac:chgData name="Dan Moore" userId="432a1231-f1bc-48da-b3ef-5b1092c905eb" providerId="ADAL" clId="{CBB518F1-6B10-4061-BD79-9045FC6529D7}" dt="2022-06-29T17:33:14.544" v="329" actId="478"/>
          <ac:grpSpMkLst>
            <pc:docMk/>
            <pc:sldMk cId="374825654" sldId="2147470206"/>
            <ac:grpSpMk id="26" creationId="{44EF7EBC-86F2-7A0E-3F23-CEEA7C53FAEC}"/>
          </ac:grpSpMkLst>
        </pc:grpChg>
        <pc:grpChg chg="del mod">
          <ac:chgData name="Dan Moore" userId="432a1231-f1bc-48da-b3ef-5b1092c905eb" providerId="ADAL" clId="{CBB518F1-6B10-4061-BD79-9045FC6529D7}" dt="2022-06-29T17:46:12.028" v="572" actId="165"/>
          <ac:grpSpMkLst>
            <pc:docMk/>
            <pc:sldMk cId="374825654" sldId="2147470206"/>
            <ac:grpSpMk id="29" creationId="{501A9386-3E71-DA8F-358C-FDD0C1648B4C}"/>
          </ac:grpSpMkLst>
        </pc:grpChg>
        <pc:grpChg chg="del mod">
          <ac:chgData name="Dan Moore" userId="432a1231-f1bc-48da-b3ef-5b1092c905eb" providerId="ADAL" clId="{CBB518F1-6B10-4061-BD79-9045FC6529D7}" dt="2022-06-29T17:39:51.793" v="406" actId="165"/>
          <ac:grpSpMkLst>
            <pc:docMk/>
            <pc:sldMk cId="374825654" sldId="2147470206"/>
            <ac:grpSpMk id="34" creationId="{C30827CF-AB5E-756E-DDD0-94EA2B911A3D}"/>
          </ac:grpSpMkLst>
        </pc:grpChg>
        <pc:grpChg chg="del mod">
          <ac:chgData name="Dan Moore" userId="432a1231-f1bc-48da-b3ef-5b1092c905eb" providerId="ADAL" clId="{CBB518F1-6B10-4061-BD79-9045FC6529D7}" dt="2022-06-29T17:41:28.141" v="440" actId="478"/>
          <ac:grpSpMkLst>
            <pc:docMk/>
            <pc:sldMk cId="374825654" sldId="2147470206"/>
            <ac:grpSpMk id="36" creationId="{973DBE82-A1F7-1F64-E7ED-DF26E6BD816C}"/>
          </ac:grpSpMkLst>
        </pc:grpChg>
        <pc:grpChg chg="del mod">
          <ac:chgData name="Dan Moore" userId="432a1231-f1bc-48da-b3ef-5b1092c905eb" providerId="ADAL" clId="{CBB518F1-6B10-4061-BD79-9045FC6529D7}" dt="2022-06-29T17:42:56.158" v="494" actId="478"/>
          <ac:grpSpMkLst>
            <pc:docMk/>
            <pc:sldMk cId="374825654" sldId="2147470206"/>
            <ac:grpSpMk id="40" creationId="{B0197706-FFCE-5C10-663A-B8555DB21FF3}"/>
          </ac:grpSpMkLst>
        </pc:grpChg>
        <pc:grpChg chg="del mod">
          <ac:chgData name="Dan Moore" userId="432a1231-f1bc-48da-b3ef-5b1092c905eb" providerId="ADAL" clId="{CBB518F1-6B10-4061-BD79-9045FC6529D7}" dt="2022-06-29T17:43:05.756" v="496" actId="478"/>
          <ac:grpSpMkLst>
            <pc:docMk/>
            <pc:sldMk cId="374825654" sldId="2147470206"/>
            <ac:grpSpMk id="44" creationId="{DB57364E-89C8-B307-68CF-0EE8F1570820}"/>
          </ac:grpSpMkLst>
        </pc:grpChg>
        <pc:grpChg chg="del mod">
          <ac:chgData name="Dan Moore" userId="432a1231-f1bc-48da-b3ef-5b1092c905eb" providerId="ADAL" clId="{CBB518F1-6B10-4061-BD79-9045FC6529D7}" dt="2022-06-29T17:43:36.176" v="511" actId="478"/>
          <ac:grpSpMkLst>
            <pc:docMk/>
            <pc:sldMk cId="374825654" sldId="2147470206"/>
            <ac:grpSpMk id="48" creationId="{6F3A0026-45C3-B6FA-2C3B-FA16417672A3}"/>
          </ac:grpSpMkLst>
        </pc:grpChg>
        <pc:grpChg chg="del mod">
          <ac:chgData name="Dan Moore" userId="432a1231-f1bc-48da-b3ef-5b1092c905eb" providerId="ADAL" clId="{CBB518F1-6B10-4061-BD79-9045FC6529D7}" dt="2022-06-29T17:43:55.208" v="523" actId="478"/>
          <ac:grpSpMkLst>
            <pc:docMk/>
            <pc:sldMk cId="374825654" sldId="2147470206"/>
            <ac:grpSpMk id="52" creationId="{5E041265-F2BD-3F9C-7EA0-B9712D666BAA}"/>
          </ac:grpSpMkLst>
        </pc:grpChg>
        <pc:grpChg chg="del mod">
          <ac:chgData name="Dan Moore" userId="432a1231-f1bc-48da-b3ef-5b1092c905eb" providerId="ADAL" clId="{CBB518F1-6B10-4061-BD79-9045FC6529D7}" dt="2022-06-29T17:44:22.885" v="535" actId="478"/>
          <ac:grpSpMkLst>
            <pc:docMk/>
            <pc:sldMk cId="374825654" sldId="2147470206"/>
            <ac:grpSpMk id="56" creationId="{6FEDFA48-5D42-F593-E9D0-26F6438C7C5B}"/>
          </ac:grpSpMkLst>
        </pc:grpChg>
        <pc:grpChg chg="add mod">
          <ac:chgData name="Dan Moore" userId="432a1231-f1bc-48da-b3ef-5b1092c905eb" providerId="ADAL" clId="{CBB518F1-6B10-4061-BD79-9045FC6529D7}" dt="2022-06-29T17:58:45.690" v="735" actId="1076"/>
          <ac:grpSpMkLst>
            <pc:docMk/>
            <pc:sldMk cId="374825654" sldId="2147470206"/>
            <ac:grpSpMk id="78" creationId="{A68B6EE4-4212-A1A3-F049-C432CEDB09E6}"/>
          </ac:grpSpMkLst>
        </pc:grpChg>
        <pc:grpChg chg="add mod">
          <ac:chgData name="Dan Moore" userId="432a1231-f1bc-48da-b3ef-5b1092c905eb" providerId="ADAL" clId="{CBB518F1-6B10-4061-BD79-9045FC6529D7}" dt="2022-06-29T17:58:45.690" v="735" actId="1076"/>
          <ac:grpSpMkLst>
            <pc:docMk/>
            <pc:sldMk cId="374825654" sldId="2147470206"/>
            <ac:grpSpMk id="79" creationId="{CBAFF60F-EB81-8A10-31F3-5187C394A407}"/>
          </ac:grpSpMkLst>
        </pc:grpChg>
        <pc:grpChg chg="add mod">
          <ac:chgData name="Dan Moore" userId="432a1231-f1bc-48da-b3ef-5b1092c905eb" providerId="ADAL" clId="{CBB518F1-6B10-4061-BD79-9045FC6529D7}" dt="2022-06-29T17:58:45.690" v="735" actId="1076"/>
          <ac:grpSpMkLst>
            <pc:docMk/>
            <pc:sldMk cId="374825654" sldId="2147470206"/>
            <ac:grpSpMk id="83" creationId="{5081C3C9-32A4-B96C-487D-E5BD656D4C68}"/>
          </ac:grpSpMkLst>
        </pc:grpChg>
        <pc:grpChg chg="add mod">
          <ac:chgData name="Dan Moore" userId="432a1231-f1bc-48da-b3ef-5b1092c905eb" providerId="ADAL" clId="{CBB518F1-6B10-4061-BD79-9045FC6529D7}" dt="2022-06-29T17:42:35.528" v="478" actId="571"/>
          <ac:grpSpMkLst>
            <pc:docMk/>
            <pc:sldMk cId="374825654" sldId="2147470206"/>
            <ac:grpSpMk id="87" creationId="{B79E9392-429C-793E-5247-5F508B66E71F}"/>
          </ac:grpSpMkLst>
        </pc:grpChg>
        <pc:grpChg chg="add mod">
          <ac:chgData name="Dan Moore" userId="432a1231-f1bc-48da-b3ef-5b1092c905eb" providerId="ADAL" clId="{CBB518F1-6B10-4061-BD79-9045FC6529D7}" dt="2022-06-29T17:58:45.690" v="735" actId="1076"/>
          <ac:grpSpMkLst>
            <pc:docMk/>
            <pc:sldMk cId="374825654" sldId="2147470206"/>
            <ac:grpSpMk id="91" creationId="{E62553BA-D8C7-28E7-3CF0-964FE0673901}"/>
          </ac:grpSpMkLst>
        </pc:grpChg>
        <pc:grpChg chg="add mod">
          <ac:chgData name="Dan Moore" userId="432a1231-f1bc-48da-b3ef-5b1092c905eb" providerId="ADAL" clId="{CBB518F1-6B10-4061-BD79-9045FC6529D7}" dt="2022-06-29T17:58:45.690" v="735" actId="1076"/>
          <ac:grpSpMkLst>
            <pc:docMk/>
            <pc:sldMk cId="374825654" sldId="2147470206"/>
            <ac:grpSpMk id="94" creationId="{713E38EB-4A2F-3A59-5B29-09770630C101}"/>
          </ac:grpSpMkLst>
        </pc:grpChg>
        <pc:grpChg chg="add mod">
          <ac:chgData name="Dan Moore" userId="432a1231-f1bc-48da-b3ef-5b1092c905eb" providerId="ADAL" clId="{CBB518F1-6B10-4061-BD79-9045FC6529D7}" dt="2022-06-29T17:58:45.690" v="735" actId="1076"/>
          <ac:grpSpMkLst>
            <pc:docMk/>
            <pc:sldMk cId="374825654" sldId="2147470206"/>
            <ac:grpSpMk id="98" creationId="{804A50E1-4D21-5F86-4EA8-5053B1579929}"/>
          </ac:grpSpMkLst>
        </pc:grpChg>
        <pc:grpChg chg="add mod">
          <ac:chgData name="Dan Moore" userId="432a1231-f1bc-48da-b3ef-5b1092c905eb" providerId="ADAL" clId="{CBB518F1-6B10-4061-BD79-9045FC6529D7}" dt="2022-06-29T17:44:08.128" v="529" actId="571"/>
          <ac:grpSpMkLst>
            <pc:docMk/>
            <pc:sldMk cId="374825654" sldId="2147470206"/>
            <ac:grpSpMk id="102" creationId="{C399E918-1992-518B-BF01-94104F23C81E}"/>
          </ac:grpSpMkLst>
        </pc:grpChg>
        <pc:grpChg chg="add mod">
          <ac:chgData name="Dan Moore" userId="432a1231-f1bc-48da-b3ef-5b1092c905eb" providerId="ADAL" clId="{CBB518F1-6B10-4061-BD79-9045FC6529D7}" dt="2022-06-29T17:58:45.690" v="735" actId="1076"/>
          <ac:grpSpMkLst>
            <pc:docMk/>
            <pc:sldMk cId="374825654" sldId="2147470206"/>
            <ac:grpSpMk id="107" creationId="{8E7B2847-95D0-7517-1ADD-81ADD241C311}"/>
          </ac:grpSpMkLst>
        </pc:grpChg>
        <pc:picChg chg="del">
          <ac:chgData name="Dan Moore" userId="432a1231-f1bc-48da-b3ef-5b1092c905eb" providerId="ADAL" clId="{CBB518F1-6B10-4061-BD79-9045FC6529D7}" dt="2022-06-29T17:33:14.544" v="329" actId="478"/>
          <ac:picMkLst>
            <pc:docMk/>
            <pc:sldMk cId="374825654" sldId="2147470206"/>
            <ac:picMk id="11" creationId="{43203475-4F4F-C1DF-FD20-025ACEC20B03}"/>
          </ac:picMkLst>
        </pc:picChg>
        <pc:picChg chg="del">
          <ac:chgData name="Dan Moore" userId="432a1231-f1bc-48da-b3ef-5b1092c905eb" providerId="ADAL" clId="{CBB518F1-6B10-4061-BD79-9045FC6529D7}" dt="2022-06-29T17:33:14.544" v="329" actId="478"/>
          <ac:picMkLst>
            <pc:docMk/>
            <pc:sldMk cId="374825654" sldId="2147470206"/>
            <ac:picMk id="12" creationId="{368FFA45-3071-6508-4BC1-EF5B0A5245C4}"/>
          </ac:picMkLst>
        </pc:picChg>
        <pc:picChg chg="add mod">
          <ac:chgData name="Dan Moore" userId="432a1231-f1bc-48da-b3ef-5b1092c905eb" providerId="ADAL" clId="{CBB518F1-6B10-4061-BD79-9045FC6529D7}" dt="2022-06-29T17:45:57.470" v="569" actId="1076"/>
          <ac:picMkLst>
            <pc:docMk/>
            <pc:sldMk cId="374825654" sldId="2147470206"/>
            <ac:picMk id="13" creationId="{3A6FB30C-70E7-41A9-B25D-B302D8502410}"/>
          </ac:picMkLst>
        </pc:picChg>
        <pc:picChg chg="del mod topLvl">
          <ac:chgData name="Dan Moore" userId="432a1231-f1bc-48da-b3ef-5b1092c905eb" providerId="ADAL" clId="{CBB518F1-6B10-4061-BD79-9045FC6529D7}" dt="2022-06-29T17:40:12.564" v="409" actId="478"/>
          <ac:picMkLst>
            <pc:docMk/>
            <pc:sldMk cId="374825654" sldId="2147470206"/>
            <ac:picMk id="31" creationId="{2B92B4FC-6CD3-94CD-4865-800FF6FC2D79}"/>
          </ac:picMkLst>
        </pc:picChg>
        <pc:picChg chg="add mod">
          <ac:chgData name="Dan Moore" userId="432a1231-f1bc-48da-b3ef-5b1092c905eb" providerId="ADAL" clId="{CBB518F1-6B10-4061-BD79-9045FC6529D7}" dt="2022-06-29T17:45:57.470" v="569" actId="1076"/>
          <ac:picMkLst>
            <pc:docMk/>
            <pc:sldMk cId="374825654" sldId="2147470206"/>
            <ac:picMk id="35" creationId="{624561BB-5113-4353-5A37-A54308AC539A}"/>
          </ac:picMkLst>
        </pc:picChg>
        <pc:picChg chg="del">
          <ac:chgData name="Dan Moore" userId="432a1231-f1bc-48da-b3ef-5b1092c905eb" providerId="ADAL" clId="{CBB518F1-6B10-4061-BD79-9045FC6529D7}" dt="2022-06-29T17:33:14.544" v="329" actId="478"/>
          <ac:picMkLst>
            <pc:docMk/>
            <pc:sldMk cId="374825654" sldId="2147470206"/>
            <ac:picMk id="67" creationId="{25AF3324-1C74-780E-2A77-3E767735EB69}"/>
          </ac:picMkLst>
        </pc:picChg>
        <pc:picChg chg="add mod">
          <ac:chgData name="Dan Moore" userId="432a1231-f1bc-48da-b3ef-5b1092c905eb" providerId="ADAL" clId="{CBB518F1-6B10-4061-BD79-9045FC6529D7}" dt="2022-06-29T17:45:57.470" v="569" actId="1076"/>
          <ac:picMkLst>
            <pc:docMk/>
            <pc:sldMk cId="374825654" sldId="2147470206"/>
            <ac:picMk id="69" creationId="{EAC76FD1-1768-81E0-CA59-5AB5DF7EEE2D}"/>
          </ac:picMkLst>
        </pc:picChg>
        <pc:picChg chg="add mod">
          <ac:chgData name="Dan Moore" userId="432a1231-f1bc-48da-b3ef-5b1092c905eb" providerId="ADAL" clId="{CBB518F1-6B10-4061-BD79-9045FC6529D7}" dt="2022-06-29T17:45:57.470" v="569" actId="1076"/>
          <ac:picMkLst>
            <pc:docMk/>
            <pc:sldMk cId="374825654" sldId="2147470206"/>
            <ac:picMk id="71" creationId="{0DCF24D3-1766-8DD6-1EEF-B0338CCFCF31}"/>
          </ac:picMkLst>
        </pc:picChg>
        <pc:picChg chg="add mod">
          <ac:chgData name="Dan Moore" userId="432a1231-f1bc-48da-b3ef-5b1092c905eb" providerId="ADAL" clId="{CBB518F1-6B10-4061-BD79-9045FC6529D7}" dt="2022-06-29T17:45:57.470" v="569" actId="1076"/>
          <ac:picMkLst>
            <pc:docMk/>
            <pc:sldMk cId="374825654" sldId="2147470206"/>
            <ac:picMk id="73" creationId="{3C8272A0-B211-41F3-A8ED-ADC707F94B08}"/>
          </ac:picMkLst>
        </pc:picChg>
        <pc:picChg chg="add mod ord">
          <ac:chgData name="Dan Moore" userId="432a1231-f1bc-48da-b3ef-5b1092c905eb" providerId="ADAL" clId="{CBB518F1-6B10-4061-BD79-9045FC6529D7}" dt="2022-06-29T17:41:35.542" v="443" actId="164"/>
          <ac:picMkLst>
            <pc:docMk/>
            <pc:sldMk cId="374825654" sldId="2147470206"/>
            <ac:picMk id="75" creationId="{F8F322F5-6919-D1AD-5843-97A7D2D2FFC7}"/>
          </ac:picMkLst>
        </pc:picChg>
        <pc:picChg chg="add mod">
          <ac:chgData name="Dan Moore" userId="432a1231-f1bc-48da-b3ef-5b1092c905eb" providerId="ADAL" clId="{CBB518F1-6B10-4061-BD79-9045FC6529D7}" dt="2022-06-29T17:41:32.834" v="442" actId="571"/>
          <ac:picMkLst>
            <pc:docMk/>
            <pc:sldMk cId="374825654" sldId="2147470206"/>
            <ac:picMk id="77" creationId="{E2338E73-1ED5-68BD-BBFF-F443C398839C}"/>
          </ac:picMkLst>
        </pc:picChg>
        <pc:picChg chg="mod">
          <ac:chgData name="Dan Moore" userId="432a1231-f1bc-48da-b3ef-5b1092c905eb" providerId="ADAL" clId="{CBB518F1-6B10-4061-BD79-9045FC6529D7}" dt="2022-06-29T17:41:38.845" v="444" actId="571"/>
          <ac:picMkLst>
            <pc:docMk/>
            <pc:sldMk cId="374825654" sldId="2147470206"/>
            <ac:picMk id="80" creationId="{55A234CB-3A88-ADA7-B459-F17C20511C44}"/>
          </ac:picMkLst>
        </pc:picChg>
        <pc:picChg chg="mod">
          <ac:chgData name="Dan Moore" userId="432a1231-f1bc-48da-b3ef-5b1092c905eb" providerId="ADAL" clId="{CBB518F1-6B10-4061-BD79-9045FC6529D7}" dt="2022-06-29T17:42:25.885" v="475" actId="571"/>
          <ac:picMkLst>
            <pc:docMk/>
            <pc:sldMk cId="374825654" sldId="2147470206"/>
            <ac:picMk id="84" creationId="{86F51C9E-0BAC-B71D-2294-6F978D01F94D}"/>
          </ac:picMkLst>
        </pc:picChg>
        <pc:picChg chg="mod">
          <ac:chgData name="Dan Moore" userId="432a1231-f1bc-48da-b3ef-5b1092c905eb" providerId="ADAL" clId="{CBB518F1-6B10-4061-BD79-9045FC6529D7}" dt="2022-06-29T17:42:35.528" v="478" actId="571"/>
          <ac:picMkLst>
            <pc:docMk/>
            <pc:sldMk cId="374825654" sldId="2147470206"/>
            <ac:picMk id="88" creationId="{FDE2E4E5-4AEB-CFA3-84E6-B6A120A38696}"/>
          </ac:picMkLst>
        </pc:picChg>
        <pc:picChg chg="mod">
          <ac:chgData name="Dan Moore" userId="432a1231-f1bc-48da-b3ef-5b1092c905eb" providerId="ADAL" clId="{CBB518F1-6B10-4061-BD79-9045FC6529D7}" dt="2022-06-29T17:43:10.285" v="497" actId="571"/>
          <ac:picMkLst>
            <pc:docMk/>
            <pc:sldMk cId="374825654" sldId="2147470206"/>
            <ac:picMk id="92" creationId="{00AC4135-56B9-76D9-0C48-93F236CA2991}"/>
          </ac:picMkLst>
        </pc:picChg>
        <pc:picChg chg="mod">
          <ac:chgData name="Dan Moore" userId="432a1231-f1bc-48da-b3ef-5b1092c905eb" providerId="ADAL" clId="{CBB518F1-6B10-4061-BD79-9045FC6529D7}" dt="2022-06-29T17:43:38.621" v="512" actId="571"/>
          <ac:picMkLst>
            <pc:docMk/>
            <pc:sldMk cId="374825654" sldId="2147470206"/>
            <ac:picMk id="95" creationId="{2E33BC3A-C1DC-9E04-21DC-9F35FC62AE99}"/>
          </ac:picMkLst>
        </pc:picChg>
        <pc:picChg chg="mod">
          <ac:chgData name="Dan Moore" userId="432a1231-f1bc-48da-b3ef-5b1092c905eb" providerId="ADAL" clId="{CBB518F1-6B10-4061-BD79-9045FC6529D7}" dt="2022-06-29T17:43:57.729" v="524" actId="571"/>
          <ac:picMkLst>
            <pc:docMk/>
            <pc:sldMk cId="374825654" sldId="2147470206"/>
            <ac:picMk id="99" creationId="{BA4941B4-4968-BDD2-836E-9B3C6B644428}"/>
          </ac:picMkLst>
        </pc:picChg>
        <pc:picChg chg="mod">
          <ac:chgData name="Dan Moore" userId="432a1231-f1bc-48da-b3ef-5b1092c905eb" providerId="ADAL" clId="{CBB518F1-6B10-4061-BD79-9045FC6529D7}" dt="2022-06-29T17:44:08.128" v="529" actId="571"/>
          <ac:picMkLst>
            <pc:docMk/>
            <pc:sldMk cId="374825654" sldId="2147470206"/>
            <ac:picMk id="103" creationId="{6841810C-CFB5-98F8-CA57-DE009F0A1A57}"/>
          </ac:picMkLst>
        </pc:picChg>
        <pc:picChg chg="mod">
          <ac:chgData name="Dan Moore" userId="432a1231-f1bc-48da-b3ef-5b1092c905eb" providerId="ADAL" clId="{CBB518F1-6B10-4061-BD79-9045FC6529D7}" dt="2022-06-29T17:44:25.814" v="536" actId="571"/>
          <ac:picMkLst>
            <pc:docMk/>
            <pc:sldMk cId="374825654" sldId="2147470206"/>
            <ac:picMk id="108" creationId="{9C897EAA-3498-B09D-F513-F0DD7D122A9D}"/>
          </ac:picMkLst>
        </pc:picChg>
      </pc:sldChg>
      <pc:sldChg chg="addSp modSp mod modClrScheme chgLayout">
        <pc:chgData name="Dan Moore" userId="432a1231-f1bc-48da-b3ef-5b1092c905eb" providerId="ADAL" clId="{CBB518F1-6B10-4061-BD79-9045FC6529D7}" dt="2022-06-29T17:31:38.678" v="325" actId="700"/>
        <pc:sldMkLst>
          <pc:docMk/>
          <pc:sldMk cId="3637099010" sldId="2147470207"/>
        </pc:sldMkLst>
        <pc:spChg chg="add mod ord">
          <ac:chgData name="Dan Moore" userId="432a1231-f1bc-48da-b3ef-5b1092c905eb" providerId="ADAL" clId="{CBB518F1-6B10-4061-BD79-9045FC6529D7}" dt="2022-06-29T17:31:38.678" v="325" actId="700"/>
          <ac:spMkLst>
            <pc:docMk/>
            <pc:sldMk cId="3637099010" sldId="2147470207"/>
            <ac:spMk id="2" creationId="{5EEF6381-94BC-758E-019B-73659EA30BDE}"/>
          </ac:spMkLst>
        </pc:spChg>
      </pc:sldChg>
      <pc:sldChg chg="addSp delSp modSp add mod modAnim">
        <pc:chgData name="Dan Moore" userId="432a1231-f1bc-48da-b3ef-5b1092c905eb" providerId="ADAL" clId="{CBB518F1-6B10-4061-BD79-9045FC6529D7}" dt="2022-06-29T17:28:44.354" v="297" actId="403"/>
        <pc:sldMkLst>
          <pc:docMk/>
          <pc:sldMk cId="3056651168" sldId="2147470208"/>
        </pc:sldMkLst>
        <pc:spChg chg="mod">
          <ac:chgData name="Dan Moore" userId="432a1231-f1bc-48da-b3ef-5b1092c905eb" providerId="ADAL" clId="{CBB518F1-6B10-4061-BD79-9045FC6529D7}" dt="2022-06-29T17:25:56.515" v="195" actId="20577"/>
          <ac:spMkLst>
            <pc:docMk/>
            <pc:sldMk cId="3056651168" sldId="2147470208"/>
            <ac:spMk id="2" creationId="{57727CAB-7ED5-4F44-B836-5F34557054E3}"/>
          </ac:spMkLst>
        </pc:spChg>
        <pc:spChg chg="add del mod">
          <ac:chgData name="Dan Moore" userId="432a1231-f1bc-48da-b3ef-5b1092c905eb" providerId="ADAL" clId="{CBB518F1-6B10-4061-BD79-9045FC6529D7}" dt="2022-06-29T17:26:41.861" v="217"/>
          <ac:spMkLst>
            <pc:docMk/>
            <pc:sldMk cId="3056651168" sldId="2147470208"/>
            <ac:spMk id="8" creationId="{BC5B48EA-68B3-F65B-E098-FDEF3F5419F0}"/>
          </ac:spMkLst>
        </pc:spChg>
        <pc:spChg chg="del">
          <ac:chgData name="Dan Moore" userId="432a1231-f1bc-48da-b3ef-5b1092c905eb" providerId="ADAL" clId="{CBB518F1-6B10-4061-BD79-9045FC6529D7}" dt="2022-06-29T17:25:29.387" v="166" actId="478"/>
          <ac:spMkLst>
            <pc:docMk/>
            <pc:sldMk cId="3056651168" sldId="2147470208"/>
            <ac:spMk id="10" creationId="{99298A79-25E0-F1D2-CFED-03E13B63CBC0}"/>
          </ac:spMkLst>
        </pc:spChg>
        <pc:spChg chg="mod">
          <ac:chgData name="Dan Moore" userId="432a1231-f1bc-48da-b3ef-5b1092c905eb" providerId="ADAL" clId="{CBB518F1-6B10-4061-BD79-9045FC6529D7}" dt="2022-06-29T17:25:30.312" v="167"/>
          <ac:spMkLst>
            <pc:docMk/>
            <pc:sldMk cId="3056651168" sldId="2147470208"/>
            <ac:spMk id="14" creationId="{2467383D-B66C-37F2-F330-1F7C91027387}"/>
          </ac:spMkLst>
        </pc:spChg>
        <pc:spChg chg="add del mod">
          <ac:chgData name="Dan Moore" userId="432a1231-f1bc-48da-b3ef-5b1092c905eb" providerId="ADAL" clId="{CBB518F1-6B10-4061-BD79-9045FC6529D7}" dt="2022-06-29T17:26:41.863" v="219"/>
          <ac:spMkLst>
            <pc:docMk/>
            <pc:sldMk cId="3056651168" sldId="2147470208"/>
            <ac:spMk id="15" creationId="{2846D01F-1054-4C44-FAFD-2265934EC943}"/>
          </ac:spMkLst>
        </pc:spChg>
        <pc:spChg chg="mod">
          <ac:chgData name="Dan Moore" userId="432a1231-f1bc-48da-b3ef-5b1092c905eb" providerId="ADAL" clId="{CBB518F1-6B10-4061-BD79-9045FC6529D7}" dt="2022-06-29T17:25:30.312" v="167"/>
          <ac:spMkLst>
            <pc:docMk/>
            <pc:sldMk cId="3056651168" sldId="2147470208"/>
            <ac:spMk id="20" creationId="{2C80311A-30DF-2167-7437-FC0F7FCED261}"/>
          </ac:spMkLst>
        </pc:spChg>
        <pc:spChg chg="add del mod">
          <ac:chgData name="Dan Moore" userId="432a1231-f1bc-48da-b3ef-5b1092c905eb" providerId="ADAL" clId="{CBB518F1-6B10-4061-BD79-9045FC6529D7}" dt="2022-06-29T17:26:41.863" v="221"/>
          <ac:spMkLst>
            <pc:docMk/>
            <pc:sldMk cId="3056651168" sldId="2147470208"/>
            <ac:spMk id="21" creationId="{4BABC8C2-8E78-F958-BF6C-3D94313B539B}"/>
          </ac:spMkLst>
        </pc:spChg>
        <pc:spChg chg="mod">
          <ac:chgData name="Dan Moore" userId="432a1231-f1bc-48da-b3ef-5b1092c905eb" providerId="ADAL" clId="{CBB518F1-6B10-4061-BD79-9045FC6529D7}" dt="2022-06-29T17:25:30.312" v="167"/>
          <ac:spMkLst>
            <pc:docMk/>
            <pc:sldMk cId="3056651168" sldId="2147470208"/>
            <ac:spMk id="26" creationId="{98E75FFC-8538-598A-4658-6B658EF6F3A1}"/>
          </ac:spMkLst>
        </pc:spChg>
        <pc:spChg chg="add del mod">
          <ac:chgData name="Dan Moore" userId="432a1231-f1bc-48da-b3ef-5b1092c905eb" providerId="ADAL" clId="{CBB518F1-6B10-4061-BD79-9045FC6529D7}" dt="2022-06-29T17:26:41.853" v="215" actId="478"/>
          <ac:spMkLst>
            <pc:docMk/>
            <pc:sldMk cId="3056651168" sldId="2147470208"/>
            <ac:spMk id="27" creationId="{F878A24D-C3B7-E2A2-15C3-A2B4A5BFAFEA}"/>
          </ac:spMkLst>
        </pc:spChg>
        <pc:spChg chg="mod">
          <ac:chgData name="Dan Moore" userId="432a1231-f1bc-48da-b3ef-5b1092c905eb" providerId="ADAL" clId="{CBB518F1-6B10-4061-BD79-9045FC6529D7}" dt="2022-06-29T17:25:30.312" v="167"/>
          <ac:spMkLst>
            <pc:docMk/>
            <pc:sldMk cId="3056651168" sldId="2147470208"/>
            <ac:spMk id="32" creationId="{C73E5D2B-84E5-EE13-7C59-0AA1D4A78EE3}"/>
          </ac:spMkLst>
        </pc:spChg>
        <pc:spChg chg="mod">
          <ac:chgData name="Dan Moore" userId="432a1231-f1bc-48da-b3ef-5b1092c905eb" providerId="ADAL" clId="{CBB518F1-6B10-4061-BD79-9045FC6529D7}" dt="2022-06-29T17:27:19.111" v="255" actId="1076"/>
          <ac:spMkLst>
            <pc:docMk/>
            <pc:sldMk cId="3056651168" sldId="2147470208"/>
            <ac:spMk id="56" creationId="{146FA103-B4B7-4315-BE9F-97E8CB6391EA}"/>
          </ac:spMkLst>
        </pc:spChg>
        <pc:grpChg chg="add del mod">
          <ac:chgData name="Dan Moore" userId="432a1231-f1bc-48da-b3ef-5b1092c905eb" providerId="ADAL" clId="{CBB518F1-6B10-4061-BD79-9045FC6529D7}" dt="2022-06-29T17:26:21.334" v="201" actId="478"/>
          <ac:grpSpMkLst>
            <pc:docMk/>
            <pc:sldMk cId="3056651168" sldId="2147470208"/>
            <ac:grpSpMk id="9" creationId="{572F36A8-AA9D-FC74-74A1-8EA47C900398}"/>
          </ac:grpSpMkLst>
        </pc:grpChg>
        <pc:grpChg chg="mod">
          <ac:chgData name="Dan Moore" userId="432a1231-f1bc-48da-b3ef-5b1092c905eb" providerId="ADAL" clId="{CBB518F1-6B10-4061-BD79-9045FC6529D7}" dt="2022-06-29T17:25:30.312" v="167"/>
          <ac:grpSpMkLst>
            <pc:docMk/>
            <pc:sldMk cId="3056651168" sldId="2147470208"/>
            <ac:grpSpMk id="11" creationId="{7DCC43FB-C091-EB79-C610-A27A540EF3DC}"/>
          </ac:grpSpMkLst>
        </pc:grpChg>
        <pc:grpChg chg="add del mod">
          <ac:chgData name="Dan Moore" userId="432a1231-f1bc-48da-b3ef-5b1092c905eb" providerId="ADAL" clId="{CBB518F1-6B10-4061-BD79-9045FC6529D7}" dt="2022-06-29T17:26:22.204" v="202" actId="478"/>
          <ac:grpSpMkLst>
            <pc:docMk/>
            <pc:sldMk cId="3056651168" sldId="2147470208"/>
            <ac:grpSpMk id="16" creationId="{4937C97E-142F-E9CF-B23F-0741DCF5CC5E}"/>
          </ac:grpSpMkLst>
        </pc:grpChg>
        <pc:grpChg chg="mod">
          <ac:chgData name="Dan Moore" userId="432a1231-f1bc-48da-b3ef-5b1092c905eb" providerId="ADAL" clId="{CBB518F1-6B10-4061-BD79-9045FC6529D7}" dt="2022-06-29T17:25:30.312" v="167"/>
          <ac:grpSpMkLst>
            <pc:docMk/>
            <pc:sldMk cId="3056651168" sldId="2147470208"/>
            <ac:grpSpMk id="17" creationId="{0E43C5A9-3818-41CA-0BF4-601F2FF6D0F9}"/>
          </ac:grpSpMkLst>
        </pc:grpChg>
        <pc:grpChg chg="add del mod">
          <ac:chgData name="Dan Moore" userId="432a1231-f1bc-48da-b3ef-5b1092c905eb" providerId="ADAL" clId="{CBB518F1-6B10-4061-BD79-9045FC6529D7}" dt="2022-06-29T17:26:23.183" v="203" actId="478"/>
          <ac:grpSpMkLst>
            <pc:docMk/>
            <pc:sldMk cId="3056651168" sldId="2147470208"/>
            <ac:grpSpMk id="22" creationId="{C9B6DC51-CD4F-156A-4213-F51ACE991347}"/>
          </ac:grpSpMkLst>
        </pc:grpChg>
        <pc:grpChg chg="mod">
          <ac:chgData name="Dan Moore" userId="432a1231-f1bc-48da-b3ef-5b1092c905eb" providerId="ADAL" clId="{CBB518F1-6B10-4061-BD79-9045FC6529D7}" dt="2022-06-29T17:25:30.312" v="167"/>
          <ac:grpSpMkLst>
            <pc:docMk/>
            <pc:sldMk cId="3056651168" sldId="2147470208"/>
            <ac:grpSpMk id="23" creationId="{DD95083D-447C-EB11-08FC-BDC3842B7651}"/>
          </ac:grpSpMkLst>
        </pc:grpChg>
        <pc:grpChg chg="add del mod">
          <ac:chgData name="Dan Moore" userId="432a1231-f1bc-48da-b3ef-5b1092c905eb" providerId="ADAL" clId="{CBB518F1-6B10-4061-BD79-9045FC6529D7}" dt="2022-06-29T17:26:23.564" v="204" actId="478"/>
          <ac:grpSpMkLst>
            <pc:docMk/>
            <pc:sldMk cId="3056651168" sldId="2147470208"/>
            <ac:grpSpMk id="28" creationId="{3177CE25-DEB4-9A28-1D2C-FAB9EEEC5084}"/>
          </ac:grpSpMkLst>
        </pc:grpChg>
        <pc:grpChg chg="mod">
          <ac:chgData name="Dan Moore" userId="432a1231-f1bc-48da-b3ef-5b1092c905eb" providerId="ADAL" clId="{CBB518F1-6B10-4061-BD79-9045FC6529D7}" dt="2022-06-29T17:25:30.312" v="167"/>
          <ac:grpSpMkLst>
            <pc:docMk/>
            <pc:sldMk cId="3056651168" sldId="2147470208"/>
            <ac:grpSpMk id="29" creationId="{F5B01D02-AA5C-3489-DD4F-A155C6481161}"/>
          </ac:grpSpMkLst>
        </pc:grpChg>
        <pc:graphicFrameChg chg="add mod modGraphic">
          <ac:chgData name="Dan Moore" userId="432a1231-f1bc-48da-b3ef-5b1092c905eb" providerId="ADAL" clId="{CBB518F1-6B10-4061-BD79-9045FC6529D7}" dt="2022-06-29T17:28:44.354" v="297" actId="403"/>
          <ac:graphicFrameMkLst>
            <pc:docMk/>
            <pc:sldMk cId="3056651168" sldId="2147470208"/>
            <ac:graphicFrameMk id="7" creationId="{100E8D3C-2D36-449A-54D4-C52CD6ABDBDF}"/>
          </ac:graphicFrameMkLst>
        </pc:graphicFrameChg>
        <pc:graphicFrameChg chg="del">
          <ac:chgData name="Dan Moore" userId="432a1231-f1bc-48da-b3ef-5b1092c905eb" providerId="ADAL" clId="{CBB518F1-6B10-4061-BD79-9045FC6529D7}" dt="2022-06-29T17:25:27.281" v="165" actId="478"/>
          <ac:graphicFrameMkLst>
            <pc:docMk/>
            <pc:sldMk cId="3056651168" sldId="2147470208"/>
            <ac:graphicFrameMk id="106" creationId="{8C5E9EAA-F71F-468D-BB73-9EED122E4074}"/>
          </ac:graphicFrameMkLst>
        </pc:graphicFrameChg>
        <pc:graphicFrameChg chg="del">
          <ac:chgData name="Dan Moore" userId="432a1231-f1bc-48da-b3ef-5b1092c905eb" providerId="ADAL" clId="{CBB518F1-6B10-4061-BD79-9045FC6529D7}" dt="2022-06-29T17:25:27.281" v="165" actId="478"/>
          <ac:graphicFrameMkLst>
            <pc:docMk/>
            <pc:sldMk cId="3056651168" sldId="2147470208"/>
            <ac:graphicFrameMk id="163" creationId="{20F65DE7-C412-4D1C-A725-59AACF6D7971}"/>
          </ac:graphicFrameMkLst>
        </pc:graphicFrameChg>
        <pc:picChg chg="mod">
          <ac:chgData name="Dan Moore" userId="432a1231-f1bc-48da-b3ef-5b1092c905eb" providerId="ADAL" clId="{CBB518F1-6B10-4061-BD79-9045FC6529D7}" dt="2022-06-29T17:25:30.312" v="167"/>
          <ac:picMkLst>
            <pc:docMk/>
            <pc:sldMk cId="3056651168" sldId="2147470208"/>
            <ac:picMk id="12" creationId="{C1981E84-9286-2BC0-B885-8A0B2CE9C912}"/>
          </ac:picMkLst>
        </pc:picChg>
        <pc:picChg chg="mod">
          <ac:chgData name="Dan Moore" userId="432a1231-f1bc-48da-b3ef-5b1092c905eb" providerId="ADAL" clId="{CBB518F1-6B10-4061-BD79-9045FC6529D7}" dt="2022-06-29T17:25:30.312" v="167"/>
          <ac:picMkLst>
            <pc:docMk/>
            <pc:sldMk cId="3056651168" sldId="2147470208"/>
            <ac:picMk id="13" creationId="{F159606E-C4AF-2D90-DAEB-193574C548A2}"/>
          </ac:picMkLst>
        </pc:picChg>
        <pc:picChg chg="mod">
          <ac:chgData name="Dan Moore" userId="432a1231-f1bc-48da-b3ef-5b1092c905eb" providerId="ADAL" clId="{CBB518F1-6B10-4061-BD79-9045FC6529D7}" dt="2022-06-29T17:25:30.312" v="167"/>
          <ac:picMkLst>
            <pc:docMk/>
            <pc:sldMk cId="3056651168" sldId="2147470208"/>
            <ac:picMk id="18" creationId="{AF6D569D-EBA4-4350-EEA8-327F4F47D9B0}"/>
          </ac:picMkLst>
        </pc:picChg>
        <pc:picChg chg="mod">
          <ac:chgData name="Dan Moore" userId="432a1231-f1bc-48da-b3ef-5b1092c905eb" providerId="ADAL" clId="{CBB518F1-6B10-4061-BD79-9045FC6529D7}" dt="2022-06-29T17:25:30.312" v="167"/>
          <ac:picMkLst>
            <pc:docMk/>
            <pc:sldMk cId="3056651168" sldId="2147470208"/>
            <ac:picMk id="19" creationId="{270CCC05-5C53-9D5C-94B9-9E5078D83978}"/>
          </ac:picMkLst>
        </pc:picChg>
        <pc:picChg chg="mod">
          <ac:chgData name="Dan Moore" userId="432a1231-f1bc-48da-b3ef-5b1092c905eb" providerId="ADAL" clId="{CBB518F1-6B10-4061-BD79-9045FC6529D7}" dt="2022-06-29T17:25:30.312" v="167"/>
          <ac:picMkLst>
            <pc:docMk/>
            <pc:sldMk cId="3056651168" sldId="2147470208"/>
            <ac:picMk id="24" creationId="{39BF3D6A-3125-B909-9552-99DFE13BBB44}"/>
          </ac:picMkLst>
        </pc:picChg>
        <pc:picChg chg="mod">
          <ac:chgData name="Dan Moore" userId="432a1231-f1bc-48da-b3ef-5b1092c905eb" providerId="ADAL" clId="{CBB518F1-6B10-4061-BD79-9045FC6529D7}" dt="2022-06-29T17:25:30.312" v="167"/>
          <ac:picMkLst>
            <pc:docMk/>
            <pc:sldMk cId="3056651168" sldId="2147470208"/>
            <ac:picMk id="25" creationId="{0377E4EE-F1EB-4602-F843-586561ADC8B7}"/>
          </ac:picMkLst>
        </pc:picChg>
        <pc:picChg chg="mod">
          <ac:chgData name="Dan Moore" userId="432a1231-f1bc-48da-b3ef-5b1092c905eb" providerId="ADAL" clId="{CBB518F1-6B10-4061-BD79-9045FC6529D7}" dt="2022-06-29T17:25:30.312" v="167"/>
          <ac:picMkLst>
            <pc:docMk/>
            <pc:sldMk cId="3056651168" sldId="2147470208"/>
            <ac:picMk id="30" creationId="{64936B0C-9C46-0E6D-A9B7-ADBB7F993C62}"/>
          </ac:picMkLst>
        </pc:picChg>
        <pc:picChg chg="mod">
          <ac:chgData name="Dan Moore" userId="432a1231-f1bc-48da-b3ef-5b1092c905eb" providerId="ADAL" clId="{CBB518F1-6B10-4061-BD79-9045FC6529D7}" dt="2022-06-29T17:25:30.312" v="167"/>
          <ac:picMkLst>
            <pc:docMk/>
            <pc:sldMk cId="3056651168" sldId="2147470208"/>
            <ac:picMk id="31" creationId="{30954B68-131E-1675-C073-4F30E4C77DF8}"/>
          </ac:picMkLst>
        </pc:picChg>
      </pc:sldChg>
      <pc:sldChg chg="addSp modSp add mod modTransition modAnim">
        <pc:chgData name="Dan Moore" userId="432a1231-f1bc-48da-b3ef-5b1092c905eb" providerId="ADAL" clId="{CBB518F1-6B10-4061-BD79-9045FC6529D7}" dt="2022-06-29T18:04:07.804" v="777"/>
        <pc:sldMkLst>
          <pc:docMk/>
          <pc:sldMk cId="3113079371" sldId="2147470209"/>
        </pc:sldMkLst>
        <pc:spChg chg="mod">
          <ac:chgData name="Dan Moore" userId="432a1231-f1bc-48da-b3ef-5b1092c905eb" providerId="ADAL" clId="{CBB518F1-6B10-4061-BD79-9045FC6529D7}" dt="2022-06-29T18:00:38.575" v="749" actId="1076"/>
          <ac:spMkLst>
            <pc:docMk/>
            <pc:sldMk cId="3113079371" sldId="2147470209"/>
            <ac:spMk id="22" creationId="{B067B45C-1B9E-4189-A86E-8D9058D48519}"/>
          </ac:spMkLst>
        </pc:spChg>
        <pc:spChg chg="mod">
          <ac:chgData name="Dan Moore" userId="432a1231-f1bc-48da-b3ef-5b1092c905eb" providerId="ADAL" clId="{CBB518F1-6B10-4061-BD79-9045FC6529D7}" dt="2022-06-29T18:00:23.072" v="746" actId="1076"/>
          <ac:spMkLst>
            <pc:docMk/>
            <pc:sldMk cId="3113079371" sldId="2147470209"/>
            <ac:spMk id="23" creationId="{4D4BB0DC-7FF5-4641-943D-8D6BA03107BC}"/>
          </ac:spMkLst>
        </pc:spChg>
        <pc:spChg chg="mod">
          <ac:chgData name="Dan Moore" userId="432a1231-f1bc-48da-b3ef-5b1092c905eb" providerId="ADAL" clId="{CBB518F1-6B10-4061-BD79-9045FC6529D7}" dt="2022-06-29T18:00:38.575" v="749" actId="1076"/>
          <ac:spMkLst>
            <pc:docMk/>
            <pc:sldMk cId="3113079371" sldId="2147470209"/>
            <ac:spMk id="35" creationId="{0A57F3E4-090E-4B5B-87C4-6D6084DEA3A8}"/>
          </ac:spMkLst>
        </pc:spChg>
        <pc:spChg chg="mod">
          <ac:chgData name="Dan Moore" userId="432a1231-f1bc-48da-b3ef-5b1092c905eb" providerId="ADAL" clId="{CBB518F1-6B10-4061-BD79-9045FC6529D7}" dt="2022-06-29T18:00:38.575" v="749" actId="1076"/>
          <ac:spMkLst>
            <pc:docMk/>
            <pc:sldMk cId="3113079371" sldId="2147470209"/>
            <ac:spMk id="36" creationId="{492D2A3F-BDD8-4778-AF19-61BAFA5899C6}"/>
          </ac:spMkLst>
        </pc:spChg>
        <pc:spChg chg="mod">
          <ac:chgData name="Dan Moore" userId="432a1231-f1bc-48da-b3ef-5b1092c905eb" providerId="ADAL" clId="{CBB518F1-6B10-4061-BD79-9045FC6529D7}" dt="2022-06-29T18:00:38.575" v="749" actId="1076"/>
          <ac:spMkLst>
            <pc:docMk/>
            <pc:sldMk cId="3113079371" sldId="2147470209"/>
            <ac:spMk id="37" creationId="{F6DC337C-0B50-453A-B91C-A37A54A67A24}"/>
          </ac:spMkLst>
        </pc:spChg>
        <pc:spChg chg="mod">
          <ac:chgData name="Dan Moore" userId="432a1231-f1bc-48da-b3ef-5b1092c905eb" providerId="ADAL" clId="{CBB518F1-6B10-4061-BD79-9045FC6529D7}" dt="2022-06-29T18:00:38.575" v="749" actId="1076"/>
          <ac:spMkLst>
            <pc:docMk/>
            <pc:sldMk cId="3113079371" sldId="2147470209"/>
            <ac:spMk id="38" creationId="{48BC8BE9-F239-4FD4-B96B-D8AA63943F74}"/>
          </ac:spMkLst>
        </pc:spChg>
        <pc:spChg chg="mod">
          <ac:chgData name="Dan Moore" userId="432a1231-f1bc-48da-b3ef-5b1092c905eb" providerId="ADAL" clId="{CBB518F1-6B10-4061-BD79-9045FC6529D7}" dt="2022-06-29T18:00:38.575" v="749" actId="1076"/>
          <ac:spMkLst>
            <pc:docMk/>
            <pc:sldMk cId="3113079371" sldId="2147470209"/>
            <ac:spMk id="39" creationId="{F0CC75D3-C331-480D-995E-3112BDC6824F}"/>
          </ac:spMkLst>
        </pc:spChg>
        <pc:spChg chg="mod">
          <ac:chgData name="Dan Moore" userId="432a1231-f1bc-48da-b3ef-5b1092c905eb" providerId="ADAL" clId="{CBB518F1-6B10-4061-BD79-9045FC6529D7}" dt="2022-06-29T18:00:38.575" v="749" actId="1076"/>
          <ac:spMkLst>
            <pc:docMk/>
            <pc:sldMk cId="3113079371" sldId="2147470209"/>
            <ac:spMk id="40" creationId="{8EB72829-36F9-46EE-AE71-C008A2746356}"/>
          </ac:spMkLst>
        </pc:spChg>
        <pc:spChg chg="mod">
          <ac:chgData name="Dan Moore" userId="432a1231-f1bc-48da-b3ef-5b1092c905eb" providerId="ADAL" clId="{CBB518F1-6B10-4061-BD79-9045FC6529D7}" dt="2022-06-29T18:00:38.575" v="749" actId="1076"/>
          <ac:spMkLst>
            <pc:docMk/>
            <pc:sldMk cId="3113079371" sldId="2147470209"/>
            <ac:spMk id="41" creationId="{E5DF2BDB-C1B3-4570-8B04-07D61769DFC7}"/>
          </ac:spMkLst>
        </pc:spChg>
        <pc:spChg chg="mod">
          <ac:chgData name="Dan Moore" userId="432a1231-f1bc-48da-b3ef-5b1092c905eb" providerId="ADAL" clId="{CBB518F1-6B10-4061-BD79-9045FC6529D7}" dt="2022-06-29T18:00:38.575" v="749" actId="1076"/>
          <ac:spMkLst>
            <pc:docMk/>
            <pc:sldMk cId="3113079371" sldId="2147470209"/>
            <ac:spMk id="42" creationId="{778EA793-F9D8-4F25-8DC6-75E4CD3F21A9}"/>
          </ac:spMkLst>
        </pc:spChg>
        <pc:spChg chg="mod">
          <ac:chgData name="Dan Moore" userId="432a1231-f1bc-48da-b3ef-5b1092c905eb" providerId="ADAL" clId="{CBB518F1-6B10-4061-BD79-9045FC6529D7}" dt="2022-06-29T18:00:38.575" v="749" actId="1076"/>
          <ac:spMkLst>
            <pc:docMk/>
            <pc:sldMk cId="3113079371" sldId="2147470209"/>
            <ac:spMk id="43" creationId="{6342B032-EA6C-4977-A4B6-763DBDBE07C1}"/>
          </ac:spMkLst>
        </pc:spChg>
        <pc:spChg chg="mod">
          <ac:chgData name="Dan Moore" userId="432a1231-f1bc-48da-b3ef-5b1092c905eb" providerId="ADAL" clId="{CBB518F1-6B10-4061-BD79-9045FC6529D7}" dt="2022-06-29T18:00:38.575" v="749" actId="1076"/>
          <ac:spMkLst>
            <pc:docMk/>
            <pc:sldMk cId="3113079371" sldId="2147470209"/>
            <ac:spMk id="44" creationId="{3EB76548-90AC-487F-A9A4-8427F89C9A39}"/>
          </ac:spMkLst>
        </pc:spChg>
        <pc:spChg chg="mod">
          <ac:chgData name="Dan Moore" userId="432a1231-f1bc-48da-b3ef-5b1092c905eb" providerId="ADAL" clId="{CBB518F1-6B10-4061-BD79-9045FC6529D7}" dt="2022-06-29T18:00:38.575" v="749" actId="1076"/>
          <ac:spMkLst>
            <pc:docMk/>
            <pc:sldMk cId="3113079371" sldId="2147470209"/>
            <ac:spMk id="45" creationId="{9025D55B-3F42-4708-8ADB-824C79A24135}"/>
          </ac:spMkLst>
        </pc:spChg>
        <pc:spChg chg="mod">
          <ac:chgData name="Dan Moore" userId="432a1231-f1bc-48da-b3ef-5b1092c905eb" providerId="ADAL" clId="{CBB518F1-6B10-4061-BD79-9045FC6529D7}" dt="2022-06-29T18:00:38.575" v="749" actId="1076"/>
          <ac:spMkLst>
            <pc:docMk/>
            <pc:sldMk cId="3113079371" sldId="2147470209"/>
            <ac:spMk id="46" creationId="{C278688A-36E0-4CFA-A590-840B6C8AD020}"/>
          </ac:spMkLst>
        </pc:spChg>
        <pc:spChg chg="mod">
          <ac:chgData name="Dan Moore" userId="432a1231-f1bc-48da-b3ef-5b1092c905eb" providerId="ADAL" clId="{CBB518F1-6B10-4061-BD79-9045FC6529D7}" dt="2022-06-29T18:00:38.575" v="749" actId="1076"/>
          <ac:spMkLst>
            <pc:docMk/>
            <pc:sldMk cId="3113079371" sldId="2147470209"/>
            <ac:spMk id="47" creationId="{48678C07-4CC2-4110-9692-FB677D5FD11E}"/>
          </ac:spMkLst>
        </pc:spChg>
        <pc:spChg chg="mod">
          <ac:chgData name="Dan Moore" userId="432a1231-f1bc-48da-b3ef-5b1092c905eb" providerId="ADAL" clId="{CBB518F1-6B10-4061-BD79-9045FC6529D7}" dt="2022-06-29T18:00:38.575" v="749" actId="1076"/>
          <ac:spMkLst>
            <pc:docMk/>
            <pc:sldMk cId="3113079371" sldId="2147470209"/>
            <ac:spMk id="48" creationId="{A0476DDF-E6C4-4632-9E27-62F5FD8D5E9E}"/>
          </ac:spMkLst>
        </pc:spChg>
        <pc:spChg chg="mod">
          <ac:chgData name="Dan Moore" userId="432a1231-f1bc-48da-b3ef-5b1092c905eb" providerId="ADAL" clId="{CBB518F1-6B10-4061-BD79-9045FC6529D7}" dt="2022-06-29T18:00:38.575" v="749" actId="1076"/>
          <ac:spMkLst>
            <pc:docMk/>
            <pc:sldMk cId="3113079371" sldId="2147470209"/>
            <ac:spMk id="49" creationId="{D81F06D7-A9CD-4FCF-8169-E61D7BDC28AF}"/>
          </ac:spMkLst>
        </pc:spChg>
        <pc:spChg chg="mod">
          <ac:chgData name="Dan Moore" userId="432a1231-f1bc-48da-b3ef-5b1092c905eb" providerId="ADAL" clId="{CBB518F1-6B10-4061-BD79-9045FC6529D7}" dt="2022-06-29T18:00:38.575" v="749" actId="1076"/>
          <ac:spMkLst>
            <pc:docMk/>
            <pc:sldMk cId="3113079371" sldId="2147470209"/>
            <ac:spMk id="50" creationId="{3E69BDAF-4336-4CBE-8F21-A9662B74D654}"/>
          </ac:spMkLst>
        </pc:spChg>
        <pc:spChg chg="mod">
          <ac:chgData name="Dan Moore" userId="432a1231-f1bc-48da-b3ef-5b1092c905eb" providerId="ADAL" clId="{CBB518F1-6B10-4061-BD79-9045FC6529D7}" dt="2022-06-29T18:00:38.575" v="749" actId="1076"/>
          <ac:spMkLst>
            <pc:docMk/>
            <pc:sldMk cId="3113079371" sldId="2147470209"/>
            <ac:spMk id="51" creationId="{02AF2F6C-8FD7-4BF8-9B24-440BED3FA2C5}"/>
          </ac:spMkLst>
        </pc:spChg>
        <pc:spChg chg="mod">
          <ac:chgData name="Dan Moore" userId="432a1231-f1bc-48da-b3ef-5b1092c905eb" providerId="ADAL" clId="{CBB518F1-6B10-4061-BD79-9045FC6529D7}" dt="2022-06-29T18:00:38.575" v="749" actId="1076"/>
          <ac:spMkLst>
            <pc:docMk/>
            <pc:sldMk cId="3113079371" sldId="2147470209"/>
            <ac:spMk id="52" creationId="{A4CBD18F-441A-4C27-8A10-E9BD22CC1271}"/>
          </ac:spMkLst>
        </pc:spChg>
        <pc:spChg chg="mod">
          <ac:chgData name="Dan Moore" userId="432a1231-f1bc-48da-b3ef-5b1092c905eb" providerId="ADAL" clId="{CBB518F1-6B10-4061-BD79-9045FC6529D7}" dt="2022-06-29T18:00:38.575" v="749" actId="1076"/>
          <ac:spMkLst>
            <pc:docMk/>
            <pc:sldMk cId="3113079371" sldId="2147470209"/>
            <ac:spMk id="53" creationId="{888A6A2F-D95C-4895-B866-9E7F7C280FCA}"/>
          </ac:spMkLst>
        </pc:spChg>
        <pc:spChg chg="mod">
          <ac:chgData name="Dan Moore" userId="432a1231-f1bc-48da-b3ef-5b1092c905eb" providerId="ADAL" clId="{CBB518F1-6B10-4061-BD79-9045FC6529D7}" dt="2022-06-29T18:00:38.575" v="749" actId="1076"/>
          <ac:spMkLst>
            <pc:docMk/>
            <pc:sldMk cId="3113079371" sldId="2147470209"/>
            <ac:spMk id="54" creationId="{5A893374-30A3-4A22-8A97-5303C96024E6}"/>
          </ac:spMkLst>
        </pc:spChg>
        <pc:spChg chg="mod">
          <ac:chgData name="Dan Moore" userId="432a1231-f1bc-48da-b3ef-5b1092c905eb" providerId="ADAL" clId="{CBB518F1-6B10-4061-BD79-9045FC6529D7}" dt="2022-06-29T18:01:06.816" v="756" actId="1076"/>
          <ac:spMkLst>
            <pc:docMk/>
            <pc:sldMk cId="3113079371" sldId="2147470209"/>
            <ac:spMk id="55" creationId="{81A60990-B7AC-45F5-9C52-DAF2976E07DF}"/>
          </ac:spMkLst>
        </pc:spChg>
        <pc:spChg chg="add mod">
          <ac:chgData name="Dan Moore" userId="432a1231-f1bc-48da-b3ef-5b1092c905eb" providerId="ADAL" clId="{CBB518F1-6B10-4061-BD79-9045FC6529D7}" dt="2022-06-29T18:00:40.680" v="750" actId="1076"/>
          <ac:spMkLst>
            <pc:docMk/>
            <pc:sldMk cId="3113079371" sldId="2147470209"/>
            <ac:spMk id="56" creationId="{480D113D-7F84-7809-DBD7-8452AB4B7444}"/>
          </ac:spMkLst>
        </pc:spChg>
        <pc:spChg chg="add mod">
          <ac:chgData name="Dan Moore" userId="432a1231-f1bc-48da-b3ef-5b1092c905eb" providerId="ADAL" clId="{CBB518F1-6B10-4061-BD79-9045FC6529D7}" dt="2022-06-29T18:00:34.898" v="748" actId="1076"/>
          <ac:spMkLst>
            <pc:docMk/>
            <pc:sldMk cId="3113079371" sldId="2147470209"/>
            <ac:spMk id="57" creationId="{72D97143-BB94-AE25-281E-939FE4EF22C7}"/>
          </ac:spMkLst>
        </pc:spChg>
        <pc:spChg chg="add mod">
          <ac:chgData name="Dan Moore" userId="432a1231-f1bc-48da-b3ef-5b1092c905eb" providerId="ADAL" clId="{CBB518F1-6B10-4061-BD79-9045FC6529D7}" dt="2022-06-29T18:00:32.022" v="747" actId="1076"/>
          <ac:spMkLst>
            <pc:docMk/>
            <pc:sldMk cId="3113079371" sldId="2147470209"/>
            <ac:spMk id="58" creationId="{1C9408A2-5BE8-1D06-5BF3-0CBB2E9917AE}"/>
          </ac:spMkLst>
        </pc:spChg>
        <pc:spChg chg="add mod">
          <ac:chgData name="Dan Moore" userId="432a1231-f1bc-48da-b3ef-5b1092c905eb" providerId="ADAL" clId="{CBB518F1-6B10-4061-BD79-9045FC6529D7}" dt="2022-06-29T18:00:53.709" v="754" actId="20577"/>
          <ac:spMkLst>
            <pc:docMk/>
            <pc:sldMk cId="3113079371" sldId="2147470209"/>
            <ac:spMk id="59" creationId="{64AFC64D-ABD7-A4BB-BC40-FE64F8642660}"/>
          </ac:spMkLst>
        </pc:spChg>
        <pc:spChg chg="mod">
          <ac:chgData name="Dan Moore" userId="432a1231-f1bc-48da-b3ef-5b1092c905eb" providerId="ADAL" clId="{CBB518F1-6B10-4061-BD79-9045FC6529D7}" dt="2022-06-29T18:00:12.967" v="744"/>
          <ac:spMkLst>
            <pc:docMk/>
            <pc:sldMk cId="3113079371" sldId="2147470209"/>
            <ac:spMk id="61" creationId="{F4AE877F-0374-D156-327A-BFA6F970D0AC}"/>
          </ac:spMkLst>
        </pc:spChg>
        <pc:spChg chg="mod">
          <ac:chgData name="Dan Moore" userId="432a1231-f1bc-48da-b3ef-5b1092c905eb" providerId="ADAL" clId="{CBB518F1-6B10-4061-BD79-9045FC6529D7}" dt="2022-06-29T18:00:12.967" v="744"/>
          <ac:spMkLst>
            <pc:docMk/>
            <pc:sldMk cId="3113079371" sldId="2147470209"/>
            <ac:spMk id="62" creationId="{0922BBD6-77FD-87A1-A418-F0AFD3A9C297}"/>
          </ac:spMkLst>
        </pc:spChg>
        <pc:spChg chg="mod">
          <ac:chgData name="Dan Moore" userId="432a1231-f1bc-48da-b3ef-5b1092c905eb" providerId="ADAL" clId="{CBB518F1-6B10-4061-BD79-9045FC6529D7}" dt="2022-06-29T18:00:12.967" v="744"/>
          <ac:spMkLst>
            <pc:docMk/>
            <pc:sldMk cId="3113079371" sldId="2147470209"/>
            <ac:spMk id="63" creationId="{28AF465A-1B5B-CB30-4F85-74EAFB2AB7E0}"/>
          </ac:spMkLst>
        </pc:spChg>
        <pc:spChg chg="mod">
          <ac:chgData name="Dan Moore" userId="432a1231-f1bc-48da-b3ef-5b1092c905eb" providerId="ADAL" clId="{CBB518F1-6B10-4061-BD79-9045FC6529D7}" dt="2022-06-29T18:00:12.967" v="744"/>
          <ac:spMkLst>
            <pc:docMk/>
            <pc:sldMk cId="3113079371" sldId="2147470209"/>
            <ac:spMk id="64" creationId="{52260901-0310-AD01-2E13-79761312A986}"/>
          </ac:spMkLst>
        </pc:spChg>
        <pc:spChg chg="mod">
          <ac:chgData name="Dan Moore" userId="432a1231-f1bc-48da-b3ef-5b1092c905eb" providerId="ADAL" clId="{CBB518F1-6B10-4061-BD79-9045FC6529D7}" dt="2022-06-29T18:00:12.967" v="744"/>
          <ac:spMkLst>
            <pc:docMk/>
            <pc:sldMk cId="3113079371" sldId="2147470209"/>
            <ac:spMk id="65" creationId="{32F560A1-C542-D2E0-5E39-59544A199DAB}"/>
          </ac:spMkLst>
        </pc:spChg>
        <pc:spChg chg="mod">
          <ac:chgData name="Dan Moore" userId="432a1231-f1bc-48da-b3ef-5b1092c905eb" providerId="ADAL" clId="{CBB518F1-6B10-4061-BD79-9045FC6529D7}" dt="2022-06-29T18:00:12.967" v="744"/>
          <ac:spMkLst>
            <pc:docMk/>
            <pc:sldMk cId="3113079371" sldId="2147470209"/>
            <ac:spMk id="66" creationId="{C4899EF4-6969-ED23-4535-6C5A144E17D4}"/>
          </ac:spMkLst>
        </pc:spChg>
        <pc:spChg chg="mod">
          <ac:chgData name="Dan Moore" userId="432a1231-f1bc-48da-b3ef-5b1092c905eb" providerId="ADAL" clId="{CBB518F1-6B10-4061-BD79-9045FC6529D7}" dt="2022-06-29T18:00:12.967" v="744"/>
          <ac:spMkLst>
            <pc:docMk/>
            <pc:sldMk cId="3113079371" sldId="2147470209"/>
            <ac:spMk id="67" creationId="{215CC6F3-E8CD-8262-02D8-D3F159BF43F3}"/>
          </ac:spMkLst>
        </pc:spChg>
        <pc:spChg chg="mod">
          <ac:chgData name="Dan Moore" userId="432a1231-f1bc-48da-b3ef-5b1092c905eb" providerId="ADAL" clId="{CBB518F1-6B10-4061-BD79-9045FC6529D7}" dt="2022-06-29T18:00:23.072" v="746" actId="1076"/>
          <ac:spMkLst>
            <pc:docMk/>
            <pc:sldMk cId="3113079371" sldId="2147470209"/>
            <ac:spMk id="74" creationId="{1C0A80AC-0E6B-4122-8F2D-97C11FF90003}"/>
          </ac:spMkLst>
        </pc:spChg>
        <pc:spChg chg="mod">
          <ac:chgData name="Dan Moore" userId="432a1231-f1bc-48da-b3ef-5b1092c905eb" providerId="ADAL" clId="{CBB518F1-6B10-4061-BD79-9045FC6529D7}" dt="2022-06-29T18:00:23.072" v="746" actId="1076"/>
          <ac:spMkLst>
            <pc:docMk/>
            <pc:sldMk cId="3113079371" sldId="2147470209"/>
            <ac:spMk id="75" creationId="{17E3BC53-BF33-4BC6-8ABB-9B4D3E097AA8}"/>
          </ac:spMkLst>
        </pc:spChg>
        <pc:spChg chg="mod">
          <ac:chgData name="Dan Moore" userId="432a1231-f1bc-48da-b3ef-5b1092c905eb" providerId="ADAL" clId="{CBB518F1-6B10-4061-BD79-9045FC6529D7}" dt="2022-06-29T18:00:23.072" v="746" actId="1076"/>
          <ac:spMkLst>
            <pc:docMk/>
            <pc:sldMk cId="3113079371" sldId="2147470209"/>
            <ac:spMk id="76" creationId="{70352267-66EF-439B-B2BC-E3238DC6C2E7}"/>
          </ac:spMkLst>
        </pc:spChg>
        <pc:spChg chg="mod">
          <ac:chgData name="Dan Moore" userId="432a1231-f1bc-48da-b3ef-5b1092c905eb" providerId="ADAL" clId="{CBB518F1-6B10-4061-BD79-9045FC6529D7}" dt="2022-06-29T18:00:23.072" v="746" actId="1076"/>
          <ac:spMkLst>
            <pc:docMk/>
            <pc:sldMk cId="3113079371" sldId="2147470209"/>
            <ac:spMk id="77" creationId="{421B6D89-4E53-4887-A59A-0C1F71F5CD3C}"/>
          </ac:spMkLst>
        </pc:spChg>
        <pc:spChg chg="mod">
          <ac:chgData name="Dan Moore" userId="432a1231-f1bc-48da-b3ef-5b1092c905eb" providerId="ADAL" clId="{CBB518F1-6B10-4061-BD79-9045FC6529D7}" dt="2022-06-29T18:00:23.072" v="746" actId="1076"/>
          <ac:spMkLst>
            <pc:docMk/>
            <pc:sldMk cId="3113079371" sldId="2147470209"/>
            <ac:spMk id="78" creationId="{56D041BE-8DE9-422A-8207-4A594D96F4AD}"/>
          </ac:spMkLst>
        </pc:spChg>
        <pc:spChg chg="mod">
          <ac:chgData name="Dan Moore" userId="432a1231-f1bc-48da-b3ef-5b1092c905eb" providerId="ADAL" clId="{CBB518F1-6B10-4061-BD79-9045FC6529D7}" dt="2022-06-29T18:00:23.072" v="746" actId="1076"/>
          <ac:spMkLst>
            <pc:docMk/>
            <pc:sldMk cId="3113079371" sldId="2147470209"/>
            <ac:spMk id="79" creationId="{1B9B160B-3B24-4FCB-8692-F2E3800737EE}"/>
          </ac:spMkLst>
        </pc:spChg>
        <pc:spChg chg="mod">
          <ac:chgData name="Dan Moore" userId="432a1231-f1bc-48da-b3ef-5b1092c905eb" providerId="ADAL" clId="{CBB518F1-6B10-4061-BD79-9045FC6529D7}" dt="2022-06-29T18:00:23.072" v="746" actId="1076"/>
          <ac:spMkLst>
            <pc:docMk/>
            <pc:sldMk cId="3113079371" sldId="2147470209"/>
            <ac:spMk id="80" creationId="{BBD68869-068E-4477-8A1F-4A9F499B1B30}"/>
          </ac:spMkLst>
        </pc:spChg>
        <pc:spChg chg="mod">
          <ac:chgData name="Dan Moore" userId="432a1231-f1bc-48da-b3ef-5b1092c905eb" providerId="ADAL" clId="{CBB518F1-6B10-4061-BD79-9045FC6529D7}" dt="2022-06-29T18:00:23.072" v="746" actId="1076"/>
          <ac:spMkLst>
            <pc:docMk/>
            <pc:sldMk cId="3113079371" sldId="2147470209"/>
            <ac:spMk id="81" creationId="{A665A361-FA8C-48F7-9BB6-A6600D9FAF90}"/>
          </ac:spMkLst>
        </pc:spChg>
        <pc:spChg chg="mod">
          <ac:chgData name="Dan Moore" userId="432a1231-f1bc-48da-b3ef-5b1092c905eb" providerId="ADAL" clId="{CBB518F1-6B10-4061-BD79-9045FC6529D7}" dt="2022-06-29T18:00:23.072" v="746" actId="1076"/>
          <ac:spMkLst>
            <pc:docMk/>
            <pc:sldMk cId="3113079371" sldId="2147470209"/>
            <ac:spMk id="82" creationId="{53BCF912-599F-4F7B-9596-92CDE8BBFFA4}"/>
          </ac:spMkLst>
        </pc:spChg>
        <pc:spChg chg="mod">
          <ac:chgData name="Dan Moore" userId="432a1231-f1bc-48da-b3ef-5b1092c905eb" providerId="ADAL" clId="{CBB518F1-6B10-4061-BD79-9045FC6529D7}" dt="2022-06-29T18:00:23.072" v="746" actId="1076"/>
          <ac:spMkLst>
            <pc:docMk/>
            <pc:sldMk cId="3113079371" sldId="2147470209"/>
            <ac:spMk id="83" creationId="{DFB584EB-EBBA-410D-A910-23B0FA96893A}"/>
          </ac:spMkLst>
        </pc:spChg>
        <pc:spChg chg="mod">
          <ac:chgData name="Dan Moore" userId="432a1231-f1bc-48da-b3ef-5b1092c905eb" providerId="ADAL" clId="{CBB518F1-6B10-4061-BD79-9045FC6529D7}" dt="2022-06-29T18:00:23.072" v="746" actId="1076"/>
          <ac:spMkLst>
            <pc:docMk/>
            <pc:sldMk cId="3113079371" sldId="2147470209"/>
            <ac:spMk id="84" creationId="{F971B62D-2575-4437-847C-DD506838F68D}"/>
          </ac:spMkLst>
        </pc:spChg>
        <pc:spChg chg="mod">
          <ac:chgData name="Dan Moore" userId="432a1231-f1bc-48da-b3ef-5b1092c905eb" providerId="ADAL" clId="{CBB518F1-6B10-4061-BD79-9045FC6529D7}" dt="2022-06-29T18:00:23.072" v="746" actId="1076"/>
          <ac:spMkLst>
            <pc:docMk/>
            <pc:sldMk cId="3113079371" sldId="2147470209"/>
            <ac:spMk id="85" creationId="{6FFF415F-EC00-445F-85DB-F409E7D8DAD2}"/>
          </ac:spMkLst>
        </pc:spChg>
        <pc:spChg chg="mod">
          <ac:chgData name="Dan Moore" userId="432a1231-f1bc-48da-b3ef-5b1092c905eb" providerId="ADAL" clId="{CBB518F1-6B10-4061-BD79-9045FC6529D7}" dt="2022-06-29T18:00:23.072" v="746" actId="1076"/>
          <ac:spMkLst>
            <pc:docMk/>
            <pc:sldMk cId="3113079371" sldId="2147470209"/>
            <ac:spMk id="86" creationId="{83B0A760-4617-44CF-8ED0-76EF48CC8FFA}"/>
          </ac:spMkLst>
        </pc:spChg>
        <pc:spChg chg="mod">
          <ac:chgData name="Dan Moore" userId="432a1231-f1bc-48da-b3ef-5b1092c905eb" providerId="ADAL" clId="{CBB518F1-6B10-4061-BD79-9045FC6529D7}" dt="2022-06-29T18:00:23.072" v="746" actId="1076"/>
          <ac:spMkLst>
            <pc:docMk/>
            <pc:sldMk cId="3113079371" sldId="2147470209"/>
            <ac:spMk id="87" creationId="{A792C1F2-EFE7-4DBA-8C80-E495C16D4A3E}"/>
          </ac:spMkLst>
        </pc:spChg>
        <pc:spChg chg="mod">
          <ac:chgData name="Dan Moore" userId="432a1231-f1bc-48da-b3ef-5b1092c905eb" providerId="ADAL" clId="{CBB518F1-6B10-4061-BD79-9045FC6529D7}" dt="2022-06-29T18:00:23.072" v="746" actId="1076"/>
          <ac:spMkLst>
            <pc:docMk/>
            <pc:sldMk cId="3113079371" sldId="2147470209"/>
            <ac:spMk id="88" creationId="{A27CAC16-694D-4918-8D3E-5CED7FE78BC8}"/>
          </ac:spMkLst>
        </pc:spChg>
        <pc:spChg chg="mod">
          <ac:chgData name="Dan Moore" userId="432a1231-f1bc-48da-b3ef-5b1092c905eb" providerId="ADAL" clId="{CBB518F1-6B10-4061-BD79-9045FC6529D7}" dt="2022-06-29T18:00:23.072" v="746" actId="1076"/>
          <ac:spMkLst>
            <pc:docMk/>
            <pc:sldMk cId="3113079371" sldId="2147470209"/>
            <ac:spMk id="89" creationId="{90A75BD2-E8F0-4834-AD8F-43B2578EC039}"/>
          </ac:spMkLst>
        </pc:spChg>
        <pc:spChg chg="mod">
          <ac:chgData name="Dan Moore" userId="432a1231-f1bc-48da-b3ef-5b1092c905eb" providerId="ADAL" clId="{CBB518F1-6B10-4061-BD79-9045FC6529D7}" dt="2022-06-29T18:00:23.072" v="746" actId="1076"/>
          <ac:spMkLst>
            <pc:docMk/>
            <pc:sldMk cId="3113079371" sldId="2147470209"/>
            <ac:spMk id="90" creationId="{E995AE7F-906C-432B-9934-66E4D2222518}"/>
          </ac:spMkLst>
        </pc:spChg>
        <pc:grpChg chg="mod">
          <ac:chgData name="Dan Moore" userId="432a1231-f1bc-48da-b3ef-5b1092c905eb" providerId="ADAL" clId="{CBB518F1-6B10-4061-BD79-9045FC6529D7}" dt="2022-06-29T18:00:38.575" v="749" actId="1076"/>
          <ac:grpSpMkLst>
            <pc:docMk/>
            <pc:sldMk cId="3113079371" sldId="2147470209"/>
            <ac:grpSpMk id="6" creationId="{AE82C453-F336-4453-8C87-CB6DB82D4646}"/>
          </ac:grpSpMkLst>
        </pc:grpChg>
        <pc:grpChg chg="mod">
          <ac:chgData name="Dan Moore" userId="432a1231-f1bc-48da-b3ef-5b1092c905eb" providerId="ADAL" clId="{CBB518F1-6B10-4061-BD79-9045FC6529D7}" dt="2022-06-29T18:00:23.072" v="746" actId="1076"/>
          <ac:grpSpMkLst>
            <pc:docMk/>
            <pc:sldMk cId="3113079371" sldId="2147470209"/>
            <ac:grpSpMk id="7" creationId="{60EC79D2-59BE-4684-AEE3-8FB3D51CF00F}"/>
          </ac:grpSpMkLst>
        </pc:grpChg>
        <pc:grpChg chg="mod">
          <ac:chgData name="Dan Moore" userId="432a1231-f1bc-48da-b3ef-5b1092c905eb" providerId="ADAL" clId="{CBB518F1-6B10-4061-BD79-9045FC6529D7}" dt="2022-06-29T18:00:38.575" v="749" actId="1076"/>
          <ac:grpSpMkLst>
            <pc:docMk/>
            <pc:sldMk cId="3113079371" sldId="2147470209"/>
            <ac:grpSpMk id="34" creationId="{D0477CC8-46EA-4171-9F11-7D55A1AB8FCE}"/>
          </ac:grpSpMkLst>
        </pc:grpChg>
        <pc:grpChg chg="add mod">
          <ac:chgData name="Dan Moore" userId="432a1231-f1bc-48da-b3ef-5b1092c905eb" providerId="ADAL" clId="{CBB518F1-6B10-4061-BD79-9045FC6529D7}" dt="2022-06-29T18:03:34.320" v="774" actId="1076"/>
          <ac:grpSpMkLst>
            <pc:docMk/>
            <pc:sldMk cId="3113079371" sldId="2147470209"/>
            <ac:grpSpMk id="60" creationId="{C3979B2F-262E-BEEE-0311-83AF12541BAC}"/>
          </ac:grpSpMkLst>
        </pc:grpChg>
        <pc:grpChg chg="mod">
          <ac:chgData name="Dan Moore" userId="432a1231-f1bc-48da-b3ef-5b1092c905eb" providerId="ADAL" clId="{CBB518F1-6B10-4061-BD79-9045FC6529D7}" dt="2022-06-29T18:00:23.072" v="746" actId="1076"/>
          <ac:grpSpMkLst>
            <pc:docMk/>
            <pc:sldMk cId="3113079371" sldId="2147470209"/>
            <ac:grpSpMk id="73" creationId="{C688EDBD-E206-4BF0-98FB-164C60CA2CA8}"/>
          </ac:grpSpMkLst>
        </pc:grpChg>
        <pc:picChg chg="mod">
          <ac:chgData name="Dan Moore" userId="432a1231-f1bc-48da-b3ef-5b1092c905eb" providerId="ADAL" clId="{CBB518F1-6B10-4061-BD79-9045FC6529D7}" dt="2022-06-29T18:00:12.967" v="744"/>
          <ac:picMkLst>
            <pc:docMk/>
            <pc:sldMk cId="3113079371" sldId="2147470209"/>
            <ac:picMk id="68" creationId="{04CE30CD-1CDE-53A5-16FD-41FAC28E60A2}"/>
          </ac:picMkLst>
        </pc:picChg>
      </pc:sldChg>
      <pc:sldChg chg="addSp delSp modSp add mod delAnim modAnim">
        <pc:chgData name="Dan Moore" userId="432a1231-f1bc-48da-b3ef-5b1092c905eb" providerId="ADAL" clId="{CBB518F1-6B10-4061-BD79-9045FC6529D7}" dt="2022-06-29T18:03:50.265" v="775"/>
        <pc:sldMkLst>
          <pc:docMk/>
          <pc:sldMk cId="3873767750" sldId="2147470210"/>
        </pc:sldMkLst>
        <pc:spChg chg="del">
          <ac:chgData name="Dan Moore" userId="432a1231-f1bc-48da-b3ef-5b1092c905eb" providerId="ADAL" clId="{CBB518F1-6B10-4061-BD79-9045FC6529D7}" dt="2022-06-29T18:03:04.888" v="769" actId="478"/>
          <ac:spMkLst>
            <pc:docMk/>
            <pc:sldMk cId="3873767750" sldId="2147470210"/>
            <ac:spMk id="58" creationId="{1C9408A2-5BE8-1D06-5BF3-0CBB2E9917AE}"/>
          </ac:spMkLst>
        </pc:spChg>
        <pc:spChg chg="mod">
          <ac:chgData name="Dan Moore" userId="432a1231-f1bc-48da-b3ef-5b1092c905eb" providerId="ADAL" clId="{CBB518F1-6B10-4061-BD79-9045FC6529D7}" dt="2022-06-29T18:03:06.053" v="770"/>
          <ac:spMkLst>
            <pc:docMk/>
            <pc:sldMk cId="3873767750" sldId="2147470210"/>
            <ac:spMk id="94" creationId="{625AA456-7AB4-E5AD-C8D9-2839685FD5EC}"/>
          </ac:spMkLst>
        </pc:spChg>
        <pc:spChg chg="mod">
          <ac:chgData name="Dan Moore" userId="432a1231-f1bc-48da-b3ef-5b1092c905eb" providerId="ADAL" clId="{CBB518F1-6B10-4061-BD79-9045FC6529D7}" dt="2022-06-29T18:03:06.053" v="770"/>
          <ac:spMkLst>
            <pc:docMk/>
            <pc:sldMk cId="3873767750" sldId="2147470210"/>
            <ac:spMk id="96" creationId="{7D613D48-11FE-054F-0857-D734B2371B9A}"/>
          </ac:spMkLst>
        </pc:spChg>
        <pc:grpChg chg="mod">
          <ac:chgData name="Dan Moore" userId="432a1231-f1bc-48da-b3ef-5b1092c905eb" providerId="ADAL" clId="{CBB518F1-6B10-4061-BD79-9045FC6529D7}" dt="2022-06-29T18:03:14.957" v="772" actId="1076"/>
          <ac:grpSpMkLst>
            <pc:docMk/>
            <pc:sldMk cId="3873767750" sldId="2147470210"/>
            <ac:grpSpMk id="60" creationId="{C3979B2F-262E-BEEE-0311-83AF12541BAC}"/>
          </ac:grpSpMkLst>
        </pc:grpChg>
        <pc:grpChg chg="add mod">
          <ac:chgData name="Dan Moore" userId="432a1231-f1bc-48da-b3ef-5b1092c905eb" providerId="ADAL" clId="{CBB518F1-6B10-4061-BD79-9045FC6529D7}" dt="2022-06-29T18:03:10.465" v="771" actId="1076"/>
          <ac:grpSpMkLst>
            <pc:docMk/>
            <pc:sldMk cId="3873767750" sldId="2147470210"/>
            <ac:grpSpMk id="69" creationId="{F7C946F0-EF83-6D94-1E20-D6679F38A6F4}"/>
          </ac:grpSpMkLst>
        </pc:grpChg>
        <pc:grpChg chg="mod">
          <ac:chgData name="Dan Moore" userId="432a1231-f1bc-48da-b3ef-5b1092c905eb" providerId="ADAL" clId="{CBB518F1-6B10-4061-BD79-9045FC6529D7}" dt="2022-06-29T18:03:06.053" v="770"/>
          <ac:grpSpMkLst>
            <pc:docMk/>
            <pc:sldMk cId="3873767750" sldId="2147470210"/>
            <ac:grpSpMk id="71" creationId="{DF628189-BA7E-D397-2D0C-3C1DD160DB3B}"/>
          </ac:grpSpMkLst>
        </pc:grpChg>
        <pc:grpChg chg="mod">
          <ac:chgData name="Dan Moore" userId="432a1231-f1bc-48da-b3ef-5b1092c905eb" providerId="ADAL" clId="{CBB518F1-6B10-4061-BD79-9045FC6529D7}" dt="2022-06-29T18:03:06.053" v="770"/>
          <ac:grpSpMkLst>
            <pc:docMk/>
            <pc:sldMk cId="3873767750" sldId="2147470210"/>
            <ac:grpSpMk id="72" creationId="{B89C0353-5885-5BA0-891F-BFFCFFAF89B5}"/>
          </ac:grpSpMkLst>
        </pc:grpChg>
        <pc:grpChg chg="mod">
          <ac:chgData name="Dan Moore" userId="432a1231-f1bc-48da-b3ef-5b1092c905eb" providerId="ADAL" clId="{CBB518F1-6B10-4061-BD79-9045FC6529D7}" dt="2022-06-29T18:03:06.053" v="770"/>
          <ac:grpSpMkLst>
            <pc:docMk/>
            <pc:sldMk cId="3873767750" sldId="2147470210"/>
            <ac:grpSpMk id="91" creationId="{097E0C51-3C52-C832-85C3-B319AFDFD3D6}"/>
          </ac:grpSpMkLst>
        </pc:grpChg>
        <pc:grpChg chg="mod">
          <ac:chgData name="Dan Moore" userId="432a1231-f1bc-48da-b3ef-5b1092c905eb" providerId="ADAL" clId="{CBB518F1-6B10-4061-BD79-9045FC6529D7}" dt="2022-06-29T18:03:06.053" v="770"/>
          <ac:grpSpMkLst>
            <pc:docMk/>
            <pc:sldMk cId="3873767750" sldId="2147470210"/>
            <ac:grpSpMk id="92" creationId="{0F3C6B7D-595A-8EA8-859F-1DAC2384E8B5}"/>
          </ac:grpSpMkLst>
        </pc:grpChg>
        <pc:picChg chg="mod">
          <ac:chgData name="Dan Moore" userId="432a1231-f1bc-48da-b3ef-5b1092c905eb" providerId="ADAL" clId="{CBB518F1-6B10-4061-BD79-9045FC6529D7}" dt="2022-06-29T18:03:06.053" v="770"/>
          <ac:picMkLst>
            <pc:docMk/>
            <pc:sldMk cId="3873767750" sldId="2147470210"/>
            <ac:picMk id="70" creationId="{DCC914DD-9296-10B5-EE33-F861E1BDC8C5}"/>
          </ac:picMkLst>
        </pc:picChg>
        <pc:picChg chg="mod">
          <ac:chgData name="Dan Moore" userId="432a1231-f1bc-48da-b3ef-5b1092c905eb" providerId="ADAL" clId="{CBB518F1-6B10-4061-BD79-9045FC6529D7}" dt="2022-06-29T18:03:06.053" v="770"/>
          <ac:picMkLst>
            <pc:docMk/>
            <pc:sldMk cId="3873767750" sldId="2147470210"/>
            <ac:picMk id="93" creationId="{05D3328E-9B5E-3549-95F4-6B74A4BC755A}"/>
          </ac:picMkLst>
        </pc:picChg>
        <pc:picChg chg="mod">
          <ac:chgData name="Dan Moore" userId="432a1231-f1bc-48da-b3ef-5b1092c905eb" providerId="ADAL" clId="{CBB518F1-6B10-4061-BD79-9045FC6529D7}" dt="2022-06-29T18:03:06.053" v="770"/>
          <ac:picMkLst>
            <pc:docMk/>
            <pc:sldMk cId="3873767750" sldId="2147470210"/>
            <ac:picMk id="95" creationId="{7FA55D21-0717-C80A-B8A8-852135623D46}"/>
          </ac:picMkLst>
        </pc:picChg>
        <pc:picChg chg="mod">
          <ac:chgData name="Dan Moore" userId="432a1231-f1bc-48da-b3ef-5b1092c905eb" providerId="ADAL" clId="{CBB518F1-6B10-4061-BD79-9045FC6529D7}" dt="2022-06-29T18:03:06.053" v="770"/>
          <ac:picMkLst>
            <pc:docMk/>
            <pc:sldMk cId="3873767750" sldId="2147470210"/>
            <ac:picMk id="97" creationId="{29C044D0-F6C0-E3BA-AAF0-A34F29BFE95A}"/>
          </ac:picMkLst>
        </pc:picChg>
        <pc:picChg chg="mod">
          <ac:chgData name="Dan Moore" userId="432a1231-f1bc-48da-b3ef-5b1092c905eb" providerId="ADAL" clId="{CBB518F1-6B10-4061-BD79-9045FC6529D7}" dt="2022-06-29T18:03:06.053" v="770"/>
          <ac:picMkLst>
            <pc:docMk/>
            <pc:sldMk cId="3873767750" sldId="2147470210"/>
            <ac:picMk id="98" creationId="{9253212E-01C8-EA4B-9C13-516E4937F531}"/>
          </ac:picMkLst>
        </pc:picChg>
        <pc:picChg chg="mod">
          <ac:chgData name="Dan Moore" userId="432a1231-f1bc-48da-b3ef-5b1092c905eb" providerId="ADAL" clId="{CBB518F1-6B10-4061-BD79-9045FC6529D7}" dt="2022-06-29T18:03:06.053" v="770"/>
          <ac:picMkLst>
            <pc:docMk/>
            <pc:sldMk cId="3873767750" sldId="2147470210"/>
            <ac:picMk id="99" creationId="{16508F70-8252-6299-D371-C92480D2CEAF}"/>
          </ac:picMkLst>
        </pc:picChg>
        <pc:picChg chg="mod">
          <ac:chgData name="Dan Moore" userId="432a1231-f1bc-48da-b3ef-5b1092c905eb" providerId="ADAL" clId="{CBB518F1-6B10-4061-BD79-9045FC6529D7}" dt="2022-06-29T18:03:06.053" v="770"/>
          <ac:picMkLst>
            <pc:docMk/>
            <pc:sldMk cId="3873767750" sldId="2147470210"/>
            <ac:picMk id="100" creationId="{B33FE040-AD9F-F883-FD39-30DD72095CB2}"/>
          </ac:picMkLst>
        </pc:picChg>
      </pc:sldChg>
      <pc:sldMasterChg chg="modSp mod">
        <pc:chgData name="Dan Moore" userId="432a1231-f1bc-48da-b3ef-5b1092c905eb" providerId="ADAL" clId="{CBB518F1-6B10-4061-BD79-9045FC6529D7}" dt="2022-06-29T18:20:52.781" v="965" actId="207"/>
        <pc:sldMasterMkLst>
          <pc:docMk/>
          <pc:sldMasterMk cId="4233822947" sldId="2147483660"/>
        </pc:sldMasterMkLst>
        <pc:spChg chg="mod">
          <ac:chgData name="Dan Moore" userId="432a1231-f1bc-48da-b3ef-5b1092c905eb" providerId="ADAL" clId="{CBB518F1-6B10-4061-BD79-9045FC6529D7}" dt="2022-06-29T18:20:52.781" v="965" actId="207"/>
          <ac:spMkLst>
            <pc:docMk/>
            <pc:sldMasterMk cId="4233822947" sldId="2147483660"/>
            <ac:spMk id="10" creationId="{6E86DCB1-5291-0F3E-E83E-10DCE3FA24C5}"/>
          </ac:spMkLst>
        </pc:spChg>
        <pc:picChg chg="mod">
          <ac:chgData name="Dan Moore" userId="432a1231-f1bc-48da-b3ef-5b1092c905eb" providerId="ADAL" clId="{CBB518F1-6B10-4061-BD79-9045FC6529D7}" dt="2022-06-29T18:20:28.750" v="897"/>
          <ac:picMkLst>
            <pc:docMk/>
            <pc:sldMasterMk cId="4233822947" sldId="2147483660"/>
            <ac:picMk id="9" creationId="{CCAA1566-FEF6-2FB3-5DB9-CE3B8DF6C6E2}"/>
          </ac:picMkLst>
        </pc:pic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ales</c:v>
                </c:pt>
              </c:strCache>
            </c:strRef>
          </c:tx>
          <c:spPr>
            <a:ln>
              <a:noFill/>
            </a:ln>
          </c:spPr>
          <c:explosion val="10"/>
          <c:dPt>
            <c:idx val="0"/>
            <c:bubble3D val="0"/>
            <c:explosion val="0"/>
            <c:spPr>
              <a:solidFill>
                <a:srgbClr val="FF9027"/>
              </a:solidFill>
              <a:ln w="25400">
                <a:noFill/>
              </a:ln>
              <a:effectLst/>
              <a:sp3d/>
            </c:spPr>
            <c:extLst>
              <c:ext xmlns:c16="http://schemas.microsoft.com/office/drawing/2014/chart" uri="{C3380CC4-5D6E-409C-BE32-E72D297353CC}">
                <c16:uniqueId val="{00000002-B4B0-431A-9921-92FE1606AD61}"/>
              </c:ext>
            </c:extLst>
          </c:dPt>
          <c:dPt>
            <c:idx val="1"/>
            <c:bubble3D val="0"/>
            <c:explosion val="6"/>
            <c:spPr>
              <a:solidFill>
                <a:schemeClr val="tx1">
                  <a:lumMod val="65000"/>
                  <a:lumOff val="35000"/>
                </a:schemeClr>
              </a:solidFill>
              <a:ln w="25400">
                <a:noFill/>
              </a:ln>
              <a:effectLst/>
              <a:sp3d/>
            </c:spPr>
            <c:extLst>
              <c:ext xmlns:c16="http://schemas.microsoft.com/office/drawing/2014/chart" uri="{C3380CC4-5D6E-409C-BE32-E72D297353CC}">
                <c16:uniqueId val="{00000003-B4B0-431A-9921-92FE1606AD61}"/>
              </c:ext>
            </c:extLst>
          </c:dPt>
          <c:dPt>
            <c:idx val="2"/>
            <c:bubble3D val="0"/>
            <c:spPr>
              <a:solidFill>
                <a:schemeClr val="accent3"/>
              </a:solidFill>
              <a:ln w="25400">
                <a:noFill/>
              </a:ln>
              <a:effectLst/>
              <a:sp3d/>
            </c:spPr>
            <c:extLst>
              <c:ext xmlns:c16="http://schemas.microsoft.com/office/drawing/2014/chart" uri="{C3380CC4-5D6E-409C-BE32-E72D297353CC}">
                <c16:uniqueId val="{00000005-620B-453D-97A7-0199A58826B3}"/>
              </c:ext>
            </c:extLst>
          </c:dPt>
          <c:dPt>
            <c:idx val="3"/>
            <c:bubble3D val="0"/>
            <c:spPr>
              <a:solidFill>
                <a:schemeClr val="accent4"/>
              </a:solidFill>
              <a:ln w="25400">
                <a:noFill/>
              </a:ln>
              <a:effectLst/>
              <a:sp3d/>
            </c:spPr>
            <c:extLst>
              <c:ext xmlns:c16="http://schemas.microsoft.com/office/drawing/2014/chart" uri="{C3380CC4-5D6E-409C-BE32-E72D297353CC}">
                <c16:uniqueId val="{00000007-620B-453D-97A7-0199A58826B3}"/>
              </c:ext>
            </c:extLst>
          </c:dPt>
          <c:cat>
            <c:strRef>
              <c:f>Sheet1!$A$2:$A$5</c:f>
              <c:strCache>
                <c:ptCount val="2"/>
                <c:pt idx="0">
                  <c:v> </c:v>
                </c:pt>
                <c:pt idx="1">
                  <c:v> </c:v>
                </c:pt>
              </c:strCache>
            </c:strRef>
          </c:cat>
          <c:val>
            <c:numRef>
              <c:f>Sheet1!$B$2:$B$5</c:f>
              <c:numCache>
                <c:formatCode>General</c:formatCode>
                <c:ptCount val="4"/>
                <c:pt idx="0">
                  <c:v>6</c:v>
                </c:pt>
                <c:pt idx="1">
                  <c:v>4</c:v>
                </c:pt>
              </c:numCache>
            </c:numRef>
          </c:val>
          <c:extLst>
            <c:ext xmlns:c16="http://schemas.microsoft.com/office/drawing/2014/chart" uri="{C3380CC4-5D6E-409C-BE32-E72D297353CC}">
              <c16:uniqueId val="{00000000-B4B0-431A-9921-92FE1606AD61}"/>
            </c:ext>
          </c:extLst>
        </c:ser>
        <c:dLbls>
          <c:showLegendKey val="0"/>
          <c:showVal val="0"/>
          <c:showCatName val="0"/>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ales</c:v>
                </c:pt>
              </c:strCache>
            </c:strRef>
          </c:tx>
          <c:spPr>
            <a:solidFill>
              <a:srgbClr val="008AF2"/>
            </a:solidFill>
            <a:ln>
              <a:noFill/>
            </a:ln>
          </c:spPr>
          <c:explosion val="10"/>
          <c:dPt>
            <c:idx val="0"/>
            <c:bubble3D val="0"/>
            <c:explosion val="0"/>
            <c:spPr>
              <a:solidFill>
                <a:srgbClr val="FF9027"/>
              </a:solidFill>
              <a:ln w="25400">
                <a:noFill/>
              </a:ln>
              <a:effectLst/>
              <a:sp3d/>
            </c:spPr>
            <c:extLst>
              <c:ext xmlns:c16="http://schemas.microsoft.com/office/drawing/2014/chart" uri="{C3380CC4-5D6E-409C-BE32-E72D297353CC}">
                <c16:uniqueId val="{00000002-B4B0-431A-9921-92FE1606AD61}"/>
              </c:ext>
            </c:extLst>
          </c:dPt>
          <c:dPt>
            <c:idx val="1"/>
            <c:bubble3D val="0"/>
            <c:explosion val="23"/>
            <c:spPr>
              <a:solidFill>
                <a:schemeClr val="tx1">
                  <a:lumMod val="65000"/>
                  <a:lumOff val="35000"/>
                </a:schemeClr>
              </a:solidFill>
              <a:ln w="25400">
                <a:noFill/>
              </a:ln>
              <a:effectLst/>
              <a:sp3d/>
            </c:spPr>
            <c:extLst>
              <c:ext xmlns:c16="http://schemas.microsoft.com/office/drawing/2014/chart" uri="{C3380CC4-5D6E-409C-BE32-E72D297353CC}">
                <c16:uniqueId val="{00000003-B4B0-431A-9921-92FE1606AD61}"/>
              </c:ext>
            </c:extLst>
          </c:dPt>
          <c:dPt>
            <c:idx val="2"/>
            <c:bubble3D val="0"/>
            <c:spPr>
              <a:solidFill>
                <a:srgbClr val="008AF2"/>
              </a:solidFill>
              <a:ln w="25400">
                <a:noFill/>
              </a:ln>
              <a:effectLst/>
              <a:sp3d/>
            </c:spPr>
            <c:extLst>
              <c:ext xmlns:c16="http://schemas.microsoft.com/office/drawing/2014/chart" uri="{C3380CC4-5D6E-409C-BE32-E72D297353CC}">
                <c16:uniqueId val="{00000005-DBA7-4E9D-AB31-CD884B6FFFE4}"/>
              </c:ext>
            </c:extLst>
          </c:dPt>
          <c:dPt>
            <c:idx val="3"/>
            <c:bubble3D val="0"/>
            <c:spPr>
              <a:solidFill>
                <a:srgbClr val="008AF2"/>
              </a:solidFill>
              <a:ln w="25400">
                <a:noFill/>
              </a:ln>
              <a:effectLst/>
              <a:sp3d/>
            </c:spPr>
            <c:extLst>
              <c:ext xmlns:c16="http://schemas.microsoft.com/office/drawing/2014/chart" uri="{C3380CC4-5D6E-409C-BE32-E72D297353CC}">
                <c16:uniqueId val="{00000007-DBA7-4E9D-AB31-CD884B6FFFE4}"/>
              </c:ext>
            </c:extLst>
          </c:dPt>
          <c:cat>
            <c:strRef>
              <c:f>Sheet1!$A$2:$A$5</c:f>
              <c:strCache>
                <c:ptCount val="2"/>
                <c:pt idx="0">
                  <c:v> </c:v>
                </c:pt>
                <c:pt idx="1">
                  <c:v> </c:v>
                </c:pt>
              </c:strCache>
            </c:strRef>
          </c:cat>
          <c:val>
            <c:numRef>
              <c:f>Sheet1!$B$2:$B$5</c:f>
              <c:numCache>
                <c:formatCode>General</c:formatCode>
                <c:ptCount val="4"/>
                <c:pt idx="0">
                  <c:v>4</c:v>
                </c:pt>
                <c:pt idx="1">
                  <c:v>26</c:v>
                </c:pt>
              </c:numCache>
            </c:numRef>
          </c:val>
          <c:extLst>
            <c:ext xmlns:c16="http://schemas.microsoft.com/office/drawing/2014/chart" uri="{C3380CC4-5D6E-409C-BE32-E72D297353CC}">
              <c16:uniqueId val="{00000000-B4B0-431A-9921-92FE1606AD61}"/>
            </c:ext>
          </c:extLst>
        </c:ser>
        <c:dLbls>
          <c:showLegendKey val="0"/>
          <c:showVal val="0"/>
          <c:showCatName val="0"/>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ales</c:v>
                </c:pt>
              </c:strCache>
            </c:strRef>
          </c:tx>
          <c:spPr>
            <a:ln>
              <a:noFill/>
            </a:ln>
          </c:spPr>
          <c:explosion val="10"/>
          <c:dPt>
            <c:idx val="0"/>
            <c:bubble3D val="0"/>
            <c:explosion val="0"/>
            <c:spPr>
              <a:solidFill>
                <a:srgbClr val="9AE145"/>
              </a:solidFill>
              <a:ln w="25400">
                <a:noFill/>
              </a:ln>
              <a:effectLst/>
              <a:sp3d/>
            </c:spPr>
            <c:extLst>
              <c:ext xmlns:c16="http://schemas.microsoft.com/office/drawing/2014/chart" uri="{C3380CC4-5D6E-409C-BE32-E72D297353CC}">
                <c16:uniqueId val="{00000002-B4B0-431A-9921-92FE1606AD61}"/>
              </c:ext>
            </c:extLst>
          </c:dPt>
          <c:dPt>
            <c:idx val="1"/>
            <c:bubble3D val="0"/>
            <c:explosion val="6"/>
            <c:spPr>
              <a:solidFill>
                <a:schemeClr val="tx1">
                  <a:lumMod val="65000"/>
                  <a:lumOff val="35000"/>
                </a:schemeClr>
              </a:solidFill>
              <a:ln w="25400">
                <a:noFill/>
              </a:ln>
              <a:effectLst/>
              <a:sp3d/>
            </c:spPr>
            <c:extLst>
              <c:ext xmlns:c16="http://schemas.microsoft.com/office/drawing/2014/chart" uri="{C3380CC4-5D6E-409C-BE32-E72D297353CC}">
                <c16:uniqueId val="{00000003-B4B0-431A-9921-92FE1606AD61}"/>
              </c:ext>
            </c:extLst>
          </c:dPt>
          <c:dPt>
            <c:idx val="2"/>
            <c:bubble3D val="0"/>
            <c:spPr>
              <a:solidFill>
                <a:schemeClr val="accent3"/>
              </a:solidFill>
              <a:ln w="25400">
                <a:noFill/>
              </a:ln>
              <a:effectLst/>
              <a:sp3d/>
            </c:spPr>
            <c:extLst>
              <c:ext xmlns:c16="http://schemas.microsoft.com/office/drawing/2014/chart" uri="{C3380CC4-5D6E-409C-BE32-E72D297353CC}">
                <c16:uniqueId val="{00000005-1276-4ACE-AD49-27D841B57EC2}"/>
              </c:ext>
            </c:extLst>
          </c:dPt>
          <c:dPt>
            <c:idx val="3"/>
            <c:bubble3D val="0"/>
            <c:spPr>
              <a:solidFill>
                <a:schemeClr val="accent4"/>
              </a:solidFill>
              <a:ln w="25400">
                <a:noFill/>
              </a:ln>
              <a:effectLst/>
              <a:sp3d/>
            </c:spPr>
            <c:extLst>
              <c:ext xmlns:c16="http://schemas.microsoft.com/office/drawing/2014/chart" uri="{C3380CC4-5D6E-409C-BE32-E72D297353CC}">
                <c16:uniqueId val="{00000007-1276-4ACE-AD49-27D841B57EC2}"/>
              </c:ext>
            </c:extLst>
          </c:dPt>
          <c:cat>
            <c:strRef>
              <c:f>Sheet1!$A$2:$A$5</c:f>
              <c:strCache>
                <c:ptCount val="2"/>
                <c:pt idx="0">
                  <c:v> </c:v>
                </c:pt>
                <c:pt idx="1">
                  <c:v> </c:v>
                </c:pt>
              </c:strCache>
            </c:strRef>
          </c:cat>
          <c:val>
            <c:numRef>
              <c:f>Sheet1!$B$2:$B$5</c:f>
              <c:numCache>
                <c:formatCode>General</c:formatCode>
                <c:ptCount val="4"/>
                <c:pt idx="0">
                  <c:v>9</c:v>
                </c:pt>
                <c:pt idx="1">
                  <c:v>1</c:v>
                </c:pt>
              </c:numCache>
            </c:numRef>
          </c:val>
          <c:extLst>
            <c:ext xmlns:c16="http://schemas.microsoft.com/office/drawing/2014/chart" uri="{C3380CC4-5D6E-409C-BE32-E72D297353CC}">
              <c16:uniqueId val="{00000000-B4B0-431A-9921-92FE1606AD61}"/>
            </c:ext>
          </c:extLst>
        </c:ser>
        <c:dLbls>
          <c:showLegendKey val="0"/>
          <c:showVal val="0"/>
          <c:showCatName val="0"/>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CD8900D-F0CB-471A-B16A-E61EE42B8A62}" type="datetimeFigureOut">
              <a:rPr lang="en-CA" smtClean="0"/>
              <a:t>2022-07-26</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671826-D444-41AA-9A59-EC86168C244E}" type="slidenum">
              <a:rPr lang="en-CA" smtClean="0"/>
              <a:t>‹#›</a:t>
            </a:fld>
            <a:endParaRPr lang="en-CA"/>
          </a:p>
        </p:txBody>
      </p:sp>
    </p:spTree>
    <p:extLst>
      <p:ext uri="{BB962C8B-B14F-4D97-AF65-F5344CB8AC3E}">
        <p14:creationId xmlns:p14="http://schemas.microsoft.com/office/powerpoint/2010/main" val="10265842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azure/virtual-machines/nda100-v4-series"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www.nvidia.com/en-in/data-center/a100/"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azure.microsoft.com/en-ca/blog/azure-machine-learning-service-now-supports-nvidia-s-rapids/"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top500.org/lists/top500/2021/11/"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top500.org/lists/green500/2021/11/"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36671826-D444-41AA-9A59-EC86168C244E}" type="slidenum">
              <a:rPr lang="en-CA" smtClean="0"/>
              <a:t>4</a:t>
            </a:fld>
            <a:endParaRPr lang="en-CA"/>
          </a:p>
        </p:txBody>
      </p:sp>
    </p:spTree>
    <p:extLst>
      <p:ext uri="{BB962C8B-B14F-4D97-AF65-F5344CB8AC3E}">
        <p14:creationId xmlns:p14="http://schemas.microsoft.com/office/powerpoint/2010/main" val="1820510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50000"/>
              </a:lnSpc>
              <a:spcAft>
                <a:spcPts val="800"/>
              </a:spcAft>
              <a:buFont typeface="Symbol" panose="05050102010706020507" pitchFamily="18" charset="2"/>
              <a:buChar char=""/>
            </a:pPr>
            <a:r>
              <a:rPr lang="en-CA" sz="1200">
                <a:effectLst/>
                <a:latin typeface="Calibri" panose="020F0502020204030204" pitchFamily="34" charset="0"/>
                <a:ea typeface="Calibri" panose="020F0502020204030204" pitchFamily="34" charset="0"/>
                <a:cs typeface="Arial" panose="020B0604020202020204" pitchFamily="34" charset="0"/>
              </a:rPr>
              <a:t>P</a:t>
            </a:r>
            <a:r>
              <a:rPr lang="en-US" sz="1200">
                <a:effectLst/>
                <a:latin typeface="Segoe UI" panose="020B0502040204020203" pitchFamily="34" charset="0"/>
                <a:ea typeface="Calibri" panose="020F0502020204030204" pitchFamily="34" charset="0"/>
              </a:rPr>
              <a:t>airs of NVIDIA Ampere A100 Tensor Core GPUs are interconnected at 600 GB/s via the NVIDIA NVLINK Bridge</a:t>
            </a:r>
          </a:p>
          <a:p>
            <a:pPr marL="342900" lvl="0" indent="-342900">
              <a:lnSpc>
                <a:spcPct val="150000"/>
              </a:lnSpc>
              <a:spcAft>
                <a:spcPts val="800"/>
              </a:spcAft>
              <a:buFont typeface="Symbol" panose="05050102010706020507" pitchFamily="18" charset="2"/>
              <a:buChar char=""/>
            </a:pPr>
            <a:r>
              <a:rPr lang="en-US" sz="1200">
                <a:effectLst/>
                <a:latin typeface="Segoe UI" panose="020B0502040204020203" pitchFamily="34" charset="0"/>
                <a:ea typeface="Calibri" panose="020F0502020204030204" pitchFamily="34" charset="0"/>
              </a:rPr>
              <a:t>Pairs of GPUs are interconnected via NVIDIA </a:t>
            </a:r>
            <a:r>
              <a:rPr lang="en-US" sz="1200" err="1">
                <a:effectLst/>
                <a:latin typeface="Segoe UI" panose="020B0502040204020203" pitchFamily="34" charset="0"/>
                <a:ea typeface="Calibri" panose="020F0502020204030204" pitchFamily="34" charset="0"/>
              </a:rPr>
              <a:t>NVswitch</a:t>
            </a:r>
            <a:r>
              <a:rPr lang="en-US" sz="1200">
                <a:effectLst/>
                <a:latin typeface="Segoe UI" panose="020B0502040204020203" pitchFamily="34" charset="0"/>
                <a:ea typeface="Calibri" panose="020F0502020204030204" pitchFamily="34" charset="0"/>
              </a:rPr>
              <a:t> (based upon the 64GB/s PCIe Gen4 interconnect)</a:t>
            </a:r>
          </a:p>
          <a:p>
            <a:pPr marL="342900" marR="0" lvl="0" indent="-342900" algn="l" defTabSz="914400" rtl="0" eaLnBrk="1" fontAlgn="auto" latinLnBrk="0" hangingPunct="1">
              <a:lnSpc>
                <a:spcPct val="150000"/>
              </a:lnSpc>
              <a:spcBef>
                <a:spcPts val="0"/>
              </a:spcBef>
              <a:spcAft>
                <a:spcPts val="800"/>
              </a:spcAft>
              <a:buClrTx/>
              <a:buSzTx/>
              <a:buFont typeface="Symbol" panose="05050102010706020507" pitchFamily="18" charset="2"/>
              <a:buChar char=""/>
              <a:tabLst/>
              <a:defRPr/>
            </a:pPr>
            <a:r>
              <a:rPr lang="en-US" sz="1200">
                <a:effectLst/>
                <a:latin typeface="Segoe UI" panose="020B0502040204020203" pitchFamily="34" charset="0"/>
                <a:ea typeface="Calibri" panose="020F0502020204030204" pitchFamily="34" charset="0"/>
              </a:rPr>
              <a:t>NVIDIA NCCL provides the software primitives required to make optimal use of this fabric</a:t>
            </a:r>
          </a:p>
          <a:p>
            <a:pPr marL="342900" marR="0" lvl="0" indent="-342900" algn="l" defTabSz="914400" rtl="0" eaLnBrk="1" fontAlgn="auto" latinLnBrk="0" hangingPunct="1">
              <a:lnSpc>
                <a:spcPct val="150000"/>
              </a:lnSpc>
              <a:spcBef>
                <a:spcPts val="0"/>
              </a:spcBef>
              <a:spcAft>
                <a:spcPts val="800"/>
              </a:spcAft>
              <a:buClrTx/>
              <a:buSzTx/>
              <a:buFont typeface="Symbol" panose="05050102010706020507" pitchFamily="18" charset="2"/>
              <a:buChar char=""/>
              <a:tabLst/>
              <a:defRPr/>
            </a:pPr>
            <a:r>
              <a:rPr lang="en-US" sz="1800">
                <a:effectLst/>
                <a:latin typeface="Segoe UI" panose="020B0502040204020203" pitchFamily="34" charset="0"/>
                <a:ea typeface="Calibri" panose="020F0502020204030204" pitchFamily="34" charset="0"/>
              </a:rPr>
              <a:t>Mellanox InfiniBand HDR is used as the interconnect fabric</a:t>
            </a:r>
            <a:endParaRPr lang="en-US" sz="1200">
              <a:effectLst/>
              <a:latin typeface="Segoe UI" panose="020B0502040204020203" pitchFamily="34" charset="0"/>
              <a:ea typeface="Calibri" panose="020F0502020204030204" pitchFamily="34" charset="0"/>
            </a:endParaRPr>
          </a:p>
          <a:p>
            <a:pPr marL="342900" lvl="0" indent="-342900">
              <a:lnSpc>
                <a:spcPct val="150000"/>
              </a:lnSpc>
              <a:spcAft>
                <a:spcPts val="800"/>
              </a:spcAft>
              <a:buFont typeface="Symbol" panose="05050102010706020507" pitchFamily="18" charset="2"/>
              <a:buChar char=""/>
            </a:pPr>
            <a:endParaRPr lang="en-US" sz="1200">
              <a:effectLst/>
              <a:latin typeface="Segoe UI" panose="020B0502040204020203" pitchFamily="34" charset="0"/>
              <a:ea typeface="Calibri" panose="020F0502020204030204" pitchFamily="34" charset="0"/>
            </a:endParaRPr>
          </a:p>
          <a:p>
            <a:pPr marL="0" lvl="0" indent="0">
              <a:lnSpc>
                <a:spcPct val="150000"/>
              </a:lnSpc>
              <a:spcAft>
                <a:spcPts val="800"/>
              </a:spcAft>
              <a:buFont typeface="Symbol" panose="05050102010706020507" pitchFamily="18" charset="2"/>
              <a:buNone/>
            </a:pPr>
            <a:r>
              <a:rPr lang="en-US" sz="1200">
                <a:effectLst/>
                <a:latin typeface="Calibri" panose="020F0502020204030204" pitchFamily="34" charset="0"/>
                <a:ea typeface="Calibri" panose="020F0502020204030204" pitchFamily="34" charset="0"/>
                <a:cs typeface="Arial" panose="020B0604020202020204" pitchFamily="34" charset="0"/>
              </a:rPr>
              <a:t>For additional details regarding the Azure ND A100 v4 series VMs see the documentation at </a:t>
            </a:r>
            <a:r>
              <a:rPr lang="en-US" sz="1200" u="sng">
                <a:solidFill>
                  <a:srgbClr val="0563C1"/>
                </a:solidFill>
                <a:effectLst/>
                <a:latin typeface="Calibri" panose="020F0502020204030204" pitchFamily="34" charset="0"/>
                <a:ea typeface="Calibri" panose="020F0502020204030204" pitchFamily="34" charset="0"/>
                <a:cs typeface="Arial" panose="020B0604020202020204" pitchFamily="34" charset="0"/>
                <a:hlinkClick r:id="rId3"/>
              </a:rPr>
              <a:t>https://docs.microsoft.com/en-us/azure/virtual-machines/nda100-v4-series</a:t>
            </a:r>
            <a:r>
              <a:rPr lang="en-US" sz="1200">
                <a:effectLst/>
                <a:latin typeface="Calibri" panose="020F0502020204030204" pitchFamily="34" charset="0"/>
                <a:ea typeface="Calibri" panose="020F0502020204030204" pitchFamily="34" charset="0"/>
                <a:cs typeface="Arial" panose="020B0604020202020204" pitchFamily="34" charset="0"/>
              </a:rPr>
              <a:t>; NVIDIA Ampere A100 Tensor Core GPUs are detailed at </a:t>
            </a:r>
            <a:r>
              <a:rPr lang="en-US" sz="1200" u="sng">
                <a:solidFill>
                  <a:srgbClr val="0563C1"/>
                </a:solidFill>
                <a:effectLst/>
                <a:latin typeface="Calibri" panose="020F0502020204030204" pitchFamily="34" charset="0"/>
                <a:ea typeface="Calibri" panose="020F0502020204030204" pitchFamily="34" charset="0"/>
                <a:cs typeface="Arial" panose="020B0604020202020204" pitchFamily="34" charset="0"/>
                <a:hlinkClick r:id="rId4"/>
              </a:rPr>
              <a:t>https://www.nvidia.com/en-in/data-center/a100/</a:t>
            </a:r>
            <a:r>
              <a:rPr lang="en-US" sz="1200">
                <a:effectLst/>
                <a:latin typeface="Calibri" panose="020F0502020204030204" pitchFamily="34" charset="0"/>
                <a:ea typeface="Calibri" panose="020F0502020204030204" pitchFamily="34" charset="0"/>
                <a:cs typeface="Arial" panose="020B0604020202020204" pitchFamily="34" charset="0"/>
              </a:rPr>
              <a:t>. </a:t>
            </a:r>
          </a:p>
          <a:p>
            <a:pPr marL="0" lvl="0" indent="0">
              <a:lnSpc>
                <a:spcPct val="150000"/>
              </a:lnSpc>
              <a:spcAft>
                <a:spcPts val="800"/>
              </a:spcAft>
              <a:buFont typeface="Symbol" panose="05050102010706020507" pitchFamily="18" charset="2"/>
              <a:buNone/>
            </a:pPr>
            <a:endParaRPr lang="en-CA" sz="1200">
              <a:effectLst/>
              <a:latin typeface="Calibri" panose="020F0502020204030204" pitchFamily="34" charset="0"/>
              <a:ea typeface="Calibri" panose="020F0502020204030204" pitchFamily="34" charset="0"/>
              <a:cs typeface="Arial" panose="020B0604020202020204" pitchFamily="34" charset="0"/>
            </a:endParaRPr>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51DE35-5AFA-4014-83AC-A64B38AACDD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6/2022 3:19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97732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Source https://techcommunity.microsoft.com/t5/azure-global/performance-considerations-for-large-scale-deep-learning/ba-p/2693834 </a:t>
            </a:r>
          </a:p>
        </p:txBody>
      </p:sp>
      <p:sp>
        <p:nvSpPr>
          <p:cNvPr id="4" name="Slide Number Placeholder 3"/>
          <p:cNvSpPr>
            <a:spLocks noGrp="1"/>
          </p:cNvSpPr>
          <p:nvPr>
            <p:ph type="sldNum" sz="quarter" idx="5"/>
          </p:nvPr>
        </p:nvSpPr>
        <p:spPr/>
        <p:txBody>
          <a:bodyPr/>
          <a:lstStyle/>
          <a:p>
            <a:fld id="{36671826-D444-41AA-9A59-EC86168C244E}" type="slidenum">
              <a:rPr lang="en-CA" smtClean="0"/>
              <a:t>22</a:t>
            </a:fld>
            <a:endParaRPr lang="en-CA"/>
          </a:p>
        </p:txBody>
      </p:sp>
    </p:spTree>
    <p:extLst>
      <p:ext uri="{BB962C8B-B14F-4D97-AF65-F5344CB8AC3E}">
        <p14:creationId xmlns:p14="http://schemas.microsoft.com/office/powerpoint/2010/main" val="41681613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his is the value proposition for networked GPUs – the combined impact of parallelism and computation facilitated by communication is substantial </a:t>
            </a:r>
          </a:p>
          <a:p>
            <a:pPr marL="171450" indent="-171450">
              <a:buFont typeface="Arial" panose="020B0604020202020204" pitchFamily="34" charset="0"/>
              <a:buChar char="•"/>
            </a:pPr>
            <a:r>
              <a:rPr lang="en-US"/>
              <a:t>This is why, for example, networked GPUs provide the basis for supercomputers </a:t>
            </a:r>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F52261-FA4A-4EFE-85C2-0F05BE354D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22806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CA" sz="1200" b="0" i="0" u="none" strike="noStrike" kern="1200">
                <a:solidFill>
                  <a:schemeClr val="tx1"/>
                </a:solidFill>
                <a:effectLst/>
                <a:latin typeface="+mn-lt"/>
                <a:ea typeface="+mn-ea"/>
                <a:cs typeface="+mn-cs"/>
              </a:rPr>
              <a:t>Azure Machine Learning is an all-inclusive solution that can easily leverage the NVIDIA RAPIDS GPU-accelerated libraries </a:t>
            </a:r>
          </a:p>
          <a:p>
            <a:pPr marL="171450" indent="-171450">
              <a:buFont typeface="Arial" panose="020B0604020202020204" pitchFamily="34" charset="0"/>
              <a:buChar char="•"/>
            </a:pPr>
            <a:r>
              <a:rPr lang="en-CA" sz="1200" b="0" i="0" u="none" strike="noStrike" kern="1200">
                <a:solidFill>
                  <a:schemeClr val="tx1"/>
                </a:solidFill>
                <a:effectLst/>
                <a:latin typeface="+mn-lt"/>
                <a:ea typeface="+mn-ea"/>
                <a:cs typeface="+mn-cs"/>
              </a:rPr>
              <a:t>These GPU-accelerated libraries feature implementations of frequently used algorithms (Data Frames, Graph, Machine Learning, Deep Neural Network Library) that have been optimized for execution on GPUs via CUDA </a:t>
            </a:r>
          </a:p>
          <a:p>
            <a:pPr marL="171450" indent="-171450">
              <a:buFont typeface="Arial" panose="020B0604020202020204" pitchFamily="34" charset="0"/>
              <a:buChar char="•"/>
            </a:pPr>
            <a:r>
              <a:rPr lang="en-CA" sz="1200" b="0" i="0" u="none" strike="noStrike" kern="1200">
                <a:solidFill>
                  <a:schemeClr val="tx1"/>
                </a:solidFill>
                <a:effectLst/>
                <a:latin typeface="+mn-lt"/>
                <a:ea typeface="+mn-ea"/>
                <a:cs typeface="+mn-cs"/>
              </a:rPr>
              <a:t>Ultimately, applications execute on N Series VMs on Azure </a:t>
            </a:r>
          </a:p>
          <a:p>
            <a:pPr marL="171450" indent="-171450">
              <a:buFont typeface="Arial" panose="020B0604020202020204" pitchFamily="34" charset="0"/>
              <a:buChar char="•"/>
            </a:pPr>
            <a:r>
              <a:rPr lang="en-CA" sz="1200" b="0" i="0" u="none" strike="noStrike" kern="1200">
                <a:solidFill>
                  <a:schemeClr val="tx1"/>
                </a:solidFill>
                <a:effectLst/>
                <a:latin typeface="+mn-lt"/>
                <a:ea typeface="+mn-ea"/>
                <a:cs typeface="+mn-cs"/>
              </a:rPr>
              <a:t>From Deep Learning frameworks, to Python, Apache Arrow and DASK, Azure ML allows open-source contributions to be leveraged </a:t>
            </a:r>
          </a:p>
          <a:p>
            <a:pPr marL="171450" indent="-171450">
              <a:buFont typeface="Arial" panose="020B0604020202020204" pitchFamily="34" charset="0"/>
              <a:buChar char="•"/>
            </a:pPr>
            <a:r>
              <a:rPr lang="en-CA" sz="1200" b="0" i="0" u="none" strike="noStrike" kern="1200">
                <a:solidFill>
                  <a:schemeClr val="tx1"/>
                </a:solidFill>
                <a:effectLst/>
                <a:latin typeface="+mn-lt"/>
                <a:ea typeface="+mn-ea"/>
                <a:cs typeface="+mn-cs"/>
              </a:rPr>
              <a:t>DASK enables distributed processing for Python applications </a:t>
            </a:r>
          </a:p>
          <a:p>
            <a:endParaRPr lang="en-CA">
              <a:hlinkClick r:id="rId3"/>
            </a:endParaRPr>
          </a:p>
          <a:p>
            <a:endParaRPr lang="en-CA">
              <a:hlinkClick r:id="rId3"/>
            </a:endParaRPr>
          </a:p>
          <a:p>
            <a:r>
              <a:rPr lang="en-CA">
                <a:hlinkClick r:id="rId3"/>
              </a:rPr>
              <a:t>Azure Machine Learning service now supports NVIDIA’s RAPIDS | Azure blog and updates | Microsoft Azure</a:t>
            </a:r>
            <a:endParaRPr lang="en-CA"/>
          </a:p>
          <a:p>
            <a:endParaRPr lang="en-CA" sz="1200" b="0" i="0" u="none" strike="noStrike"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64F33-6B66-41CF-BE59-AF14614133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70532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sz="900">
                <a:latin typeface="Segoe UI" panose="020B0502040204020203" pitchFamily="34" charset="0"/>
                <a:cs typeface="Segoe UI" panose="020B0502040204020203" pitchFamily="34" charset="0"/>
              </a:rPr>
              <a:t>Like Batch, Azure CycleCloud enables access to the Big Compute resources that Azure provides. Unlike Batch, which runs </a:t>
            </a:r>
            <a:r>
              <a:rPr lang="en-US" sz="900" b="1">
                <a:latin typeface="Segoe UI" panose="020B0502040204020203" pitchFamily="34" charset="0"/>
                <a:cs typeface="Segoe UI" panose="020B0502040204020203" pitchFamily="34" charset="0"/>
              </a:rPr>
              <a:t>jobs</a:t>
            </a:r>
            <a:r>
              <a:rPr lang="en-US" sz="900">
                <a:latin typeface="Segoe UI" panose="020B0502040204020203" pitchFamily="34" charset="0"/>
                <a:cs typeface="Segoe UI" panose="020B0502040204020203" pitchFamily="34" charset="0"/>
              </a:rPr>
              <a:t> in Azure, CycleCloud runs </a:t>
            </a:r>
            <a:r>
              <a:rPr lang="en-US" sz="900" b="1">
                <a:latin typeface="Segoe UI" panose="020B0502040204020203" pitchFamily="34" charset="0"/>
                <a:cs typeface="Segoe UI" panose="020B0502040204020203" pitchFamily="34" charset="0"/>
              </a:rPr>
              <a:t>compute clusters</a:t>
            </a:r>
            <a:r>
              <a:rPr lang="en-US" sz="900">
                <a:latin typeface="Segoe UI" panose="020B0502040204020203" pitchFamily="34" charset="0"/>
                <a:cs typeface="Segoe UI" panose="020B0502040204020203" pitchFamily="34" charset="0"/>
              </a:rPr>
              <a:t>. It is designed to allow line of business IT groups to provide easy access to cloud clusters for their users. Azure CycleCloud also features tools for managing the flow of data and compute jobs between internal and cloud clusters. Jobs can run where they’re best suited based on the specific requirements and the current resource utilization.</a:t>
            </a:r>
          </a:p>
          <a:p>
            <a:endParaRPr lang="en-US" sz="90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DE014ACE-28F1-0D47-B703-15587AC4E65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709279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30798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9082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36671826-D444-41AA-9A59-EC86168C244E}" type="slidenum">
              <a:rPr lang="en-CA" smtClean="0"/>
              <a:t>30</a:t>
            </a:fld>
            <a:endParaRPr lang="en-CA"/>
          </a:p>
        </p:txBody>
      </p:sp>
    </p:spTree>
    <p:extLst>
      <p:ext uri="{BB962C8B-B14F-4D97-AF65-F5344CB8AC3E}">
        <p14:creationId xmlns:p14="http://schemas.microsoft.com/office/powerpoint/2010/main" val="42198299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36671826-D444-41AA-9A59-EC86168C244E}" type="slidenum">
              <a:rPr lang="en-CA" smtClean="0"/>
              <a:t>37</a:t>
            </a:fld>
            <a:endParaRPr lang="en-CA"/>
          </a:p>
        </p:txBody>
      </p:sp>
    </p:spTree>
    <p:extLst>
      <p:ext uri="{BB962C8B-B14F-4D97-AF65-F5344CB8AC3E}">
        <p14:creationId xmlns:p14="http://schemas.microsoft.com/office/powerpoint/2010/main" val="34652423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800">
                <a:effectLst/>
                <a:latin typeface="Segoe UI" panose="020B0502040204020203" pitchFamily="34" charset="0"/>
              </a:rPr>
              <a:t>Drill down via the hands-on content into some of these tuning topics </a:t>
            </a:r>
            <a:endParaRPr lang="en-CA" sz="1800">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36671826-D444-41AA-9A59-EC86168C244E}" type="slidenum">
              <a:rPr lang="en-CA" smtClean="0"/>
              <a:t>38</a:t>
            </a:fld>
            <a:endParaRPr lang="en-CA"/>
          </a:p>
        </p:txBody>
      </p:sp>
    </p:spTree>
    <p:extLst>
      <p:ext uri="{BB962C8B-B14F-4D97-AF65-F5344CB8AC3E}">
        <p14:creationId xmlns:p14="http://schemas.microsoft.com/office/powerpoint/2010/main" val="39115512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Parallelism can be leveraged at the level of isolated VMs – allowing applications to be scaled up within a shared-memory context </a:t>
            </a:r>
          </a:p>
          <a:p>
            <a:pPr marL="171450" indent="-171450">
              <a:buFont typeface="Arial" panose="020B0604020202020204" pitchFamily="34" charset="0"/>
              <a:buChar char="•"/>
            </a:pPr>
            <a:r>
              <a:rPr lang="en-CA"/>
              <a:t>Even when accelerators (e.g., GPUs) are involved, there are limits to the scaling that can be achieved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F52261-FA4A-4EFE-85C2-0F05BE354D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25939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Convey that traditionally, HPC and AI were two solitudes before the convergence bega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e “</a:t>
            </a:r>
            <a:r>
              <a:rPr kumimoji="0" lang="en-US" sz="1200" b="0" i="0" u="none" strike="noStrike" kern="1200" cap="none" spc="0" normalizeH="0" baseline="0" noProof="0">
                <a:ln>
                  <a:noFill/>
                </a:ln>
                <a:solidFill>
                  <a:prstClr val="white"/>
                </a:solidFill>
                <a:effectLst/>
                <a:uLnTx/>
                <a:uFillTx/>
                <a:latin typeface="Segoe UI Semibold"/>
                <a:ea typeface="+mn-ea"/>
                <a:cs typeface="Segoe UI Semibold"/>
              </a:rPr>
              <a:t>Convergence of HPC + AI</a:t>
            </a:r>
            <a:r>
              <a:rPr lang="en-US" b="0"/>
              <a:t>” </a:t>
            </a:r>
            <a:r>
              <a:rPr lang="en-US"/>
              <a:t>is a phrase that gets thrown around a lot … However, the notion of convergence intended here is precise: Running AI workloads making use of HPC-inspired infrastructu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alk about the GPU architecture and model development capabilities listed in the slid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F52261-FA4A-4EFE-85C2-0F05BE354D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86782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Convey that traditionally, HPC and AI were two solitudes before the convergence bega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e “</a:t>
            </a:r>
            <a:r>
              <a:rPr kumimoji="0" lang="en-US" sz="1200" b="0" i="0" u="none" strike="noStrike" kern="1200" cap="none" spc="0" normalizeH="0" baseline="0" noProof="0">
                <a:ln>
                  <a:noFill/>
                </a:ln>
                <a:solidFill>
                  <a:prstClr val="white"/>
                </a:solidFill>
                <a:effectLst/>
                <a:uLnTx/>
                <a:uFillTx/>
                <a:latin typeface="Segoe UI Semibold"/>
                <a:ea typeface="+mn-ea"/>
                <a:cs typeface="Segoe UI Semibold"/>
              </a:rPr>
              <a:t>Convergence of HPC + AI</a:t>
            </a:r>
            <a:r>
              <a:rPr lang="en-US" b="0"/>
              <a:t>” </a:t>
            </a:r>
            <a:r>
              <a:rPr lang="en-US"/>
              <a:t>is a phrase that gets thrown around a lot … However, the notion of convergence intended here is precise: Running AI workloads making use of HPC-inspired infrastructu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alk about the GPU architecture and model development capabilities listed in the slid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F52261-FA4A-4EFE-85C2-0F05BE354D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14843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Convey that traditionally, HPC and AI were two solitudes before the convergence bega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e “</a:t>
            </a:r>
            <a:r>
              <a:rPr kumimoji="0" lang="en-US" sz="1200" b="0" i="0" u="none" strike="noStrike" kern="1200" cap="none" spc="0" normalizeH="0" baseline="0" noProof="0">
                <a:ln>
                  <a:noFill/>
                </a:ln>
                <a:solidFill>
                  <a:prstClr val="white"/>
                </a:solidFill>
                <a:effectLst/>
                <a:uLnTx/>
                <a:uFillTx/>
                <a:latin typeface="Segoe UI Semibold"/>
                <a:ea typeface="+mn-ea"/>
                <a:cs typeface="Segoe UI Semibold"/>
              </a:rPr>
              <a:t>Convergence of HPC + AI</a:t>
            </a:r>
            <a:r>
              <a:rPr lang="en-US" b="0"/>
              <a:t>” </a:t>
            </a:r>
            <a:r>
              <a:rPr lang="en-US"/>
              <a:t>is a phrase that gets thrown around a lot … However, the notion of convergence intended here is precise: Running AI workloads making use of HPC-inspired infrastructu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alk about the GPU architecture and model development capabilities listed in the slid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F52261-FA4A-4EFE-85C2-0F05BE354D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60159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800">
                <a:effectLst/>
                <a:latin typeface="Segoe UI" panose="020B0502040204020203" pitchFamily="34" charset="0"/>
              </a:rPr>
              <a:t>Scale-up-and-out infrastructures based upon NVIDIA GPUs and Mellanox </a:t>
            </a:r>
            <a:r>
              <a:rPr lang="en-CA" sz="1800" err="1">
                <a:effectLst/>
                <a:latin typeface="Segoe UI" panose="020B0502040204020203" pitchFamily="34" charset="0"/>
              </a:rPr>
              <a:t>Infiniband</a:t>
            </a:r>
            <a:r>
              <a:rPr lang="en-CA" sz="1800">
                <a:effectLst/>
                <a:latin typeface="Segoe UI" panose="020B0502040204020203" pitchFamily="34" charset="0"/>
              </a:rPr>
              <a:t> interconnect fabrics rank amongst the most-powerful supercomputers on the plane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800">
                <a:effectLst/>
                <a:latin typeface="Segoe UI" panose="020B0502040204020203" pitchFamily="34" charset="0"/>
              </a:rPr>
              <a:t>Azure placed within the top 10 on the Top500 and has four more placements within the top 35 – a remarkable and notable first for the public cloud </a:t>
            </a:r>
            <a:endParaRPr lang="en-CA" sz="1800">
              <a:effectLst/>
              <a:latin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800">
                <a:effectLst/>
                <a:latin typeface="Segoe UI" panose="020B0502040204020203" pitchFamily="34" charset="0"/>
                <a:hlinkClick r:id="rId3"/>
              </a:rPr>
              <a:t>https://top500.org/lists/top500/2021/11/</a:t>
            </a:r>
            <a:endParaRPr lang="en-CA" sz="1800">
              <a:effectLst/>
              <a:latin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800">
                <a:effectLst/>
                <a:latin typeface="Segoe UI" panose="020B0502040204020203" pitchFamily="34" charset="0"/>
                <a:hlinkClick r:id="rId4"/>
              </a:rPr>
              <a:t>https://top500.org/lists/green500/2021/11/</a:t>
            </a:r>
            <a:endParaRPr lang="en-CA" sz="1800">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CA" sz="1800">
              <a:effectLst/>
              <a:latin typeface="Arial" panose="020B0604020202020204" pitchFamily="34" charset="0"/>
            </a:endParaRP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F52261-FA4A-4EFE-85C2-0F05BE354D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59479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Now, if you haven’t looked at Azure in a few months, you may be surprised to see what we have these days.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This is the high-level map of the class of services that we offer. We have well over 200 products and services.</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You’ll notice we’ve extended to the edge. The ability to run application code in the cloud but also in that seamless, consistent way in the edge is informing our edge investments, whether it be Azure Stack, Azure Sphere, all the way to the </a:t>
            </a:r>
            <a:r>
              <a:rPr lang="en-US" sz="1200" kern="1200" err="1">
                <a:solidFill>
                  <a:schemeClr val="tx1"/>
                </a:solidFill>
                <a:effectLst/>
                <a:latin typeface="+mn-lt"/>
                <a:ea typeface="+mn-ea"/>
                <a:cs typeface="+mn-cs"/>
              </a:rPr>
              <a:t>Hololens</a:t>
            </a:r>
            <a:r>
              <a:rPr lang="en-US" sz="1200" kern="1200">
                <a:solidFill>
                  <a:schemeClr val="tx1"/>
                </a:solidFill>
                <a:effectLst/>
                <a:latin typeface="+mn-lt"/>
                <a:ea typeface="+mn-ea"/>
                <a:cs typeface="+mn-cs"/>
              </a:rPr>
              <a:t> and our Mixed Reality capabilities – these are powerful Edge devices that work in connection with the cloud.</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You’ll see we have dev tools, </a:t>
            </a:r>
            <a:r>
              <a:rPr lang="en-US" sz="1200" kern="1200" err="1">
                <a:solidFill>
                  <a:schemeClr val="tx1"/>
                </a:solidFill>
                <a:effectLst/>
                <a:latin typeface="+mn-lt"/>
                <a:ea typeface="+mn-ea"/>
                <a:cs typeface="+mn-cs"/>
              </a:rPr>
              <a:t>devOps</a:t>
            </a:r>
            <a:r>
              <a:rPr lang="en-US" sz="1200" kern="1200">
                <a:solidFill>
                  <a:schemeClr val="tx1"/>
                </a:solidFill>
                <a:effectLst/>
                <a:latin typeface="+mn-lt"/>
                <a:ea typeface="+mn-ea"/>
                <a:cs typeface="+mn-cs"/>
              </a:rPr>
              <a:t> and great innovation, to the core infrastructure and PaaS services that we offer.</a:t>
            </a:r>
          </a:p>
          <a:p>
            <a:endParaRPr lang="en-US" sz="1200" i="1" kern="1200">
              <a:solidFill>
                <a:schemeClr val="tx1"/>
              </a:solidFill>
              <a:effectLst/>
              <a:latin typeface="+mn-lt"/>
              <a:ea typeface="+mn-ea"/>
              <a:cs typeface="+mn-cs"/>
            </a:endParaRPr>
          </a:p>
          <a:p>
            <a:r>
              <a:rPr lang="en-US" sz="1200" i="1" kern="1200">
                <a:solidFill>
                  <a:schemeClr val="tx1"/>
                </a:solidFill>
                <a:effectLst/>
                <a:latin typeface="+mn-lt"/>
                <a:ea typeface="+mn-ea"/>
                <a:cs typeface="+mn-cs"/>
              </a:rPr>
              <a:t>TRANSITION:</a:t>
            </a:r>
            <a:r>
              <a:rPr lang="en-US" sz="1200" b="1" i="1" kern="1200">
                <a:solidFill>
                  <a:schemeClr val="tx1"/>
                </a:solidFill>
                <a:effectLst/>
                <a:latin typeface="+mn-lt"/>
                <a:ea typeface="+mn-ea"/>
                <a:cs typeface="+mn-cs"/>
              </a:rPr>
              <a:t> </a:t>
            </a:r>
            <a:r>
              <a:rPr lang="en-US" sz="1200" kern="1200">
                <a:solidFill>
                  <a:schemeClr val="tx1"/>
                </a:solidFill>
                <a:effectLst/>
                <a:latin typeface="+mn-lt"/>
                <a:ea typeface="+mn-ea"/>
                <a:cs typeface="+mn-cs"/>
              </a:rPr>
              <a:t>Overall, this gives you the scope of what Azure as a platform and service can do for you. </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1116882" marR="0" lvl="0" indent="0" algn="l" defTabSz="1786424"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2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26/2022 3:19 AM</a:t>
            </a:fld>
            <a:endParaRPr kumimoji="0" lang="en-US" sz="2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2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2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476850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kern="1200">
                <a:solidFill>
                  <a:schemeClr val="tx1"/>
                </a:solidFill>
                <a:effectLst/>
                <a:latin typeface="+mn-lt"/>
                <a:ea typeface="+mn-ea"/>
                <a:cs typeface="+mn-cs"/>
              </a:rPr>
              <a:t>All NVIDIA acceleration software housed in NGC via Azure marketplace to ensure users have the Easiest experience packaging what they need to achieve best performance in no time. </a:t>
            </a:r>
            <a:endParaRPr lang="en-US" sz="120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B64AC-F36E-479E-839E-11285A4C09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0373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51DE35-5AFA-4014-83AC-A64B38AACDD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6/2022 3:19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88451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tif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s &amp; Section Dividers">
    <p:spTree>
      <p:nvGrpSpPr>
        <p:cNvPr id="1" name=""/>
        <p:cNvGrpSpPr/>
        <p:nvPr/>
      </p:nvGrpSpPr>
      <p:grpSpPr>
        <a:xfrm>
          <a:off x="0" y="0"/>
          <a:ext cx="0" cy="0"/>
          <a:chOff x="0" y="0"/>
          <a:chExt cx="0" cy="0"/>
        </a:xfrm>
      </p:grpSpPr>
      <p:pic>
        <p:nvPicPr>
          <p:cNvPr id="9" name="Picture 8" descr="A picture containing night sky&#10;&#10;Description automatically generated">
            <a:extLst>
              <a:ext uri="{FF2B5EF4-FFF2-40B4-BE49-F238E27FC236}">
                <a16:creationId xmlns:a16="http://schemas.microsoft.com/office/drawing/2014/main" id="{DC0D9A55-7B95-4CBB-F4C9-A10F2B9702C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167" b="6833"/>
          <a:stretch/>
        </p:blipFill>
        <p:spPr>
          <a:xfrm flipH="1">
            <a:off x="0" y="0"/>
            <a:ext cx="12192000" cy="6858000"/>
          </a:xfrm>
          <a:prstGeom prst="rect">
            <a:avLst/>
          </a:prstGeom>
        </p:spPr>
      </p:pic>
      <p:sp>
        <p:nvSpPr>
          <p:cNvPr id="10" name="Rectangle 9">
            <a:extLst>
              <a:ext uri="{FF2B5EF4-FFF2-40B4-BE49-F238E27FC236}">
                <a16:creationId xmlns:a16="http://schemas.microsoft.com/office/drawing/2014/main" id="{52F5A945-6267-D8B6-1596-FC062502C012}"/>
              </a:ext>
            </a:extLst>
          </p:cNvPr>
          <p:cNvSpPr/>
          <p:nvPr userDrawn="1"/>
        </p:nvSpPr>
        <p:spPr>
          <a:xfrm>
            <a:off x="0" y="3251200"/>
            <a:ext cx="12192000" cy="3606800"/>
          </a:xfrm>
          <a:prstGeom prst="rect">
            <a:avLst/>
          </a:prstGeom>
          <a:gradFill>
            <a:gsLst>
              <a:gs pos="100000">
                <a:schemeClr val="bg1"/>
              </a:gs>
              <a:gs pos="0">
                <a:schemeClr val="bg1">
                  <a:alpha val="0"/>
                </a:schemeClr>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D1B33C04-8A23-4499-A6EF-1D190F0FB38E}"/>
              </a:ext>
            </a:extLst>
          </p:cNvPr>
          <p:cNvSpPr>
            <a:spLocks noGrp="1"/>
          </p:cNvSpPr>
          <p:nvPr>
            <p:ph type="subTitle" idx="1"/>
          </p:nvPr>
        </p:nvSpPr>
        <p:spPr>
          <a:xfrm>
            <a:off x="494582" y="5769754"/>
            <a:ext cx="10668000" cy="586596"/>
          </a:xfrm>
          <a:prstGeom prst="rect">
            <a:avLst/>
          </a:prstGeom>
        </p:spPr>
        <p:txBody>
          <a:bodyPr anchor="ctr">
            <a:normAutofit/>
          </a:bodyPr>
          <a:lstStyle>
            <a:lvl1pPr marL="0" indent="0" algn="l">
              <a:buNone/>
              <a:defRPr sz="2000">
                <a:solidFill>
                  <a:srgbClr val="00FFFF"/>
                </a:solidFill>
                <a:latin typeface="Segoe UI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Title 6">
            <a:extLst>
              <a:ext uri="{FF2B5EF4-FFF2-40B4-BE49-F238E27FC236}">
                <a16:creationId xmlns:a16="http://schemas.microsoft.com/office/drawing/2014/main" id="{8B47C41E-EFFF-E0E3-722C-B70B261E7A5B}"/>
              </a:ext>
            </a:extLst>
          </p:cNvPr>
          <p:cNvSpPr>
            <a:spLocks noGrp="1"/>
          </p:cNvSpPr>
          <p:nvPr>
            <p:ph type="title"/>
          </p:nvPr>
        </p:nvSpPr>
        <p:spPr>
          <a:xfrm>
            <a:off x="494582" y="5183158"/>
            <a:ext cx="10668000" cy="586596"/>
          </a:xfrm>
        </p:spPr>
        <p:txBody>
          <a:bodyPr anchor="ctr">
            <a:normAutofit/>
          </a:bodyPr>
          <a:lstStyle>
            <a:lvl1pPr marL="0" indent="0" algn="l">
              <a:defRPr sz="3600">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1229817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vice layout">
    <p:bg>
      <p:bgPr>
        <a:solidFill>
          <a:srgbClr val="282655"/>
        </a:solidFill>
        <a:effectLst/>
      </p:bgPr>
    </p:bg>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1179838"/>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759799" y="1144854"/>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800" b="0" i="0">
                <a:solidFill>
                  <a:schemeClr val="tx1"/>
                </a:solidFill>
                <a:latin typeface="Segoe UI "/>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Tree>
    <p:extLst>
      <p:ext uri="{BB962C8B-B14F-4D97-AF65-F5344CB8AC3E}">
        <p14:creationId xmlns:p14="http://schemas.microsoft.com/office/powerpoint/2010/main" val="425773409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itle Slide">
    <p:bg>
      <p:bgPr>
        <a:solidFill>
          <a:srgbClr val="282655"/>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itle 1">
            <a:extLst>
              <a:ext uri="{FF2B5EF4-FFF2-40B4-BE49-F238E27FC236}">
                <a16:creationId xmlns:a16="http://schemas.microsoft.com/office/drawing/2014/main" id="{F3794EFB-C74A-3048-A890-DC380EEE7BC0}"/>
              </a:ext>
            </a:extLst>
          </p:cNvPr>
          <p:cNvSpPr>
            <a:spLocks noGrp="1"/>
          </p:cNvSpPr>
          <p:nvPr>
            <p:ph type="title"/>
          </p:nvPr>
        </p:nvSpPr>
        <p:spPr>
          <a:xfrm>
            <a:off x="0" y="141846"/>
            <a:ext cx="12192000" cy="609600"/>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09740643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p:bg>
      <p:bgPr>
        <a:solidFill>
          <a:srgbClr val="282655"/>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4BF8EDA-037A-3EC1-DABD-7F8EBE0D4459}"/>
              </a:ext>
            </a:extLst>
          </p:cNvPr>
          <p:cNvSpPr>
            <a:spLocks noGrp="1"/>
          </p:cNvSpPr>
          <p:nvPr>
            <p:ph type="title"/>
          </p:nvPr>
        </p:nvSpPr>
        <p:spPr>
          <a:xfrm>
            <a:off x="0" y="141846"/>
            <a:ext cx="12192000" cy="609600"/>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4221876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487741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942826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9221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80929874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10837849"/>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68193584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513952420"/>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28265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6AF011-A499-4054-89BF-A4800A68F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00027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615076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948935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1605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943174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73863301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266919" y="474706"/>
            <a:ext cx="11655840" cy="899665"/>
          </a:xfrm>
        </p:spPr>
        <p:txBody>
          <a:bodyPr/>
          <a:lstStyle>
            <a:lvl1pPr>
              <a:defRPr sz="2800">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266919" y="1847401"/>
            <a:ext cx="5378548" cy="1833964"/>
          </a:xfrm>
        </p:spPr>
        <p:txBody>
          <a:bodyPr wrap="square">
            <a:spAutoFit/>
          </a:bodyPr>
          <a:lstStyle>
            <a:lvl1pPr marL="227209" indent="-227209">
              <a:spcBef>
                <a:spcPts val="1200"/>
              </a:spcBef>
              <a:buClr>
                <a:schemeClr val="tx1"/>
              </a:buClr>
              <a:buFont typeface="Wingdings" panose="05000000000000000000" pitchFamily="2" charset="2"/>
              <a:buChar char=""/>
              <a:defRPr sz="1800" b="0">
                <a:latin typeface="Segoe UI Semibold" panose="020B0702040204020203" pitchFamily="34" charset="0"/>
                <a:cs typeface="Segoe UI Semibold" panose="020B0702040204020203" pitchFamily="34" charset="0"/>
              </a:defRPr>
            </a:lvl1pPr>
            <a:lvl2pPr marL="418625" indent="-168072">
              <a:buFont typeface="Wingdings" panose="05000000000000000000" pitchFamily="2" charset="2"/>
              <a:buChar char=""/>
              <a:defRPr sz="1600" b="0">
                <a:latin typeface="Segoe UI "/>
              </a:defRPr>
            </a:lvl2pPr>
            <a:lvl3pPr marL="627160" indent="-185191">
              <a:buFont typeface="Wingdings" panose="05000000000000000000" pitchFamily="2" charset="2"/>
              <a:buChar char=""/>
              <a:tabLst/>
              <a:defRPr sz="2157" b="0">
                <a:latin typeface="Segoe UI "/>
              </a:defRPr>
            </a:lvl3pPr>
            <a:lvl4pPr marL="812350" indent="-172742">
              <a:buFont typeface="Wingdings" panose="05000000000000000000" pitchFamily="2" charset="2"/>
              <a:buChar char=""/>
              <a:defRPr sz="2157" b="0">
                <a:latin typeface="Segoe UI "/>
              </a:defRPr>
            </a:lvl4pPr>
            <a:lvl5pPr marL="1003766" indent="-166517">
              <a:buFont typeface="Wingdings" panose="05000000000000000000" pitchFamily="2" charset="2"/>
              <a:buChar char=""/>
              <a:tabLst/>
              <a:defRPr sz="2157" b="0">
                <a:latin typeface="Segoe UI "/>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2674161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0454409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0046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53250" name="think-cell Slide" r:id="rId4" imgW="425" imgH="426" progId="TCLayout.ActiveDocument.1">
                  <p:embed/>
                </p:oleObj>
              </mc:Choice>
              <mc:Fallback>
                <p:oleObj name="think-cell Slide" r:id="rId4" imgW="425" imgH="426" progId="TCLayout.ActiveDocument.1">
                  <p:embed/>
                  <p:pic>
                    <p:nvPicPr>
                      <p:cNvPr id="3" name="Object 2" hidden="1"/>
                      <p:cNvPicPr/>
                      <p:nvPr/>
                    </p:nvPicPr>
                    <p:blipFill>
                      <a:blip r:embed="rId5"/>
                      <a:stretch>
                        <a:fillRect/>
                      </a:stretch>
                    </p:blipFill>
                    <p:spPr>
                      <a:xfrm>
                        <a:off x="1592" y="1592"/>
                        <a:ext cx="1587" cy="1587"/>
                      </a:xfrm>
                      <a:prstGeom prst="rect">
                        <a:avLst/>
                      </a:prstGeom>
                    </p:spPr>
                  </p:pic>
                </p:oleObj>
              </mc:Fallback>
            </mc:AlternateContent>
          </a:graphicData>
        </a:graphic>
      </p:graphicFrame>
      <p:sp>
        <p:nvSpPr>
          <p:cNvPr id="2" name="Title 1"/>
          <p:cNvSpPr>
            <a:spLocks noGrp="1"/>
          </p:cNvSpPr>
          <p:nvPr>
            <p:ph type="title"/>
          </p:nvPr>
        </p:nvSpPr>
        <p:spPr>
          <a:xfrm>
            <a:off x="335280" y="599440"/>
            <a:ext cx="11551920" cy="812800"/>
          </a:xfrm>
          <a:prstGeom prst="rect">
            <a:avLst/>
          </a:prstGeom>
        </p:spPr>
        <p:txBody>
          <a:bodyPr lIns="90980" tIns="45491" rIns="90980" bIns="45491"/>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568361352"/>
      </p:ext>
    </p:extLst>
  </p:cSld>
  <p:clrMapOvr>
    <a:masterClrMapping/>
  </p:clrMapOvr>
  <p:transition>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4" name="Rectangle 3"/>
          <p:cNvSpPr/>
          <p:nvPr userDrawn="1"/>
        </p:nvSpPr>
        <p:spPr bwMode="auto">
          <a:xfrm>
            <a:off x="3"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20" tIns="38061" rIns="76120" bIns="38061" numCol="1" rtlCol="0" anchor="ctr" anchorCtr="0" compatLnSpc="1">
            <a:prstTxWarp prst="textNoShape">
              <a:avLst/>
            </a:prstTxWarp>
          </a:bodyPr>
          <a:lstStyle/>
          <a:p>
            <a:pPr algn="ctr" defTabSz="760909"/>
            <a:endParaRPr lang="en-US" sz="1898">
              <a:gradFill>
                <a:gsLst>
                  <a:gs pos="0">
                    <a:srgbClr val="FFFFFF"/>
                  </a:gs>
                  <a:gs pos="100000">
                    <a:srgbClr val="FFFFFF"/>
                  </a:gs>
                </a:gsLst>
                <a:lin ang="5400000" scaled="0"/>
              </a:gradFill>
            </a:endParaRPr>
          </a:p>
        </p:txBody>
      </p:sp>
      <p:sp>
        <p:nvSpPr>
          <p:cNvPr id="2" name="Title 1"/>
          <p:cNvSpPr>
            <a:spLocks noGrp="1"/>
          </p:cNvSpPr>
          <p:nvPr>
            <p:ph type="title"/>
          </p:nvPr>
        </p:nvSpPr>
        <p:spPr>
          <a:xfrm>
            <a:off x="519251" y="315689"/>
            <a:ext cx="11151917" cy="747897"/>
          </a:xfrm>
        </p:spPr>
        <p:txBody>
          <a:bodyPr/>
          <a:lstStyle>
            <a:lvl1pPr>
              <a:defRPr>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350396428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948285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rgbClr val="282655"/>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6E85894-5565-6086-A8F7-92B40CBDB6B8}"/>
              </a:ext>
            </a:extLst>
          </p:cNvPr>
          <p:cNvSpPr>
            <a:spLocks noGrp="1"/>
          </p:cNvSpPr>
          <p:nvPr>
            <p:ph type="title"/>
          </p:nvPr>
        </p:nvSpPr>
        <p:spPr>
          <a:xfrm>
            <a:off x="0" y="141846"/>
            <a:ext cx="12192000" cy="609600"/>
          </a:xfrm>
        </p:spPr>
        <p:txBody>
          <a:bodyPr/>
          <a:lstStyle>
            <a:lvl1pPr>
              <a:defRPr>
                <a:solidFill>
                  <a:schemeClr val="tx1"/>
                </a:solidFill>
              </a:defRPr>
            </a:lvl1pPr>
          </a:lstStyle>
          <a:p>
            <a:r>
              <a:rPr lang="en-US"/>
              <a:t>Click to edit Master title style</a:t>
            </a:r>
          </a:p>
        </p:txBody>
      </p:sp>
      <p:sp>
        <p:nvSpPr>
          <p:cNvPr id="9" name="Text Placeholder 8">
            <a:extLst>
              <a:ext uri="{FF2B5EF4-FFF2-40B4-BE49-F238E27FC236}">
                <a16:creationId xmlns:a16="http://schemas.microsoft.com/office/drawing/2014/main" id="{ECC5B513-C96F-C847-3460-B30CC6561D4C}"/>
              </a:ext>
            </a:extLst>
          </p:cNvPr>
          <p:cNvSpPr>
            <a:spLocks noGrp="1"/>
          </p:cNvSpPr>
          <p:nvPr>
            <p:ph type="body" sz="quarter" idx="10"/>
          </p:nvPr>
        </p:nvSpPr>
        <p:spPr>
          <a:xfrm>
            <a:off x="571500" y="1266825"/>
            <a:ext cx="5076825" cy="3914775"/>
          </a:xfrm>
          <a:prstGeom prst="rect">
            <a:avLst/>
          </a:prstGeo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457200" indent="0">
              <a:buNone/>
              <a:defRPr sz="1800">
                <a:solidFill>
                  <a:srgbClr val="00FFFF"/>
                </a:solidFill>
                <a:latin typeface="Segoe UI "/>
              </a:defRPr>
            </a:lvl2pPr>
            <a:lvl3pPr>
              <a:defRPr sz="1600">
                <a:solidFill>
                  <a:schemeClr val="tx1"/>
                </a:solidFill>
                <a:latin typeface="Segoe UI "/>
              </a:defRPr>
            </a:lvl3pPr>
            <a:lvl4pPr>
              <a:defRPr sz="1600">
                <a:solidFill>
                  <a:schemeClr val="tx1"/>
                </a:solidFill>
                <a:latin typeface="Segoe UI "/>
              </a:defRPr>
            </a:lvl4pPr>
            <a:lvl5pPr>
              <a:defRPr sz="1600">
                <a:solidFill>
                  <a:schemeClr val="tx1"/>
                </a:solidFill>
                <a:latin typeface="Segoe UI "/>
              </a:defRPr>
            </a:lvl5pPr>
          </a:lstStyle>
          <a:p>
            <a:pPr lvl="0"/>
            <a:r>
              <a:rPr lang="en-US"/>
              <a:t>Click to edit Master text styles</a:t>
            </a:r>
          </a:p>
          <a:p>
            <a:pPr lvl="1"/>
            <a:r>
              <a:rPr lang="en-US"/>
              <a:t>Second level</a:t>
            </a:r>
          </a:p>
          <a:p>
            <a:pPr lvl="2"/>
            <a:r>
              <a:rPr lang="en-US"/>
              <a:t>Third level</a:t>
            </a:r>
          </a:p>
        </p:txBody>
      </p:sp>
      <p:sp>
        <p:nvSpPr>
          <p:cNvPr id="11" name="Picture Placeholder 10">
            <a:extLst>
              <a:ext uri="{FF2B5EF4-FFF2-40B4-BE49-F238E27FC236}">
                <a16:creationId xmlns:a16="http://schemas.microsoft.com/office/drawing/2014/main" id="{4652622A-A20F-562D-1BAD-CE6697CA50F3}"/>
              </a:ext>
            </a:extLst>
          </p:cNvPr>
          <p:cNvSpPr>
            <a:spLocks noGrp="1"/>
          </p:cNvSpPr>
          <p:nvPr>
            <p:ph type="pic" sz="quarter" idx="11"/>
          </p:nvPr>
        </p:nvSpPr>
        <p:spPr>
          <a:xfrm>
            <a:off x="6562725" y="1266825"/>
            <a:ext cx="5057775" cy="3914775"/>
          </a:xfrm>
          <a:prstGeom prst="rect">
            <a:avLst/>
          </a:prstGeom>
        </p:spPr>
        <p:txBody>
          <a:bodyPr/>
          <a:lstStyle/>
          <a:p>
            <a:endParaRPr lang="en-US"/>
          </a:p>
        </p:txBody>
      </p:sp>
    </p:spTree>
    <p:extLst>
      <p:ext uri="{BB962C8B-B14F-4D97-AF65-F5344CB8AC3E}">
        <p14:creationId xmlns:p14="http://schemas.microsoft.com/office/powerpoint/2010/main" val="25552492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50C73-5407-4F7F-AB62-4E3A5772D26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7E34709-70A7-451E-A3D7-040DE46B63F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5735AFA-BBF7-447F-907E-64A899CE6B26}"/>
              </a:ext>
            </a:extLst>
          </p:cNvPr>
          <p:cNvSpPr>
            <a:spLocks noGrp="1"/>
          </p:cNvSpPr>
          <p:nvPr>
            <p:ph type="dt" sz="half" idx="10"/>
          </p:nvPr>
        </p:nvSpPr>
        <p:spPr/>
        <p:txBody>
          <a:bodyPr/>
          <a:lstStyle/>
          <a:p>
            <a:fld id="{4975F055-7247-4A1A-BED7-A12E2B6D500C}" type="datetimeFigureOut">
              <a:rPr lang="en-US" smtClean="0"/>
              <a:t>7/26/2022</a:t>
            </a:fld>
            <a:endParaRPr lang="en-US"/>
          </a:p>
        </p:txBody>
      </p:sp>
      <p:sp>
        <p:nvSpPr>
          <p:cNvPr id="5" name="Footer Placeholder 4">
            <a:extLst>
              <a:ext uri="{FF2B5EF4-FFF2-40B4-BE49-F238E27FC236}">
                <a16:creationId xmlns:a16="http://schemas.microsoft.com/office/drawing/2014/main" id="{CE63407B-8D22-42B4-9AE6-4C1037E5C0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1B154B-D037-4C6A-B260-22B41A488CA5}"/>
              </a:ext>
            </a:extLst>
          </p:cNvPr>
          <p:cNvSpPr>
            <a:spLocks noGrp="1"/>
          </p:cNvSpPr>
          <p:nvPr>
            <p:ph type="sldNum" sz="quarter" idx="12"/>
          </p:nvPr>
        </p:nvSpPr>
        <p:spPr/>
        <p:txBody>
          <a:bodyPr/>
          <a:lstStyle/>
          <a:p>
            <a:fld id="{90C9D00D-8FB3-4307-9001-450985225118}" type="slidenum">
              <a:rPr lang="en-US" smtClean="0"/>
              <a:t>‹#›</a:t>
            </a:fld>
            <a:endParaRPr lang="en-US"/>
          </a:p>
        </p:txBody>
      </p:sp>
    </p:spTree>
    <p:extLst>
      <p:ext uri="{BB962C8B-B14F-4D97-AF65-F5344CB8AC3E}">
        <p14:creationId xmlns:p14="http://schemas.microsoft.com/office/powerpoint/2010/main" val="945808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it-IT"/>
          </a:p>
        </p:txBody>
      </p:sp>
    </p:spTree>
    <p:extLst>
      <p:ext uri="{BB962C8B-B14F-4D97-AF65-F5344CB8AC3E}">
        <p14:creationId xmlns:p14="http://schemas.microsoft.com/office/powerpoint/2010/main" val="3598445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Tree>
    <p:extLst>
      <p:ext uri="{BB962C8B-B14F-4D97-AF65-F5344CB8AC3E}">
        <p14:creationId xmlns:p14="http://schemas.microsoft.com/office/powerpoint/2010/main" val="385153386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82864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D2D2D2">
                    <a:lumMod val="75000"/>
                  </a:srgbClr>
                </a:solidFill>
                <a:effectLst/>
                <a:uLnTx/>
                <a:uFillTx/>
                <a:latin typeface="Segoe UI"/>
                <a:ea typeface="+mn-ea"/>
                <a:cs typeface="Segoe UI" pitchFamily="34" charset="0"/>
              </a:rPr>
              <a:t>©Microsoft Corporation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63835"/>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63835"/>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6150894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E68F5420-9D31-7B47-A97E-FAA309E5F411}"/>
              </a:ext>
            </a:extLst>
          </p:cNvPr>
          <p:cNvSpPr txBox="1"/>
          <p:nvPr userDrawn="1"/>
        </p:nvSpPr>
        <p:spPr>
          <a:xfrm>
            <a:off x="436379" y="6431005"/>
            <a:ext cx="960199" cy="94962"/>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Tree>
    <p:extLst>
      <p:ext uri="{BB962C8B-B14F-4D97-AF65-F5344CB8AC3E}">
        <p14:creationId xmlns:p14="http://schemas.microsoft.com/office/powerpoint/2010/main" val="403278183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lgn="l" defTabSz="914367" rtl="0" eaLnBrk="1" latinLnBrk="0" hangingPunct="1">
              <a:lnSpc>
                <a:spcPct val="90000"/>
              </a:lnSpc>
              <a:spcBef>
                <a:spcPct val="0"/>
              </a:spcBef>
              <a:buNone/>
              <a:defRPr lang="en-US" sz="2800" b="1" kern="1200" cap="none" spc="-147" baseline="0" dirty="0">
                <a:ln w="3175">
                  <a:noFill/>
                </a:ln>
                <a:solidFill>
                  <a:schemeClr val="bg2">
                    <a:lumMod val="10000"/>
                  </a:schemeClr>
                </a:solidFill>
                <a:effectLst/>
                <a:latin typeface="Segoe UI Semibold" panose="020B0502040204020203" pitchFamily="34" charset="0"/>
                <a:ea typeface="+mn-ea"/>
                <a:cs typeface="+mn-cs"/>
              </a:defRPr>
            </a:lvl1pPr>
          </a:lstStyle>
          <a:p>
            <a:r>
              <a:rPr lang="en-US"/>
              <a:t>Click to edit Master title style</a:t>
            </a:r>
          </a:p>
        </p:txBody>
      </p:sp>
      <p:sp>
        <p:nvSpPr>
          <p:cNvPr id="7" name="Content Placeholder 6"/>
          <p:cNvSpPr>
            <a:spLocks noGrp="1"/>
          </p:cNvSpPr>
          <p:nvPr>
            <p:ph sz="quarter" idx="10"/>
          </p:nvPr>
        </p:nvSpPr>
        <p:spPr>
          <a:xfrm>
            <a:off x="269240" y="1190735"/>
            <a:ext cx="11653523" cy="20553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049EEFFC-CEB3-9143-A52B-EC21A35074A9}"/>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Tree>
    <p:extLst>
      <p:ext uri="{BB962C8B-B14F-4D97-AF65-F5344CB8AC3E}">
        <p14:creationId xmlns:p14="http://schemas.microsoft.com/office/powerpoint/2010/main" val="270000914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t>
            </a:r>
          </a:p>
        </p:txBody>
      </p:sp>
    </p:spTree>
    <p:extLst>
      <p:ext uri="{BB962C8B-B14F-4D97-AF65-F5344CB8AC3E}">
        <p14:creationId xmlns:p14="http://schemas.microsoft.com/office/powerpoint/2010/main" val="79790536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AA0A265-E998-4C83-8508-AC9EF3A3DF90}" type="datetimeFigureOut">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26/2022</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59CA64-FADF-4537-8860-2A0C1FE3306C}" type="slidenum">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TextBox 6">
            <a:extLst>
              <a:ext uri="{FF2B5EF4-FFF2-40B4-BE49-F238E27FC236}">
                <a16:creationId xmlns:a16="http://schemas.microsoft.com/office/drawing/2014/main" id="{168CD352-4D2B-264E-8F8B-DE5E2ED4A11F}"/>
              </a:ext>
            </a:extLst>
          </p:cNvPr>
          <p:cNvSpPr txBox="1"/>
          <p:nvPr userDrawn="1"/>
        </p:nvSpPr>
        <p:spPr>
          <a:xfrm>
            <a:off x="436379" y="6431005"/>
            <a:ext cx="960199" cy="94962"/>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Tree>
    <p:extLst>
      <p:ext uri="{BB962C8B-B14F-4D97-AF65-F5344CB8AC3E}">
        <p14:creationId xmlns:p14="http://schemas.microsoft.com/office/powerpoint/2010/main" val="1151453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39661751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Header">
    <p:bg>
      <p:bgPr>
        <a:solidFill>
          <a:srgbClr val="282655"/>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6E85894-5565-6086-A8F7-92B40CBDB6B8}"/>
              </a:ext>
            </a:extLst>
          </p:cNvPr>
          <p:cNvSpPr>
            <a:spLocks noGrp="1"/>
          </p:cNvSpPr>
          <p:nvPr>
            <p:ph type="title"/>
          </p:nvPr>
        </p:nvSpPr>
        <p:spPr>
          <a:xfrm>
            <a:off x="0" y="141846"/>
            <a:ext cx="12192000" cy="609600"/>
          </a:xfrm>
        </p:spPr>
        <p:txBody>
          <a:bodyPr/>
          <a:lstStyle>
            <a:lvl1pPr>
              <a:defRPr>
                <a:solidFill>
                  <a:schemeClr val="tx1"/>
                </a:solidFill>
              </a:defRPr>
            </a:lvl1pPr>
          </a:lstStyle>
          <a:p>
            <a:r>
              <a:rPr lang="en-US"/>
              <a:t>Click to edit Master title style</a:t>
            </a:r>
          </a:p>
        </p:txBody>
      </p:sp>
      <p:sp>
        <p:nvSpPr>
          <p:cNvPr id="9" name="Text Placeholder 8">
            <a:extLst>
              <a:ext uri="{FF2B5EF4-FFF2-40B4-BE49-F238E27FC236}">
                <a16:creationId xmlns:a16="http://schemas.microsoft.com/office/drawing/2014/main" id="{ECC5B513-C96F-C847-3460-B30CC6561D4C}"/>
              </a:ext>
            </a:extLst>
          </p:cNvPr>
          <p:cNvSpPr>
            <a:spLocks noGrp="1"/>
          </p:cNvSpPr>
          <p:nvPr>
            <p:ph type="body" sz="quarter" idx="10"/>
          </p:nvPr>
        </p:nvSpPr>
        <p:spPr>
          <a:xfrm>
            <a:off x="571500" y="1266825"/>
            <a:ext cx="7381875" cy="3914775"/>
          </a:xfrm>
          <a:prstGeom prst="rect">
            <a:avLst/>
          </a:prstGeo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457200" indent="0">
              <a:buNone/>
              <a:defRPr sz="1800">
                <a:solidFill>
                  <a:srgbClr val="00FFFF"/>
                </a:solidFill>
                <a:latin typeface="Segoe UI "/>
              </a:defRPr>
            </a:lvl2pPr>
            <a:lvl3pPr>
              <a:defRPr sz="1600">
                <a:solidFill>
                  <a:schemeClr val="tx1"/>
                </a:solidFill>
                <a:latin typeface="Segoe UI "/>
              </a:defRPr>
            </a:lvl3pPr>
            <a:lvl4pPr>
              <a:defRPr sz="1600">
                <a:solidFill>
                  <a:schemeClr val="tx1"/>
                </a:solidFill>
                <a:latin typeface="Segoe UI "/>
              </a:defRPr>
            </a:lvl4pPr>
            <a:lvl5pPr>
              <a:defRPr sz="1600">
                <a:solidFill>
                  <a:schemeClr val="tx1"/>
                </a:solidFill>
                <a:latin typeface="Segoe UI "/>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3016761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82275" y="6346520"/>
            <a:ext cx="1517649" cy="501497"/>
          </a:xfrm>
          <a:prstGeom prst="rect">
            <a:avLst/>
          </a:prstGeom>
        </p:spPr>
      </p:pic>
      <p:sp>
        <p:nvSpPr>
          <p:cNvPr id="6" name="TextBox 5">
            <a:extLst>
              <a:ext uri="{FF2B5EF4-FFF2-40B4-BE49-F238E27FC236}">
                <a16:creationId xmlns:a16="http://schemas.microsoft.com/office/drawing/2014/main" id="{E110A940-5BC2-3846-9152-948E855CFE9B}"/>
              </a:ext>
            </a:extLst>
          </p:cNvPr>
          <p:cNvSpPr txBox="1"/>
          <p:nvPr userDrawn="1"/>
        </p:nvSpPr>
        <p:spPr>
          <a:xfrm>
            <a:off x="436379" y="6431005"/>
            <a:ext cx="960199" cy="94962"/>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Tree>
    <p:extLst>
      <p:ext uri="{BB962C8B-B14F-4D97-AF65-F5344CB8AC3E}">
        <p14:creationId xmlns:p14="http://schemas.microsoft.com/office/powerpoint/2010/main" val="4201168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General_Blank_Thin">
    <p:spTree>
      <p:nvGrpSpPr>
        <p:cNvPr id="1" name=""/>
        <p:cNvGrpSpPr/>
        <p:nvPr/>
      </p:nvGrpSpPr>
      <p:grpSpPr>
        <a:xfrm>
          <a:off x="0" y="0"/>
          <a:ext cx="0" cy="0"/>
          <a:chOff x="0" y="0"/>
          <a:chExt cx="0" cy="0"/>
        </a:xfrm>
      </p:grpSpPr>
      <p:sp useBgFill="1">
        <p:nvSpPr>
          <p:cNvPr id="12" name="Rectangle: Top Corners Rounded 11"/>
          <p:cNvSpPr/>
          <p:nvPr userDrawn="1"/>
        </p:nvSpPr>
        <p:spPr bwMode="auto">
          <a:xfrm rot="16200000">
            <a:off x="10934847" y="-491996"/>
            <a:ext cx="718681" cy="1886790"/>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426" tIns="137141" rIns="171426" bIns="137141" numCol="1" spcCol="0" rtlCol="0" fromWordArt="0" anchor="t" anchorCtr="0" forceAA="0" compatLnSpc="1">
            <a:prstTxWarp prst="textNoShape">
              <a:avLst/>
            </a:prstTxWarp>
            <a:noAutofit/>
          </a:bodyPr>
          <a:lstStyle/>
          <a:p>
            <a:pPr marL="0" marR="0" lvl="0" indent="0" algn="ctr" defTabSz="874065" rtl="0" eaLnBrk="1" fontAlgn="base" latinLnBrk="0" hangingPunct="1">
              <a:lnSpc>
                <a:spcPct val="90000"/>
              </a:lnSpc>
              <a:spcBef>
                <a:spcPct val="0"/>
              </a:spcBef>
              <a:spcAft>
                <a:spcPct val="0"/>
              </a:spcAft>
              <a:buClrTx/>
              <a:buSzTx/>
              <a:buFontTx/>
              <a:buNone/>
              <a:tabLst/>
              <a:defRPr/>
            </a:pPr>
            <a:endParaRPr kumimoji="0" lang="en-US" sz="22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874065" rtl="0" eaLnBrk="1" fontAlgn="base" latinLnBrk="0" hangingPunct="1">
              <a:lnSpc>
                <a:spcPct val="90000"/>
              </a:lnSpc>
              <a:spcBef>
                <a:spcPct val="0"/>
              </a:spcBef>
              <a:spcAft>
                <a:spcPct val="0"/>
              </a:spcAft>
              <a:buClr>
                <a:schemeClr val="tx1"/>
              </a:buClr>
              <a:buFont typeface="Arial" pitchFamily="34" charset="0"/>
              <a:buNone/>
              <a:defRPr lang="en-US" sz="1313" kern="1200" dirty="0">
                <a:solidFill>
                  <a:schemeClr val="tx1"/>
                </a:solidFill>
                <a:latin typeface="Segoe UI Semibold" panose="020B0702040204020203" pitchFamily="34" charset="0"/>
                <a:ea typeface="Segoe UI" pitchFamily="34" charset="0"/>
                <a:cs typeface="Segoe UI" pitchFamily="34" charset="0"/>
              </a:defRPr>
            </a:lvl1pPr>
            <a:lvl2pPr marL="273805" indent="0">
              <a:buNone/>
              <a:defRPr sz="2206">
                <a:solidFill>
                  <a:schemeClr val="bg1"/>
                </a:solidFill>
                <a:latin typeface="+mn-lt"/>
              </a:defRPr>
            </a:lvl2pPr>
            <a:lvl3pPr marL="488086" indent="0">
              <a:buNone/>
              <a:tabLst/>
              <a:defRPr sz="1838">
                <a:solidFill>
                  <a:schemeClr val="bg1"/>
                </a:solidFill>
                <a:latin typeface="+mn-lt"/>
              </a:defRPr>
            </a:lvl3pPr>
            <a:lvl4pPr marL="642845" indent="0">
              <a:buNone/>
              <a:defRPr>
                <a:solidFill>
                  <a:schemeClr val="bg1"/>
                </a:solidFill>
                <a:latin typeface="+mn-lt"/>
              </a:defRPr>
            </a:lvl4pPr>
            <a:lvl5pPr marL="80950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330200" y="289512"/>
            <a:ext cx="3780246" cy="899665"/>
          </a:xfrm>
        </p:spPr>
        <p:txBody>
          <a:bodyPr/>
          <a:lstStyle>
            <a:lvl1pPr>
              <a:defRPr sz="375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3" y="1604087"/>
            <a:ext cx="3780245" cy="300082"/>
          </a:xfrm>
        </p:spPr>
        <p:txBody>
          <a:bodyPr wrap="square">
            <a:spAutoFit/>
          </a:bodyPr>
          <a:lstStyle>
            <a:lvl1pPr marL="0" indent="0">
              <a:spcBef>
                <a:spcPts val="1124"/>
              </a:spcBef>
              <a:buClr>
                <a:schemeClr val="tx1"/>
              </a:buClr>
              <a:buFont typeface="Arial" pitchFamily="34" charset="0"/>
              <a:buNone/>
              <a:defRPr sz="1500">
                <a:solidFill>
                  <a:schemeClr val="tx1"/>
                </a:solidFill>
                <a:latin typeface="+mn-lt"/>
              </a:defRPr>
            </a:lvl1pPr>
            <a:lvl2pPr marL="273805" indent="0">
              <a:buNone/>
              <a:defRPr sz="2206">
                <a:solidFill>
                  <a:schemeClr val="bg1"/>
                </a:solidFill>
                <a:latin typeface="+mn-lt"/>
              </a:defRPr>
            </a:lvl2pPr>
            <a:lvl3pPr marL="488086" indent="0">
              <a:buNone/>
              <a:tabLst/>
              <a:defRPr sz="1838">
                <a:solidFill>
                  <a:schemeClr val="bg1"/>
                </a:solidFill>
                <a:latin typeface="+mn-lt"/>
              </a:defRPr>
            </a:lvl3pPr>
            <a:lvl4pPr marL="642845" indent="0">
              <a:buNone/>
              <a:defRPr>
                <a:solidFill>
                  <a:schemeClr val="bg1"/>
                </a:solidFill>
                <a:latin typeface="+mn-lt"/>
              </a:defRPr>
            </a:lvl4pPr>
            <a:lvl5pPr marL="80950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121703"/>
            <a:ext cx="3329638" cy="274178"/>
          </a:xfrm>
        </p:spPr>
        <p:txBody>
          <a:bodyPr wrap="square" anchor="ctr" anchorCtr="0">
            <a:spAutoFit/>
          </a:bodyPr>
          <a:lstStyle>
            <a:lvl1pPr marL="0" indent="0">
              <a:spcBef>
                <a:spcPts val="1124"/>
              </a:spcBef>
              <a:buClr>
                <a:schemeClr val="tx1"/>
              </a:buClr>
              <a:buFont typeface="Arial" pitchFamily="34" charset="0"/>
              <a:buNone/>
              <a:defRPr sz="1313">
                <a:solidFill>
                  <a:schemeClr val="tx1"/>
                </a:solidFill>
                <a:latin typeface="+mn-lt"/>
              </a:defRPr>
            </a:lvl1pPr>
            <a:lvl2pPr marL="273805" indent="0">
              <a:buNone/>
              <a:defRPr sz="2206">
                <a:solidFill>
                  <a:schemeClr val="bg1"/>
                </a:solidFill>
                <a:latin typeface="+mn-lt"/>
              </a:defRPr>
            </a:lvl2pPr>
            <a:lvl3pPr marL="488086" indent="0">
              <a:buNone/>
              <a:tabLst/>
              <a:defRPr sz="1838">
                <a:solidFill>
                  <a:schemeClr val="bg1"/>
                </a:solidFill>
                <a:latin typeface="+mn-lt"/>
              </a:defRPr>
            </a:lvl3pPr>
            <a:lvl4pPr marL="642845" indent="0">
              <a:buNone/>
              <a:defRPr>
                <a:solidFill>
                  <a:schemeClr val="bg1"/>
                </a:solidFill>
                <a:latin typeface="+mn-lt"/>
              </a:defRPr>
            </a:lvl4pPr>
            <a:lvl5pPr marL="809509"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2"/>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Freeform 5">
            <a:extLst>
              <a:ext uri="{FF2B5EF4-FFF2-40B4-BE49-F238E27FC236}">
                <a16:creationId xmlns:a16="http://schemas.microsoft.com/office/drawing/2014/main" id="{A92B0539-2DE8-40D0-9B17-A323AB7635B8}"/>
              </a:ext>
            </a:extLst>
          </p:cNvPr>
          <p:cNvSpPr>
            <a:spLocks noEditPoints="1"/>
          </p:cNvSpPr>
          <p:nvPr userDrawn="1"/>
        </p:nvSpPr>
        <p:spPr bwMode="auto">
          <a:xfrm>
            <a:off x="330200" y="6044562"/>
            <a:ext cx="428460" cy="428460"/>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accent4"/>
            </a:solidFill>
            <a:prstDash val="solid"/>
            <a:miter lim="800000"/>
            <a:headEnd/>
            <a:tailEnd/>
          </a:ln>
        </p:spPr>
        <p:txBody>
          <a:bodyPr vert="horz" wrap="square" lIns="84027" tIns="42014" rIns="84027" bIns="42014" numCol="1" anchor="t" anchorCtr="0" compatLnSpc="1">
            <a:prstTxWarp prst="textNoShape">
              <a:avLst/>
            </a:prstTxWarp>
          </a:bodyPr>
          <a:lstStyle/>
          <a:p>
            <a:pPr marL="0" marR="0" lvl="0" indent="0" algn="l" defTabSz="857094" rtl="0" eaLnBrk="1" fontAlgn="auto" latinLnBrk="0" hangingPunct="1">
              <a:lnSpc>
                <a:spcPct val="100000"/>
              </a:lnSpc>
              <a:spcBef>
                <a:spcPts val="0"/>
              </a:spcBef>
              <a:spcAft>
                <a:spcPts val="0"/>
              </a:spcAft>
              <a:buClrTx/>
              <a:buSzTx/>
              <a:buFontTx/>
              <a:buNone/>
              <a:tabLst/>
              <a:defRPr/>
            </a:pPr>
            <a:endParaRPr kumimoji="0" lang="en-US" sz="1655" b="0" i="0" u="none" strike="noStrike" kern="0" cap="none" spc="0" normalizeH="0" baseline="0" noProof="0">
              <a:ln>
                <a:noFill/>
              </a:ln>
              <a:solidFill>
                <a:srgbClr val="FFFFFF"/>
              </a:solidFill>
              <a:effectLst/>
              <a:uLnTx/>
              <a:uFillTx/>
              <a:latin typeface="Segoe UI Semilight"/>
              <a:ea typeface="+mn-ea"/>
              <a:cs typeface="+mn-cs"/>
            </a:endParaRPr>
          </a:p>
        </p:txBody>
      </p:sp>
      <p:sp>
        <p:nvSpPr>
          <p:cNvPr id="10" name="TextBox 9">
            <a:extLst>
              <a:ext uri="{FF2B5EF4-FFF2-40B4-BE49-F238E27FC236}">
                <a16:creationId xmlns:a16="http://schemas.microsoft.com/office/drawing/2014/main" id="{BE6D6556-C630-A34D-80D0-A94A73F84C14}"/>
              </a:ext>
            </a:extLst>
          </p:cNvPr>
          <p:cNvSpPr txBox="1"/>
          <p:nvPr userDrawn="1"/>
        </p:nvSpPr>
        <p:spPr>
          <a:xfrm>
            <a:off x="436379" y="6431005"/>
            <a:ext cx="960199" cy="94962"/>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Tree>
    <p:extLst>
      <p:ext uri="{BB962C8B-B14F-4D97-AF65-F5344CB8AC3E}">
        <p14:creationId xmlns:p14="http://schemas.microsoft.com/office/powerpoint/2010/main" val="1462592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_Dark">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gradFill>
                  <a:gsLst>
                    <a:gs pos="0">
                      <a:schemeClr val="bg1"/>
                    </a:gs>
                    <a:gs pos="100000">
                      <a:schemeClr val="bg1"/>
                    </a:gs>
                  </a:gsLst>
                  <a:lin ang="5400000" scaled="0"/>
                </a:gradFill>
              </a:defRPr>
            </a:lvl1pPr>
          </a:lstStyle>
          <a:p>
            <a:r>
              <a:rPr lang="en-US"/>
              <a:t>Title</a:t>
            </a:r>
          </a:p>
        </p:txBody>
      </p:sp>
    </p:spTree>
    <p:extLst>
      <p:ext uri="{BB962C8B-B14F-4D97-AF65-F5344CB8AC3E}">
        <p14:creationId xmlns:p14="http://schemas.microsoft.com/office/powerpoint/2010/main" val="271634127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rgbClr val="28265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E5556D-6916-42E6-8820-8A0D328A502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62747A5-C962-477F-89AA-A32385D57996}"/>
              </a:ext>
            </a:extLst>
          </p:cNvPr>
          <p:cNvSpPr>
            <a:spLocks noGrp="1"/>
          </p:cNvSpPr>
          <p:nvPr>
            <p:ph sz="half" idx="1"/>
          </p:nvPr>
        </p:nvSpPr>
        <p:spPr>
          <a:xfrm>
            <a:off x="762000" y="1343024"/>
            <a:ext cx="5151119" cy="3810001"/>
          </a:xfrm>
          <a:prstGeom prst="rect">
            <a:avLst/>
          </a:prstGeom>
        </p:spPr>
        <p:txBody>
          <a:bodyPr/>
          <a:lstStyle>
            <a:lvl1pPr>
              <a:defRPr sz="2000">
                <a:latin typeface="Segoe UI "/>
              </a:defRPr>
            </a:lvl1pPr>
            <a:lvl2pPr>
              <a:defRPr sz="1800">
                <a:latin typeface="Segoe UI "/>
              </a:defRPr>
            </a:lvl2pPr>
            <a:lvl3pPr>
              <a:defRPr sz="1600">
                <a:latin typeface="Segoe UI "/>
              </a:defRPr>
            </a:lvl3pPr>
            <a:lvl4pPr>
              <a:defRPr sz="1400">
                <a:latin typeface="Segoe UI "/>
              </a:defRPr>
            </a:lvl4pPr>
            <a:lvl5pPr>
              <a:defRPr sz="1400">
                <a:latin typeface="Segoe UI "/>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CD08312-30FC-44D8-B2A9-B5CAAD9F066F}"/>
              </a:ext>
            </a:extLst>
          </p:cNvPr>
          <p:cNvSpPr>
            <a:spLocks noGrp="1"/>
          </p:cNvSpPr>
          <p:nvPr>
            <p:ph sz="half" idx="2"/>
          </p:nvPr>
        </p:nvSpPr>
        <p:spPr>
          <a:xfrm>
            <a:off x="6278879" y="1343024"/>
            <a:ext cx="5151121" cy="3810001"/>
          </a:xfrm>
          <a:prstGeom prst="rect">
            <a:avLst/>
          </a:prstGeom>
        </p:spPr>
        <p:txBody>
          <a:bodyPr/>
          <a:lstStyle>
            <a:lvl1pPr>
              <a:defRPr sz="2000">
                <a:latin typeface="Segoe UI "/>
              </a:defRPr>
            </a:lvl1pPr>
            <a:lvl2pPr>
              <a:defRPr sz="1800">
                <a:latin typeface="Segoe UI "/>
              </a:defRPr>
            </a:lvl2pPr>
            <a:lvl3pPr>
              <a:defRPr sz="1600">
                <a:latin typeface="Segoe UI "/>
              </a:defRPr>
            </a:lvl3pPr>
            <a:lvl4pPr>
              <a:defRPr sz="1400">
                <a:latin typeface="Segoe UI "/>
              </a:defRPr>
            </a:lvl4pPr>
            <a:lvl5pPr>
              <a:defRPr sz="1400">
                <a:latin typeface="Segoe UI "/>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96473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282655"/>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F329FE0-78FC-79FA-DDD7-2C11F29EC1AF}"/>
              </a:ext>
            </a:extLst>
          </p:cNvPr>
          <p:cNvSpPr>
            <a:spLocks noGrp="1"/>
          </p:cNvSpPr>
          <p:nvPr>
            <p:ph type="title"/>
          </p:nvPr>
        </p:nvSpPr>
        <p:spPr>
          <a:xfrm>
            <a:off x="0" y="141846"/>
            <a:ext cx="12192000" cy="609600"/>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0467954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28265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83434E-A6E2-4571-AFFA-B563EACFF326}"/>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40993637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28265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hasCustomPrompt="1"/>
          </p:nvPr>
        </p:nvSpPr>
        <p:spPr>
          <a:xfrm>
            <a:off x="538477" y="1027252"/>
            <a:ext cx="11653523" cy="1985641"/>
          </a:xfrm>
        </p:spPr>
        <p:txBody>
          <a:bodyPr/>
          <a:lstStyle>
            <a:lvl1pPr marL="0" indent="0">
              <a:buNone/>
              <a:defRPr sz="2400">
                <a:solidFill>
                  <a:schemeClr val="tx1"/>
                </a:solidFill>
                <a:latin typeface="Segoe UI Semibold" panose="020B0702040204020203" pitchFamily="34" charset="0"/>
                <a:cs typeface="Segoe UI Semibold" panose="020B0702040204020203" pitchFamily="34" charset="0"/>
              </a:defRPr>
            </a:lvl1pPr>
            <a:lvl2pPr marL="0" indent="0">
              <a:buFontTx/>
              <a:buNone/>
              <a:defRPr sz="1961">
                <a:latin typeface="Segoe UI "/>
              </a:defRPr>
            </a:lvl2pPr>
            <a:lvl3pPr marL="224097" indent="0">
              <a:buNone/>
              <a:defRPr>
                <a:solidFill>
                  <a:srgbClr val="00FFFF"/>
                </a:solidFill>
                <a:latin typeface="Segoe UI "/>
              </a:defRPr>
            </a:lvl3pPr>
            <a:lvl4pPr marL="448193" indent="0">
              <a:buNone/>
              <a:defRPr>
                <a:solidFill>
                  <a:schemeClr val="tx1"/>
                </a:solidFill>
                <a:latin typeface="Segoe UI "/>
              </a:defRPr>
            </a:lvl4pPr>
            <a:lvl5pPr marL="672290" indent="0">
              <a:buNone/>
              <a:defRPr>
                <a:latin typeface="Segoe UI "/>
              </a:defRPr>
            </a:lvl5pPr>
          </a:lstStyle>
          <a:p>
            <a:pPr lvl="0"/>
            <a:r>
              <a:rPr lang="en-US"/>
              <a:t>Edit Master text styles</a:t>
            </a:r>
          </a:p>
          <a:p>
            <a:pPr lvl="2"/>
            <a:r>
              <a:rPr lang="en-US"/>
              <a:t>Second level</a:t>
            </a:r>
          </a:p>
          <a:p>
            <a:pPr lvl="3"/>
            <a:r>
              <a:rPr lang="en-US"/>
              <a:t>Third level</a:t>
            </a:r>
          </a:p>
        </p:txBody>
      </p:sp>
    </p:spTree>
    <p:extLst>
      <p:ext uri="{BB962C8B-B14F-4D97-AF65-F5344CB8AC3E}">
        <p14:creationId xmlns:p14="http://schemas.microsoft.com/office/powerpoint/2010/main" val="109166735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28265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06011639"/>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microsoft.com/office/2007/relationships/hdphoto" Target="../media/hdphoto1.wdp"/><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4.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3.emf"/><Relationship Id="rId5" Type="http://schemas.openxmlformats.org/officeDocument/2006/relationships/slideLayout" Target="../slideLayouts/slideLayout17.xml"/><Relationship Id="rId10"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image" Target="../media/image3.emf"/><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pic>
        <p:nvPicPr>
          <p:cNvPr id="9" name="Picture 8" descr="A ferris wheel at night&#10;&#10;Description automatically generated with medium confidence">
            <a:extLst>
              <a:ext uri="{FF2B5EF4-FFF2-40B4-BE49-F238E27FC236}">
                <a16:creationId xmlns:a16="http://schemas.microsoft.com/office/drawing/2014/main" id="{CCAA1566-FEF6-2FB3-5DB9-CE3B8DF6C6E2}"/>
              </a:ext>
            </a:extLst>
          </p:cNvPr>
          <p:cNvPicPr>
            <a:picLocks noChangeAspect="1"/>
          </p:cNvPicPr>
          <p:nvPr userDrawn="1"/>
        </p:nvPicPr>
        <p:blipFill rotWithShape="1">
          <a:blip r:embed="rId14">
            <a:extLst>
              <a:ext uri="{BEBA8EAE-BF5A-486C-A8C5-ECC9F3942E4B}">
                <a14:imgProps xmlns:a14="http://schemas.microsoft.com/office/drawing/2010/main">
                  <a14:imgLayer r:embed="rId15">
                    <a14:imgEffect>
                      <a14:brightnessContrast bright="-25000"/>
                    </a14:imgEffect>
                  </a14:imgLayer>
                </a14:imgProps>
              </a:ext>
              <a:ext uri="{28A0092B-C50C-407E-A947-70E740481C1C}">
                <a14:useLocalDpi xmlns:a14="http://schemas.microsoft.com/office/drawing/2010/main" val="0"/>
              </a:ext>
            </a:extLst>
          </a:blip>
          <a:srcRect t="-151" b="56648"/>
          <a:stretch/>
        </p:blipFill>
        <p:spPr>
          <a:xfrm>
            <a:off x="0" y="3594100"/>
            <a:ext cx="12192000" cy="3263899"/>
          </a:xfrm>
          <a:prstGeom prst="rect">
            <a:avLst/>
          </a:prstGeom>
          <a:gradFill>
            <a:gsLst>
              <a:gs pos="100000">
                <a:srgbClr val="171632"/>
              </a:gs>
              <a:gs pos="0">
                <a:srgbClr val="171632"/>
              </a:gs>
            </a:gsLst>
            <a:lin ang="0" scaled="1"/>
          </a:gradFill>
        </p:spPr>
      </p:pic>
      <p:sp>
        <p:nvSpPr>
          <p:cNvPr id="10" name="Rectangle 9">
            <a:extLst>
              <a:ext uri="{FF2B5EF4-FFF2-40B4-BE49-F238E27FC236}">
                <a16:creationId xmlns:a16="http://schemas.microsoft.com/office/drawing/2014/main" id="{6E86DCB1-5291-0F3E-E83E-10DCE3FA24C5}"/>
              </a:ext>
            </a:extLst>
          </p:cNvPr>
          <p:cNvSpPr/>
          <p:nvPr userDrawn="1"/>
        </p:nvSpPr>
        <p:spPr>
          <a:xfrm>
            <a:off x="0" y="0"/>
            <a:ext cx="12192000" cy="5727940"/>
          </a:xfrm>
          <a:prstGeom prst="rect">
            <a:avLst/>
          </a:prstGeom>
          <a:gradFill flip="none" rotWithShape="1">
            <a:gsLst>
              <a:gs pos="32000">
                <a:srgbClr val="171632"/>
              </a:gs>
              <a:gs pos="0">
                <a:srgbClr val="171632">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A3A2F988-7148-4375-83D8-12EE5EBC7BE0}"/>
              </a:ext>
            </a:extLst>
          </p:cNvPr>
          <p:cNvSpPr>
            <a:spLocks noGrp="1"/>
          </p:cNvSpPr>
          <p:nvPr>
            <p:ph type="title"/>
          </p:nvPr>
        </p:nvSpPr>
        <p:spPr>
          <a:xfrm>
            <a:off x="0" y="141846"/>
            <a:ext cx="12192000" cy="609600"/>
          </a:xfrm>
          <a:prstGeom prst="rect">
            <a:avLst/>
          </a:prstGeom>
        </p:spPr>
        <p:txBody>
          <a:bodyPr vert="horz" lIns="91440" tIns="45720" rIns="91440" bIns="45720" rtlCol="0" anchor="ctr">
            <a:noAutofit/>
          </a:bodyPr>
          <a:lstStyle/>
          <a:p>
            <a:r>
              <a:rPr lang="en-US"/>
              <a:t>Click to edit Master title style</a:t>
            </a:r>
          </a:p>
        </p:txBody>
      </p:sp>
      <p:cxnSp>
        <p:nvCxnSpPr>
          <p:cNvPr id="15" name="Straight Connector 14">
            <a:extLst>
              <a:ext uri="{FF2B5EF4-FFF2-40B4-BE49-F238E27FC236}">
                <a16:creationId xmlns:a16="http://schemas.microsoft.com/office/drawing/2014/main" id="{96814FF3-1406-B4F7-E4D7-5433025F85FA}"/>
              </a:ext>
            </a:extLst>
          </p:cNvPr>
          <p:cNvCxnSpPr>
            <a:cxnSpLocks/>
          </p:cNvCxnSpPr>
          <p:nvPr userDrawn="1"/>
        </p:nvCxnSpPr>
        <p:spPr>
          <a:xfrm>
            <a:off x="92075" y="765801"/>
            <a:ext cx="11817985" cy="0"/>
          </a:xfrm>
          <a:prstGeom prst="line">
            <a:avLst/>
          </a:prstGeom>
          <a:ln w="31750">
            <a:gradFill flip="none" rotWithShape="1">
              <a:gsLst>
                <a:gs pos="0">
                  <a:srgbClr val="282655"/>
                </a:gs>
                <a:gs pos="99107">
                  <a:srgbClr val="282655"/>
                </a:gs>
                <a:gs pos="77000">
                  <a:srgbClr val="FF8FFA"/>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A5E80F7E-ED48-9D56-9A78-8EB70625ECAD}"/>
              </a:ext>
            </a:extLst>
          </p:cNvPr>
          <p:cNvSpPr txBox="1"/>
          <p:nvPr userDrawn="1"/>
        </p:nvSpPr>
        <p:spPr>
          <a:xfrm>
            <a:off x="10264775" y="299374"/>
            <a:ext cx="253428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00000">
                      <a:srgbClr val="7030A0"/>
                    </a:gs>
                    <a:gs pos="16000">
                      <a:srgbClr val="FF8FFA"/>
                    </a:gs>
                  </a:gsLst>
                  <a:lin ang="0" scaled="1"/>
                </a:gradFill>
                <a:effectLst/>
                <a:uLnTx/>
                <a:uFillTx/>
                <a:latin typeface="Segoe UI Semibold" panose="020B0702040204020203" pitchFamily="34" charset="0"/>
                <a:ea typeface="+mn-ea"/>
                <a:cs typeface="Segoe UI Semibold" panose="020B0702040204020203" pitchFamily="34" charset="0"/>
              </a:rPr>
              <a:t>Deep Learning</a:t>
            </a:r>
            <a:endParaRPr kumimoji="0" lang="en-US" sz="1400" b="0" i="0" u="none" strike="noStrike" kern="1200" cap="none" spc="0" normalizeH="0" baseline="0" noProof="0">
              <a:ln>
                <a:noFill/>
              </a:ln>
              <a:gradFill>
                <a:gsLst>
                  <a:gs pos="100000">
                    <a:srgbClr val="7030A0"/>
                  </a:gs>
                  <a:gs pos="16000">
                    <a:srgbClr val="FF8FFA"/>
                  </a:gs>
                </a:gsLst>
                <a:lin ang="0" scaled="1"/>
              </a:gra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4233822947"/>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973" r:id="rId4"/>
    <p:sldLayoutId id="2147483664" r:id="rId5"/>
    <p:sldLayoutId id="2147483667" r:id="rId6"/>
    <p:sldLayoutId id="2147483966" r:id="rId7"/>
    <p:sldLayoutId id="2147483967" r:id="rId8"/>
    <p:sldLayoutId id="2147483968" r:id="rId9"/>
    <p:sldLayoutId id="2147483969" r:id="rId10"/>
    <p:sldLayoutId id="2147483970" r:id="rId11"/>
    <p:sldLayoutId id="2147483971" r:id="rId12"/>
  </p:sldLayoutIdLst>
  <p:hf sldNum="0" hdr="0" dt="0"/>
  <p:txStyles>
    <p:titleStyle>
      <a:lvl1pPr marL="457200" indent="0" algn="l" defTabSz="914400" rtl="0" eaLnBrk="1" latinLnBrk="0" hangingPunct="1">
        <a:lnSpc>
          <a:spcPct val="90000"/>
        </a:lnSpc>
        <a:spcBef>
          <a:spcPct val="0"/>
        </a:spcBef>
        <a:buNone/>
        <a:defRPr sz="2800" kern="1200">
          <a:solidFill>
            <a:schemeClr val="tx1"/>
          </a:solidFill>
          <a:latin typeface="Segoe UI Semibold" panose="020B0702040204020203" pitchFamily="34" charset="0"/>
          <a:ea typeface="+mj-ea"/>
          <a:cs typeface="Segoe UI Semibold" panose="020B0702040204020203" pitchFamily="34" charset="0"/>
        </a:defRPr>
      </a:lvl1pPr>
    </p:titleStyle>
    <p:bodyStyle>
      <a:lvl1pPr marL="228600" indent="-228600" algn="l" defTabSz="914400" rtl="0" eaLnBrk="1" latinLnBrk="0" hangingPunct="1">
        <a:lnSpc>
          <a:spcPct val="125000"/>
        </a:lnSpc>
        <a:spcBef>
          <a:spcPts val="1000"/>
        </a:spcBef>
        <a:buFont typeface="Arial" panose="020B0604020202020204" pitchFamily="34" charset="0"/>
        <a:buChar char="•"/>
        <a:defRPr sz="2800" kern="1200">
          <a:solidFill>
            <a:schemeClr val="tx1">
              <a:alpha val="70000"/>
            </a:schemeClr>
          </a:solidFill>
          <a:latin typeface="+mn-lt"/>
          <a:ea typeface="+mn-ea"/>
          <a:cs typeface="+mn-cs"/>
        </a:defRPr>
      </a:lvl1pPr>
      <a:lvl2pPr marL="685800" indent="-228600" algn="l" defTabSz="914400" rtl="0" eaLnBrk="1" latinLnBrk="0" hangingPunct="1">
        <a:lnSpc>
          <a:spcPct val="125000"/>
        </a:lnSpc>
        <a:spcBef>
          <a:spcPts val="500"/>
        </a:spcBef>
        <a:buFont typeface="Arial" panose="020B0604020202020204" pitchFamily="34" charset="0"/>
        <a:buChar char="•"/>
        <a:defRPr sz="2400" kern="1200">
          <a:solidFill>
            <a:schemeClr val="tx1">
              <a:alpha val="70000"/>
            </a:schemeClr>
          </a:solidFill>
          <a:latin typeface="+mn-lt"/>
          <a:ea typeface="+mn-ea"/>
          <a:cs typeface="+mn-cs"/>
        </a:defRPr>
      </a:lvl2pPr>
      <a:lvl3pPr marL="1143000" indent="-228600" algn="l" defTabSz="914400" rtl="0" eaLnBrk="1" latinLnBrk="0" hangingPunct="1">
        <a:lnSpc>
          <a:spcPct val="125000"/>
        </a:lnSpc>
        <a:spcBef>
          <a:spcPts val="500"/>
        </a:spcBef>
        <a:buFont typeface="Arial" panose="020B0604020202020204" pitchFamily="34" charset="0"/>
        <a:buChar char="•"/>
        <a:defRPr sz="2000" kern="1200">
          <a:solidFill>
            <a:schemeClr val="tx1">
              <a:alpha val="70000"/>
            </a:schemeClr>
          </a:solidFill>
          <a:latin typeface="+mn-lt"/>
          <a:ea typeface="+mn-ea"/>
          <a:cs typeface="+mn-cs"/>
        </a:defRPr>
      </a:lvl3pPr>
      <a:lvl4pPr marL="1600200" indent="-228600" algn="l" defTabSz="914400" rtl="0" eaLnBrk="1" latinLnBrk="0" hangingPunct="1">
        <a:lnSpc>
          <a:spcPct val="125000"/>
        </a:lnSpc>
        <a:spcBef>
          <a:spcPts val="500"/>
        </a:spcBef>
        <a:buFont typeface="Arial" panose="020B0604020202020204" pitchFamily="34" charset="0"/>
        <a:buChar char="•"/>
        <a:defRPr sz="1800" kern="1200">
          <a:solidFill>
            <a:schemeClr val="tx1">
              <a:alpha val="70000"/>
            </a:schemeClr>
          </a:solidFill>
          <a:latin typeface="+mn-lt"/>
          <a:ea typeface="+mn-ea"/>
          <a:cs typeface="+mn-cs"/>
        </a:defRPr>
      </a:lvl4pPr>
      <a:lvl5pPr marL="2057400" indent="-228600" algn="l" defTabSz="914400" rtl="0" eaLnBrk="1" latinLnBrk="0" hangingPunct="1">
        <a:lnSpc>
          <a:spcPct val="125000"/>
        </a:lnSpc>
        <a:spcBef>
          <a:spcPts val="500"/>
        </a:spcBef>
        <a:buFont typeface="Arial" panose="020B0604020202020204" pitchFamily="34" charset="0"/>
        <a:buChar char="•"/>
        <a:defRPr sz="1800" kern="1200">
          <a:solidFill>
            <a:schemeClr val="tx1">
              <a:alpha val="7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457956517"/>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35589"/>
          </a:xfrm>
          <a:prstGeom prst="rect">
            <a:avLst/>
          </a:prstGeom>
        </p:spPr>
        <p:txBody>
          <a:bodyPr vert="horz" wrap="square" lIns="18288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85988119"/>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0" r:id="rId14"/>
    <p:sldLayoutId id="2147484011" r:id="rId15"/>
    <p:sldLayoutId id="2147484012" r:id="rId16"/>
    <p:sldLayoutId id="2147484013" r:id="rId17"/>
    <p:sldLayoutId id="2147484014" r:id="rId18"/>
    <p:sldLayoutId id="2147484015" r:id="rId19"/>
    <p:sldLayoutId id="2147484016" r:id="rId20"/>
    <p:sldLayoutId id="2147484017" r:id="rId21"/>
  </p:sldLayoutIdLst>
  <p:transition>
    <p:fade/>
  </p:transition>
  <p:hf hdr="0" ftr="0" dt="0"/>
  <p:txStyles>
    <p:titleStyle>
      <a:lvl1pPr algn="l" defTabSz="914367" rtl="0" eaLnBrk="1" latinLnBrk="0" hangingPunct="1">
        <a:lnSpc>
          <a:spcPct val="90000"/>
        </a:lnSpc>
        <a:spcBef>
          <a:spcPct val="0"/>
        </a:spcBef>
        <a:buNone/>
        <a:defRPr lang="en-US" sz="3921"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2353" b="0" i="0" kern="1200" spc="0" baseline="0">
          <a:solidFill>
            <a:schemeClr val="tx1"/>
          </a:solidFill>
          <a:latin typeface="+mn-lt"/>
          <a:ea typeface="+mn-ea"/>
          <a:cs typeface="+mn-cs"/>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b="0" i="0" kern="1200" spc="0" baseline="0">
          <a:solidFill>
            <a:schemeClr val="tx1"/>
          </a:solidFill>
          <a:latin typeface="+mn-lt"/>
          <a:ea typeface="+mn-ea"/>
          <a:cs typeface="+mn-cs"/>
        </a:defRPr>
      </a:lvl2pPr>
      <a:lvl3pPr marL="448193"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3pPr>
      <a:lvl4pPr marL="672290"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4pPr>
      <a:lvl5pPr marL="896386"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71">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2.xml"/><Relationship Id="rId4" Type="http://schemas.openxmlformats.org/officeDocument/2006/relationships/image" Target="../media/image15.svg"/></Relationships>
</file>

<file path=ppt/slides/_rels/slide13.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2.svg"/><Relationship Id="rId3" Type="http://schemas.openxmlformats.org/officeDocument/2006/relationships/image" Target="../media/image14.png"/><Relationship Id="rId7" Type="http://schemas.microsoft.com/office/2007/relationships/hdphoto" Target="../media/hdphoto2.wdp"/><Relationship Id="rId12"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17.png"/><Relationship Id="rId11" Type="http://schemas.microsoft.com/office/2007/relationships/hdphoto" Target="../media/hdphoto3.wdp"/><Relationship Id="rId5" Type="http://schemas.openxmlformats.org/officeDocument/2006/relationships/image" Target="../media/image16.png"/><Relationship Id="rId15" Type="http://schemas.openxmlformats.org/officeDocument/2006/relationships/image" Target="../media/image24.svg"/><Relationship Id="rId10" Type="http://schemas.openxmlformats.org/officeDocument/2006/relationships/image" Target="../media/image20.png"/><Relationship Id="rId4" Type="http://schemas.openxmlformats.org/officeDocument/2006/relationships/image" Target="../media/image15.svg"/><Relationship Id="rId9" Type="http://schemas.openxmlformats.org/officeDocument/2006/relationships/image" Target="../media/image19.png"/><Relationship Id="rId14" Type="http://schemas.openxmlformats.org/officeDocument/2006/relationships/image" Target="../media/image23.png"/></Relationships>
</file>

<file path=ppt/slides/_rels/slide1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hyperlink" Target="https://top500.org/lists/top500/2021/11/" TargetMode="External"/><Relationship Id="rId7"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microsoft.com/office/2007/relationships/hdphoto" Target="../media/hdphoto4.wdp"/><Relationship Id="rId11" Type="http://schemas.openxmlformats.org/officeDocument/2006/relationships/image" Target="../media/image28.png"/><Relationship Id="rId5" Type="http://schemas.openxmlformats.org/officeDocument/2006/relationships/image" Target="../media/image25.png"/><Relationship Id="rId10" Type="http://schemas.openxmlformats.org/officeDocument/2006/relationships/chart" Target="../charts/chart3.xml"/><Relationship Id="rId4" Type="http://schemas.openxmlformats.org/officeDocument/2006/relationships/chart" Target="../charts/chart1.xml"/><Relationship Id="rId9" Type="http://schemas.openxmlformats.org/officeDocument/2006/relationships/chart" Target="../charts/char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2.xml"/><Relationship Id="rId5" Type="http://schemas.openxmlformats.org/officeDocument/2006/relationships/image" Target="../media/image29.svg"/><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31.jpeg"/><Relationship Id="rId7" Type="http://schemas.openxmlformats.org/officeDocument/2006/relationships/image" Target="../media/image35.emf"/><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image" Target="../media/image34.jpeg"/><Relationship Id="rId5" Type="http://schemas.openxmlformats.org/officeDocument/2006/relationships/image" Target="../media/image33.png"/><Relationship Id="rId4" Type="http://schemas.openxmlformats.org/officeDocument/2006/relationships/image" Target="../media/image32.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0.xml"/><Relationship Id="rId1" Type="http://schemas.openxmlformats.org/officeDocument/2006/relationships/slideLayout" Target="../slideLayouts/slideLayout9.xml"/><Relationship Id="rId4" Type="http://schemas.openxmlformats.org/officeDocument/2006/relationships/image" Target="../media/image37.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39.svg"/></Relationships>
</file>

<file path=ppt/slides/_rels/slide24.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png"/><Relationship Id="rId7" Type="http://schemas.openxmlformats.org/officeDocument/2006/relationships/image" Target="../media/image44.png"/><Relationship Id="rId12" Type="http://schemas.microsoft.com/office/2007/relationships/hdphoto" Target="../media/hdphoto6.wdp"/><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43.svg"/><Relationship Id="rId11" Type="http://schemas.openxmlformats.org/officeDocument/2006/relationships/image" Target="../media/image47.png"/><Relationship Id="rId5" Type="http://schemas.openxmlformats.org/officeDocument/2006/relationships/image" Target="../media/image42.png"/><Relationship Id="rId10" Type="http://schemas.microsoft.com/office/2007/relationships/hdphoto" Target="../media/hdphoto5.wdp"/><Relationship Id="rId4" Type="http://schemas.openxmlformats.org/officeDocument/2006/relationships/image" Target="../media/image41.svg"/><Relationship Id="rId9" Type="http://schemas.openxmlformats.org/officeDocument/2006/relationships/image" Target="../media/image46.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4.xml"/><Relationship Id="rId1" Type="http://schemas.openxmlformats.org/officeDocument/2006/relationships/slideLayout" Target="../slideLayouts/slideLayout11.xml"/><Relationship Id="rId4" Type="http://schemas.openxmlformats.org/officeDocument/2006/relationships/image" Target="../media/image49.png"/></Relationships>
</file>

<file path=ppt/slides/_rels/slide27.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7.png"/><Relationship Id="rId3" Type="http://schemas.openxmlformats.org/officeDocument/2006/relationships/image" Target="../media/image50.png"/><Relationship Id="rId7" Type="http://schemas.microsoft.com/office/2007/relationships/hdphoto" Target="../media/hdphoto8.wdp"/><Relationship Id="rId12" Type="http://schemas.openxmlformats.org/officeDocument/2006/relationships/image" Target="../media/image56.png"/><Relationship Id="rId2" Type="http://schemas.openxmlformats.org/officeDocument/2006/relationships/notesSlide" Target="../notesSlides/notesSlide15.xml"/><Relationship Id="rId1" Type="http://schemas.openxmlformats.org/officeDocument/2006/relationships/slideLayout" Target="../slideLayouts/slideLayout9.xml"/><Relationship Id="rId6" Type="http://schemas.openxmlformats.org/officeDocument/2006/relationships/image" Target="../media/image52.png"/><Relationship Id="rId11" Type="http://schemas.microsoft.com/office/2007/relationships/hdphoto" Target="../media/hdphoto9.wdp"/><Relationship Id="rId5" Type="http://schemas.microsoft.com/office/2007/relationships/hdphoto" Target="../media/hdphoto7.wdp"/><Relationship Id="rId10" Type="http://schemas.openxmlformats.org/officeDocument/2006/relationships/image" Target="../media/image55.png"/><Relationship Id="rId4" Type="http://schemas.openxmlformats.org/officeDocument/2006/relationships/image" Target="../media/image51.png"/><Relationship Id="rId9" Type="http://schemas.openxmlformats.org/officeDocument/2006/relationships/image" Target="../media/image54.png"/></Relationships>
</file>

<file path=ppt/slides/_rels/slide2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microsoft.com/office/2007/relationships/hdphoto" Target="../media/hdphoto7.wdp"/><Relationship Id="rId4" Type="http://schemas.openxmlformats.org/officeDocument/2006/relationships/image" Target="../media/image51.png"/></Relationships>
</file>

<file path=ppt/slides/_rels/slide29.xml.rels><?xml version="1.0" encoding="UTF-8" standalone="yes"?>
<Relationships xmlns="http://schemas.openxmlformats.org/package/2006/relationships"><Relationship Id="rId3" Type="http://schemas.openxmlformats.org/officeDocument/2006/relationships/hyperlink" Target="https://docs.microsoft.com/en-us/azure/cloud-shell/features" TargetMode="External"/><Relationship Id="rId7" Type="http://schemas.openxmlformats.org/officeDocument/2006/relationships/image" Target="../media/image59.png"/><Relationship Id="rId2" Type="http://schemas.openxmlformats.org/officeDocument/2006/relationships/hyperlink" Target="https://docs.microsoft.com/azure/terraform/" TargetMode="External"/><Relationship Id="rId1" Type="http://schemas.openxmlformats.org/officeDocument/2006/relationships/slideLayout" Target="../slideLayouts/slideLayout3.xml"/><Relationship Id="rId6" Type="http://schemas.openxmlformats.org/officeDocument/2006/relationships/image" Target="../media/image58.png"/><Relationship Id="rId5" Type="http://schemas.openxmlformats.org/officeDocument/2006/relationships/hyperlink" Target="https://docs.microsoft.com/en-us/azure/terraform/terraform-cloud-shell" TargetMode="External"/><Relationship Id="rId4" Type="http://schemas.openxmlformats.org/officeDocument/2006/relationships/hyperlink" Target="https://registry.terraform.io/modules/Azure"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hyperlink" Target="https://www.terraform.io/" TargetMode="Externa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4.svg"/><Relationship Id="rId3" Type="http://schemas.openxmlformats.org/officeDocument/2006/relationships/image" Target="../media/image64.svg"/><Relationship Id="rId7" Type="http://schemas.openxmlformats.org/officeDocument/2006/relationships/image" Target="../media/image68.svg"/><Relationship Id="rId12" Type="http://schemas.openxmlformats.org/officeDocument/2006/relationships/image" Target="../media/image73.png"/><Relationship Id="rId2" Type="http://schemas.openxmlformats.org/officeDocument/2006/relationships/image" Target="../media/image63.png"/><Relationship Id="rId1" Type="http://schemas.openxmlformats.org/officeDocument/2006/relationships/slideLayout" Target="../slideLayouts/slideLayout2.xml"/><Relationship Id="rId6" Type="http://schemas.openxmlformats.org/officeDocument/2006/relationships/image" Target="../media/image67.png"/><Relationship Id="rId11" Type="http://schemas.openxmlformats.org/officeDocument/2006/relationships/image" Target="../media/image72.svg"/><Relationship Id="rId5" Type="http://schemas.openxmlformats.org/officeDocument/2006/relationships/image" Target="../media/image66.svg"/><Relationship Id="rId10" Type="http://schemas.openxmlformats.org/officeDocument/2006/relationships/image" Target="../media/image71.png"/><Relationship Id="rId4" Type="http://schemas.openxmlformats.org/officeDocument/2006/relationships/image" Target="../media/image65.png"/><Relationship Id="rId9" Type="http://schemas.openxmlformats.org/officeDocument/2006/relationships/image" Target="../media/image70.sv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hyperlink" Target="https://www.terraform.io/" TargetMode="Externa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hyperlink" Target="https://techcommunity.microsoft.com/t5/azure-global/performance-considerations-for-large-scale-deep-learning/ba-p/2693834" TargetMode="External"/><Relationship Id="rId2" Type="http://schemas.openxmlformats.org/officeDocument/2006/relationships/hyperlink" Target="https://docs.microsoft.com/en-us/azure/virtual-machines/nda100-v4-series" TargetMode="External"/><Relationship Id="rId1" Type="http://schemas.openxmlformats.org/officeDocument/2006/relationships/slideLayout" Target="../slideLayouts/slideLayout4.xml"/><Relationship Id="rId4" Type="http://schemas.openxmlformats.org/officeDocument/2006/relationships/hyperlink" Target="https://github.com/Azure/azurehpc/tree/master/experimental/fairseq_moe_docker_slurm" TargetMode="External"/></Relationships>
</file>

<file path=ppt/slides/_rels/slide4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12.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8B820BDF-290C-DBCB-1BD1-3AC4C7AA8A40}"/>
              </a:ext>
            </a:extLst>
          </p:cNvPr>
          <p:cNvSpPr>
            <a:spLocks noGrp="1"/>
          </p:cNvSpPr>
          <p:nvPr>
            <p:ph type="subTitle" idx="1"/>
          </p:nvPr>
        </p:nvSpPr>
        <p:spPr/>
        <p:txBody>
          <a:bodyPr/>
          <a:lstStyle/>
          <a:p>
            <a:r>
              <a:rPr lang="en-CA"/>
              <a:t>&lt;Presenter Name&gt;</a:t>
            </a:r>
          </a:p>
        </p:txBody>
      </p:sp>
      <p:sp>
        <p:nvSpPr>
          <p:cNvPr id="3" name="Title 2">
            <a:extLst>
              <a:ext uri="{FF2B5EF4-FFF2-40B4-BE49-F238E27FC236}">
                <a16:creationId xmlns:a16="http://schemas.microsoft.com/office/drawing/2014/main" id="{5B79AA4C-B569-F067-DE0C-C3ABEE93DC23}"/>
              </a:ext>
            </a:extLst>
          </p:cNvPr>
          <p:cNvSpPr>
            <a:spLocks noGrp="1"/>
          </p:cNvSpPr>
          <p:nvPr>
            <p:ph type="title"/>
          </p:nvPr>
        </p:nvSpPr>
        <p:spPr/>
        <p:txBody>
          <a:bodyPr/>
          <a:lstStyle/>
          <a:p>
            <a:r>
              <a:rPr lang="en-US"/>
              <a:t>Deep Learning</a:t>
            </a:r>
          </a:p>
        </p:txBody>
      </p:sp>
    </p:spTree>
    <p:extLst>
      <p:ext uri="{BB962C8B-B14F-4D97-AF65-F5344CB8AC3E}">
        <p14:creationId xmlns:p14="http://schemas.microsoft.com/office/powerpoint/2010/main" val="33966253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47A5405-D91A-70BD-C6F5-4C95E7523A18}"/>
              </a:ext>
            </a:extLst>
          </p:cNvPr>
          <p:cNvSpPr>
            <a:spLocks noGrp="1"/>
          </p:cNvSpPr>
          <p:nvPr>
            <p:ph type="title"/>
          </p:nvPr>
        </p:nvSpPr>
        <p:spPr/>
        <p:txBody>
          <a:bodyPr>
            <a:normAutofit/>
          </a:bodyPr>
          <a:lstStyle/>
          <a:p>
            <a:r>
              <a:rPr lang="en-CA"/>
              <a:t>Solution Characteristics</a:t>
            </a:r>
          </a:p>
        </p:txBody>
      </p:sp>
      <p:sp>
        <p:nvSpPr>
          <p:cNvPr id="5" name="Content Placeholder 4">
            <a:extLst>
              <a:ext uri="{FF2B5EF4-FFF2-40B4-BE49-F238E27FC236}">
                <a16:creationId xmlns:a16="http://schemas.microsoft.com/office/drawing/2014/main" id="{885FFBA3-7486-B77C-F47C-9E03FBAC196D}"/>
              </a:ext>
            </a:extLst>
          </p:cNvPr>
          <p:cNvSpPr>
            <a:spLocks noGrp="1"/>
          </p:cNvSpPr>
          <p:nvPr>
            <p:ph type="body" sz="quarter" idx="10"/>
          </p:nvPr>
        </p:nvSpPr>
        <p:spPr>
          <a:prstGeom prst="rect">
            <a:avLst/>
          </a:prstGeom>
        </p:spPr>
        <p:txBody>
          <a:bodyPr>
            <a:normAutofit/>
          </a:bodyPr>
          <a:lstStyle/>
          <a:p>
            <a:pPr marL="342900" indent="-342900">
              <a:lnSpc>
                <a:spcPct val="120000"/>
              </a:lnSpc>
              <a:spcAft>
                <a:spcPts val="600"/>
              </a:spcAft>
              <a:buFont typeface="Arial" panose="020B0604020202020204" pitchFamily="34" charset="0"/>
              <a:buChar char="•"/>
            </a:pPr>
            <a:r>
              <a:rPr lang="en-CA" sz="1800">
                <a:latin typeface="Segoe UI" panose="020B0502040204020203" pitchFamily="34" charset="0"/>
                <a:cs typeface="Segoe UI" panose="020B0502040204020203" pitchFamily="34" charset="0"/>
              </a:rPr>
              <a:t>Leverage scale-and-out HPC design pattern</a:t>
            </a:r>
          </a:p>
          <a:p>
            <a:pPr marL="342900" indent="-342900">
              <a:lnSpc>
                <a:spcPct val="120000"/>
              </a:lnSpc>
              <a:spcAft>
                <a:spcPts val="600"/>
              </a:spcAft>
              <a:buFont typeface="Arial" panose="020B0604020202020204" pitchFamily="34" charset="0"/>
              <a:buChar char="•"/>
            </a:pPr>
            <a:r>
              <a:rPr lang="en-CA" sz="1800">
                <a:latin typeface="Segoe UI" panose="020B0502040204020203" pitchFamily="34" charset="0"/>
                <a:cs typeface="Segoe UI" panose="020B0502040204020203" pitchFamily="34" charset="0"/>
              </a:rPr>
              <a:t>Scale-up nodes comprised of multiple GPUs </a:t>
            </a:r>
          </a:p>
          <a:p>
            <a:pPr marL="342900" indent="-342900">
              <a:lnSpc>
                <a:spcPct val="120000"/>
              </a:lnSpc>
              <a:spcAft>
                <a:spcPts val="600"/>
              </a:spcAft>
              <a:buFont typeface="Arial" panose="020B0604020202020204" pitchFamily="34" charset="0"/>
              <a:buChar char="•"/>
            </a:pPr>
            <a:r>
              <a:rPr lang="en-CA" sz="1800">
                <a:latin typeface="Segoe UI" panose="020B0502040204020203" pitchFamily="34" charset="0"/>
                <a:cs typeface="Segoe UI" panose="020B0502040204020203" pitchFamily="34" charset="0"/>
              </a:rPr>
              <a:t>Low-latency, high-bandwidth fabric interconnects nodes to enable scaling up-and-out to supercomputer proportions </a:t>
            </a:r>
          </a:p>
          <a:p>
            <a:pPr marL="342900" indent="-342900">
              <a:lnSpc>
                <a:spcPct val="120000"/>
              </a:lnSpc>
              <a:spcAft>
                <a:spcPts val="600"/>
              </a:spcAft>
              <a:buFont typeface="Arial" panose="020B0604020202020204" pitchFamily="34" charset="0"/>
              <a:buChar char="•"/>
            </a:pPr>
            <a:r>
              <a:rPr lang="en-CA" sz="1800">
                <a:latin typeface="Segoe UI" panose="020B0502040204020203" pitchFamily="34" charset="0"/>
                <a:cs typeface="Segoe UI" panose="020B0502040204020203" pitchFamily="34" charset="0"/>
              </a:rPr>
              <a:t>Make use of frameworks for Deep Learning that natively support ‘distributed processing’</a:t>
            </a:r>
          </a:p>
          <a:p>
            <a:pPr marL="342900" indent="-342900">
              <a:lnSpc>
                <a:spcPct val="120000"/>
              </a:lnSpc>
              <a:spcAft>
                <a:spcPts val="600"/>
              </a:spcAft>
              <a:buFont typeface="Arial" panose="020B0604020202020204" pitchFamily="34" charset="0"/>
              <a:buChar char="•"/>
            </a:pPr>
            <a:r>
              <a:rPr lang="en-CA" sz="1800">
                <a:latin typeface="Segoe UI" panose="020B0502040204020203" pitchFamily="34" charset="0"/>
                <a:cs typeface="Segoe UI" panose="020B0502040204020203" pitchFamily="34" charset="0"/>
              </a:rPr>
              <a:t>Employ HPC middleware to distribute &amp; manage workload</a:t>
            </a:r>
          </a:p>
        </p:txBody>
      </p:sp>
      <p:pic>
        <p:nvPicPr>
          <p:cNvPr id="3" name="Picture 2" descr="A picture containing dome&#10;&#10;Description automatically generated">
            <a:extLst>
              <a:ext uri="{FF2B5EF4-FFF2-40B4-BE49-F238E27FC236}">
                <a16:creationId xmlns:a16="http://schemas.microsoft.com/office/drawing/2014/main" id="{404966F4-E740-0AB8-93A7-CA8824B53444}"/>
              </a:ext>
            </a:extLst>
          </p:cNvPr>
          <p:cNvPicPr>
            <a:picLocks noChangeAspect="1"/>
          </p:cNvPicPr>
          <p:nvPr/>
        </p:nvPicPr>
        <p:blipFill rotWithShape="1">
          <a:blip r:embed="rId2">
            <a:extLst>
              <a:ext uri="{28A0092B-C50C-407E-A947-70E740481C1C}">
                <a14:useLocalDpi xmlns:a14="http://schemas.microsoft.com/office/drawing/2010/main" val="0"/>
              </a:ext>
            </a:extLst>
          </a:blip>
          <a:srcRect l="5289" r="29363"/>
          <a:stretch/>
        </p:blipFill>
        <p:spPr>
          <a:xfrm>
            <a:off x="6543677" y="1390333"/>
            <a:ext cx="5076823" cy="3914774"/>
          </a:xfrm>
          <a:prstGeom prst="rect">
            <a:avLst/>
          </a:prstGeom>
          <a:effectLst>
            <a:softEdge rad="63500"/>
          </a:effectLst>
        </p:spPr>
      </p:pic>
    </p:spTree>
    <p:extLst>
      <p:ext uri="{BB962C8B-B14F-4D97-AF65-F5344CB8AC3E}">
        <p14:creationId xmlns:p14="http://schemas.microsoft.com/office/powerpoint/2010/main" val="36714101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AE82C453-F336-4453-8C87-CB6DB82D4646}"/>
              </a:ext>
              <a:ext uri="{C183D7F6-B498-43B3-948B-1728B52AA6E4}">
                <adec:decorative xmlns:adec="http://schemas.microsoft.com/office/drawing/2017/decorative" val="1"/>
              </a:ext>
            </a:extLst>
          </p:cNvPr>
          <p:cNvGrpSpPr/>
          <p:nvPr/>
        </p:nvGrpSpPr>
        <p:grpSpPr>
          <a:xfrm>
            <a:off x="1504162" y="1473991"/>
            <a:ext cx="4271901" cy="2595569"/>
            <a:chOff x="-276549" y="2686500"/>
            <a:chExt cx="4271901" cy="2595569"/>
          </a:xfrm>
        </p:grpSpPr>
        <p:sp>
          <p:nvSpPr>
            <p:cNvPr id="22" name="TextBox 21">
              <a:extLst>
                <a:ext uri="{FF2B5EF4-FFF2-40B4-BE49-F238E27FC236}">
                  <a16:creationId xmlns:a16="http://schemas.microsoft.com/office/drawing/2014/main" id="{B067B45C-1B9E-4189-A86E-8D9058D48519}"/>
                </a:ext>
              </a:extLst>
            </p:cNvPr>
            <p:cNvSpPr txBox="1"/>
            <p:nvPr/>
          </p:nvSpPr>
          <p:spPr>
            <a:xfrm>
              <a:off x="819075" y="3974019"/>
              <a:ext cx="2746141" cy="1308050"/>
            </a:xfrm>
            <a:prstGeom prst="rect">
              <a:avLst/>
            </a:prstGeom>
            <a:noFill/>
          </p:spPr>
          <p:txBody>
            <a:bodyPr wrap="square" rtlCol="0">
              <a:spAutoFit/>
            </a:bodyPr>
            <a:lstStyle/>
            <a:p>
              <a:pPr marL="225425" marR="0" lvl="0" indent="-2254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Heavily parallelized</a:t>
              </a:r>
            </a:p>
            <a:p>
              <a:pPr marL="225425" marR="0" lvl="0" indent="-2254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Optimization-focused</a:t>
              </a:r>
            </a:p>
            <a:p>
              <a:pPr marL="225425" marR="0" lvl="0" indent="-2254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Purpose-built design</a:t>
              </a:r>
            </a:p>
            <a:p>
              <a:pPr marL="225425" marR="0" lvl="0" indent="-2254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Proven speed &amp; scale</a:t>
              </a:r>
            </a:p>
          </p:txBody>
        </p:sp>
        <p:grpSp>
          <p:nvGrpSpPr>
            <p:cNvPr id="34" name="chips" descr="chips">
              <a:extLst>
                <a:ext uri="{FF2B5EF4-FFF2-40B4-BE49-F238E27FC236}">
                  <a16:creationId xmlns:a16="http://schemas.microsoft.com/office/drawing/2014/main" id="{D0477CC8-46EA-4171-9F11-7D55A1AB8FCE}"/>
                </a:ext>
              </a:extLst>
            </p:cNvPr>
            <p:cNvGrpSpPr>
              <a:grpSpLocks noChangeAspect="1"/>
            </p:cNvGrpSpPr>
            <p:nvPr/>
          </p:nvGrpSpPr>
          <p:grpSpPr bwMode="auto">
            <a:xfrm>
              <a:off x="1527139" y="3204446"/>
              <a:ext cx="628318" cy="628316"/>
              <a:chOff x="2192" y="809"/>
              <a:chExt cx="295" cy="295"/>
            </a:xfrm>
          </p:grpSpPr>
          <p:sp>
            <p:nvSpPr>
              <p:cNvPr id="35" name="AutoShape 3">
                <a:extLst>
                  <a:ext uri="{FF2B5EF4-FFF2-40B4-BE49-F238E27FC236}">
                    <a16:creationId xmlns:a16="http://schemas.microsoft.com/office/drawing/2014/main" id="{0A57F3E4-090E-4B5B-87C4-6D6084DEA3A8}"/>
                  </a:ext>
                </a:extLst>
              </p:cNvPr>
              <p:cNvSpPr>
                <a:spLocks noChangeAspect="1" noChangeArrowheads="1" noTextEdit="1"/>
              </p:cNvSpPr>
              <p:nvPr/>
            </p:nvSpPr>
            <p:spPr bwMode="auto">
              <a:xfrm>
                <a:off x="2192" y="809"/>
                <a:ext cx="295" cy="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5">
                <a:extLst>
                  <a:ext uri="{FF2B5EF4-FFF2-40B4-BE49-F238E27FC236}">
                    <a16:creationId xmlns:a16="http://schemas.microsoft.com/office/drawing/2014/main" id="{492D2A3F-BDD8-4778-AF19-61BAFA5899C6}"/>
                  </a:ext>
                </a:extLst>
              </p:cNvPr>
              <p:cNvSpPr>
                <a:spLocks/>
              </p:cNvSpPr>
              <p:nvPr/>
            </p:nvSpPr>
            <p:spPr bwMode="auto">
              <a:xfrm>
                <a:off x="2260" y="837"/>
                <a:ext cx="207" cy="199"/>
              </a:xfrm>
              <a:custGeom>
                <a:avLst/>
                <a:gdLst>
                  <a:gd name="T0" fmla="*/ 104 w 207"/>
                  <a:gd name="T1" fmla="*/ 0 h 199"/>
                  <a:gd name="T2" fmla="*/ 104 w 207"/>
                  <a:gd name="T3" fmla="*/ 0 h 199"/>
                  <a:gd name="T4" fmla="*/ 18 w 207"/>
                  <a:gd name="T5" fmla="*/ 0 h 199"/>
                  <a:gd name="T6" fmla="*/ 15 w 207"/>
                  <a:gd name="T7" fmla="*/ 84 h 199"/>
                  <a:gd name="T8" fmla="*/ 0 w 207"/>
                  <a:gd name="T9" fmla="*/ 119 h 199"/>
                  <a:gd name="T10" fmla="*/ 74 w 207"/>
                  <a:gd name="T11" fmla="*/ 118 h 199"/>
                  <a:gd name="T12" fmla="*/ 80 w 207"/>
                  <a:gd name="T13" fmla="*/ 199 h 199"/>
                  <a:gd name="T14" fmla="*/ 115 w 207"/>
                  <a:gd name="T15" fmla="*/ 184 h 199"/>
                  <a:gd name="T16" fmla="*/ 207 w 207"/>
                  <a:gd name="T17" fmla="*/ 183 h 199"/>
                  <a:gd name="T18" fmla="*/ 207 w 207"/>
                  <a:gd name="T19" fmla="*/ 0 h 199"/>
                  <a:gd name="T20" fmla="*/ 104 w 207"/>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199">
                    <a:moveTo>
                      <a:pt x="104" y="0"/>
                    </a:moveTo>
                    <a:lnTo>
                      <a:pt x="104" y="0"/>
                    </a:lnTo>
                    <a:lnTo>
                      <a:pt x="18" y="0"/>
                    </a:lnTo>
                    <a:lnTo>
                      <a:pt x="15" y="84"/>
                    </a:lnTo>
                    <a:lnTo>
                      <a:pt x="0" y="119"/>
                    </a:lnTo>
                    <a:lnTo>
                      <a:pt x="74" y="118"/>
                    </a:lnTo>
                    <a:lnTo>
                      <a:pt x="80" y="199"/>
                    </a:lnTo>
                    <a:lnTo>
                      <a:pt x="115" y="184"/>
                    </a:lnTo>
                    <a:lnTo>
                      <a:pt x="207" y="183"/>
                    </a:lnTo>
                    <a:lnTo>
                      <a:pt x="207" y="0"/>
                    </a:lnTo>
                    <a:lnTo>
                      <a:pt x="10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37" name="Rectangle 6">
                <a:extLst>
                  <a:ext uri="{FF2B5EF4-FFF2-40B4-BE49-F238E27FC236}">
                    <a16:creationId xmlns:a16="http://schemas.microsoft.com/office/drawing/2014/main" id="{F6DC337C-0B50-453A-B91C-A37A54A67A24}"/>
                  </a:ext>
                </a:extLst>
              </p:cNvPr>
              <p:cNvSpPr>
                <a:spLocks noChangeArrowheads="1"/>
              </p:cNvSpPr>
              <p:nvPr/>
            </p:nvSpPr>
            <p:spPr bwMode="auto">
              <a:xfrm>
                <a:off x="2192" y="994"/>
                <a:ext cx="15" cy="1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38" name="Rectangle 7">
                <a:extLst>
                  <a:ext uri="{FF2B5EF4-FFF2-40B4-BE49-F238E27FC236}">
                    <a16:creationId xmlns:a16="http://schemas.microsoft.com/office/drawing/2014/main" id="{48BC8BE9-F239-4FD4-B96B-D8AA63943F74}"/>
                  </a:ext>
                </a:extLst>
              </p:cNvPr>
              <p:cNvSpPr>
                <a:spLocks noChangeArrowheads="1"/>
              </p:cNvSpPr>
              <p:nvPr/>
            </p:nvSpPr>
            <p:spPr bwMode="auto">
              <a:xfrm>
                <a:off x="2192" y="1026"/>
                <a:ext cx="15" cy="1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39" name="Rectangle 8">
                <a:extLst>
                  <a:ext uri="{FF2B5EF4-FFF2-40B4-BE49-F238E27FC236}">
                    <a16:creationId xmlns:a16="http://schemas.microsoft.com/office/drawing/2014/main" id="{F0CC75D3-C331-480D-995E-3112BDC6824F}"/>
                  </a:ext>
                </a:extLst>
              </p:cNvPr>
              <p:cNvSpPr>
                <a:spLocks noChangeArrowheads="1"/>
              </p:cNvSpPr>
              <p:nvPr/>
            </p:nvSpPr>
            <p:spPr bwMode="auto">
              <a:xfrm>
                <a:off x="2192" y="1057"/>
                <a:ext cx="15" cy="1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0" name="Rectangle 9">
                <a:extLst>
                  <a:ext uri="{FF2B5EF4-FFF2-40B4-BE49-F238E27FC236}">
                    <a16:creationId xmlns:a16="http://schemas.microsoft.com/office/drawing/2014/main" id="{8EB72829-36F9-46EE-AE71-C008A2746356}"/>
                  </a:ext>
                </a:extLst>
              </p:cNvPr>
              <p:cNvSpPr>
                <a:spLocks noChangeArrowheads="1"/>
              </p:cNvSpPr>
              <p:nvPr/>
            </p:nvSpPr>
            <p:spPr bwMode="auto">
              <a:xfrm>
                <a:off x="2192" y="964"/>
                <a:ext cx="15" cy="1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1" name="Rectangle 10">
                <a:extLst>
                  <a:ext uri="{FF2B5EF4-FFF2-40B4-BE49-F238E27FC236}">
                    <a16:creationId xmlns:a16="http://schemas.microsoft.com/office/drawing/2014/main" id="{E5DF2BDB-C1B3-4570-8B04-07D61769DFC7}"/>
                  </a:ext>
                </a:extLst>
              </p:cNvPr>
              <p:cNvSpPr>
                <a:spLocks noChangeArrowheads="1"/>
              </p:cNvSpPr>
              <p:nvPr/>
            </p:nvSpPr>
            <p:spPr bwMode="auto">
              <a:xfrm>
                <a:off x="2348" y="994"/>
                <a:ext cx="16" cy="1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2" name="Freeform 11">
                <a:extLst>
                  <a:ext uri="{FF2B5EF4-FFF2-40B4-BE49-F238E27FC236}">
                    <a16:creationId xmlns:a16="http://schemas.microsoft.com/office/drawing/2014/main" id="{778EA793-F9D8-4F25-8DC6-75E4CD3F21A9}"/>
                  </a:ext>
                </a:extLst>
              </p:cNvPr>
              <p:cNvSpPr>
                <a:spLocks/>
              </p:cNvSpPr>
              <p:nvPr/>
            </p:nvSpPr>
            <p:spPr bwMode="auto">
              <a:xfrm>
                <a:off x="2348" y="1057"/>
                <a:ext cx="16" cy="15"/>
              </a:xfrm>
              <a:custGeom>
                <a:avLst/>
                <a:gdLst>
                  <a:gd name="T0" fmla="*/ 0 w 16"/>
                  <a:gd name="T1" fmla="*/ 0 h 15"/>
                  <a:gd name="T2" fmla="*/ 0 w 16"/>
                  <a:gd name="T3" fmla="*/ 15 h 15"/>
                  <a:gd name="T4" fmla="*/ 15 w 16"/>
                  <a:gd name="T5" fmla="*/ 15 h 15"/>
                  <a:gd name="T6" fmla="*/ 16 w 16"/>
                  <a:gd name="T7" fmla="*/ 15 h 15"/>
                  <a:gd name="T8" fmla="*/ 16 w 16"/>
                  <a:gd name="T9" fmla="*/ 0 h 15"/>
                  <a:gd name="T10" fmla="*/ 15 w 16"/>
                  <a:gd name="T11" fmla="*/ 0 h 15"/>
                  <a:gd name="T12" fmla="*/ 0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0" y="0"/>
                    </a:moveTo>
                    <a:lnTo>
                      <a:pt x="0" y="15"/>
                    </a:lnTo>
                    <a:lnTo>
                      <a:pt x="15" y="15"/>
                    </a:lnTo>
                    <a:lnTo>
                      <a:pt x="16" y="15"/>
                    </a:lnTo>
                    <a:lnTo>
                      <a:pt x="16" y="0"/>
                    </a:lnTo>
                    <a:lnTo>
                      <a:pt x="15" y="0"/>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3" name="Rectangle 12">
                <a:extLst>
                  <a:ext uri="{FF2B5EF4-FFF2-40B4-BE49-F238E27FC236}">
                    <a16:creationId xmlns:a16="http://schemas.microsoft.com/office/drawing/2014/main" id="{6342B032-EA6C-4977-A4B6-763DBDBE07C1}"/>
                  </a:ext>
                </a:extLst>
              </p:cNvPr>
              <p:cNvSpPr>
                <a:spLocks noChangeArrowheads="1"/>
              </p:cNvSpPr>
              <p:nvPr/>
            </p:nvSpPr>
            <p:spPr bwMode="auto">
              <a:xfrm>
                <a:off x="2255" y="1089"/>
                <a:ext cx="15"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4" name="Rectangle 13">
                <a:extLst>
                  <a:ext uri="{FF2B5EF4-FFF2-40B4-BE49-F238E27FC236}">
                    <a16:creationId xmlns:a16="http://schemas.microsoft.com/office/drawing/2014/main" id="{3EB76548-90AC-487F-A9A4-8427F89C9A39}"/>
                  </a:ext>
                </a:extLst>
              </p:cNvPr>
              <p:cNvSpPr>
                <a:spLocks noChangeArrowheads="1"/>
              </p:cNvSpPr>
              <p:nvPr/>
            </p:nvSpPr>
            <p:spPr bwMode="auto">
              <a:xfrm>
                <a:off x="2224" y="1089"/>
                <a:ext cx="15"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5" name="Freeform 14">
                <a:extLst>
                  <a:ext uri="{FF2B5EF4-FFF2-40B4-BE49-F238E27FC236}">
                    <a16:creationId xmlns:a16="http://schemas.microsoft.com/office/drawing/2014/main" id="{9025D55B-3F42-4708-8ADB-824C79A24135}"/>
                  </a:ext>
                </a:extLst>
              </p:cNvPr>
              <p:cNvSpPr>
                <a:spLocks/>
              </p:cNvSpPr>
              <p:nvPr/>
            </p:nvSpPr>
            <p:spPr bwMode="auto">
              <a:xfrm>
                <a:off x="2223" y="932"/>
                <a:ext cx="15" cy="16"/>
              </a:xfrm>
              <a:custGeom>
                <a:avLst/>
                <a:gdLst>
                  <a:gd name="T0" fmla="*/ 15 w 15"/>
                  <a:gd name="T1" fmla="*/ 1 h 16"/>
                  <a:gd name="T2" fmla="*/ 15 w 15"/>
                  <a:gd name="T3" fmla="*/ 0 h 16"/>
                  <a:gd name="T4" fmla="*/ 0 w 15"/>
                  <a:gd name="T5" fmla="*/ 0 h 16"/>
                  <a:gd name="T6" fmla="*/ 0 w 15"/>
                  <a:gd name="T7" fmla="*/ 1 h 16"/>
                  <a:gd name="T8" fmla="*/ 0 w 15"/>
                  <a:gd name="T9" fmla="*/ 16 h 16"/>
                  <a:gd name="T10" fmla="*/ 15 w 15"/>
                  <a:gd name="T11" fmla="*/ 16 h 16"/>
                  <a:gd name="T12" fmla="*/ 15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5" y="1"/>
                    </a:moveTo>
                    <a:lnTo>
                      <a:pt x="15" y="0"/>
                    </a:lnTo>
                    <a:lnTo>
                      <a:pt x="0" y="0"/>
                    </a:lnTo>
                    <a:lnTo>
                      <a:pt x="0" y="1"/>
                    </a:lnTo>
                    <a:lnTo>
                      <a:pt x="0" y="16"/>
                    </a:lnTo>
                    <a:lnTo>
                      <a:pt x="15" y="16"/>
                    </a:lnTo>
                    <a:lnTo>
                      <a:pt x="15" y="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6" name="Rectangle 15">
                <a:extLst>
                  <a:ext uri="{FF2B5EF4-FFF2-40B4-BE49-F238E27FC236}">
                    <a16:creationId xmlns:a16="http://schemas.microsoft.com/office/drawing/2014/main" id="{C278688A-36E0-4CFA-A590-840B6C8AD020}"/>
                  </a:ext>
                </a:extLst>
              </p:cNvPr>
              <p:cNvSpPr>
                <a:spLocks noChangeArrowheads="1"/>
              </p:cNvSpPr>
              <p:nvPr/>
            </p:nvSpPr>
            <p:spPr bwMode="auto">
              <a:xfrm>
                <a:off x="2317" y="1089"/>
                <a:ext cx="16"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7" name="Rectangle 16">
                <a:extLst>
                  <a:ext uri="{FF2B5EF4-FFF2-40B4-BE49-F238E27FC236}">
                    <a16:creationId xmlns:a16="http://schemas.microsoft.com/office/drawing/2014/main" id="{48678C07-4CC2-4110-9692-FB677D5FD11E}"/>
                  </a:ext>
                </a:extLst>
              </p:cNvPr>
              <p:cNvSpPr>
                <a:spLocks noChangeArrowheads="1"/>
              </p:cNvSpPr>
              <p:nvPr/>
            </p:nvSpPr>
            <p:spPr bwMode="auto">
              <a:xfrm>
                <a:off x="2285" y="1089"/>
                <a:ext cx="16"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8" name="Freeform 17">
                <a:extLst>
                  <a:ext uri="{FF2B5EF4-FFF2-40B4-BE49-F238E27FC236}">
                    <a16:creationId xmlns:a16="http://schemas.microsoft.com/office/drawing/2014/main" id="{A0476DDF-E6C4-4632-9E27-62F5FD8D5E9E}"/>
                  </a:ext>
                </a:extLst>
              </p:cNvPr>
              <p:cNvSpPr>
                <a:spLocks/>
              </p:cNvSpPr>
              <p:nvPr/>
            </p:nvSpPr>
            <p:spPr bwMode="auto">
              <a:xfrm>
                <a:off x="2348" y="1025"/>
                <a:ext cx="16" cy="16"/>
              </a:xfrm>
              <a:custGeom>
                <a:avLst/>
                <a:gdLst>
                  <a:gd name="T0" fmla="*/ 16 w 16"/>
                  <a:gd name="T1" fmla="*/ 0 h 16"/>
                  <a:gd name="T2" fmla="*/ 0 w 16"/>
                  <a:gd name="T3" fmla="*/ 0 h 16"/>
                  <a:gd name="T4" fmla="*/ 0 w 16"/>
                  <a:gd name="T5" fmla="*/ 1 h 16"/>
                  <a:gd name="T6" fmla="*/ 0 w 16"/>
                  <a:gd name="T7" fmla="*/ 16 h 16"/>
                  <a:gd name="T8" fmla="*/ 16 w 16"/>
                  <a:gd name="T9" fmla="*/ 16 h 16"/>
                  <a:gd name="T10" fmla="*/ 16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16" y="0"/>
                    </a:moveTo>
                    <a:lnTo>
                      <a:pt x="0" y="0"/>
                    </a:lnTo>
                    <a:lnTo>
                      <a:pt x="0" y="1"/>
                    </a:lnTo>
                    <a:lnTo>
                      <a:pt x="0" y="16"/>
                    </a:lnTo>
                    <a:lnTo>
                      <a:pt x="16" y="16"/>
                    </a:lnTo>
                    <a:lnTo>
                      <a:pt x="16"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9" name="Freeform 18">
                <a:extLst>
                  <a:ext uri="{FF2B5EF4-FFF2-40B4-BE49-F238E27FC236}">
                    <a16:creationId xmlns:a16="http://schemas.microsoft.com/office/drawing/2014/main" id="{D81F06D7-A9CD-4FCF-8169-E61D7BDC28AF}"/>
                  </a:ext>
                </a:extLst>
              </p:cNvPr>
              <p:cNvSpPr>
                <a:spLocks/>
              </p:cNvSpPr>
              <p:nvPr/>
            </p:nvSpPr>
            <p:spPr bwMode="auto">
              <a:xfrm>
                <a:off x="2344" y="962"/>
                <a:ext cx="20" cy="16"/>
              </a:xfrm>
              <a:custGeom>
                <a:avLst/>
                <a:gdLst>
                  <a:gd name="T0" fmla="*/ 0 w 20"/>
                  <a:gd name="T1" fmla="*/ 16 h 16"/>
                  <a:gd name="T2" fmla="*/ 20 w 20"/>
                  <a:gd name="T3" fmla="*/ 16 h 16"/>
                  <a:gd name="T4" fmla="*/ 20 w 20"/>
                  <a:gd name="T5" fmla="*/ 2 h 16"/>
                  <a:gd name="T6" fmla="*/ 20 w 20"/>
                  <a:gd name="T7" fmla="*/ 0 h 16"/>
                  <a:gd name="T8" fmla="*/ 4 w 20"/>
                  <a:gd name="T9" fmla="*/ 0 h 16"/>
                  <a:gd name="T10" fmla="*/ 4 w 20"/>
                  <a:gd name="T11" fmla="*/ 2 h 16"/>
                  <a:gd name="T12" fmla="*/ 0 w 2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0" h="16">
                    <a:moveTo>
                      <a:pt x="0" y="16"/>
                    </a:moveTo>
                    <a:lnTo>
                      <a:pt x="20" y="16"/>
                    </a:lnTo>
                    <a:lnTo>
                      <a:pt x="20" y="2"/>
                    </a:lnTo>
                    <a:lnTo>
                      <a:pt x="20" y="0"/>
                    </a:lnTo>
                    <a:lnTo>
                      <a:pt x="4" y="0"/>
                    </a:lnTo>
                    <a:lnTo>
                      <a:pt x="4" y="2"/>
                    </a:lnTo>
                    <a:lnTo>
                      <a:pt x="0" y="1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0" name="Freeform 19">
                <a:extLst>
                  <a:ext uri="{FF2B5EF4-FFF2-40B4-BE49-F238E27FC236}">
                    <a16:creationId xmlns:a16="http://schemas.microsoft.com/office/drawing/2014/main" id="{3E69BDAF-4336-4CBE-8F21-A9662B74D654}"/>
                  </a:ext>
                </a:extLst>
              </p:cNvPr>
              <p:cNvSpPr>
                <a:spLocks/>
              </p:cNvSpPr>
              <p:nvPr/>
            </p:nvSpPr>
            <p:spPr bwMode="auto">
              <a:xfrm>
                <a:off x="2255" y="932"/>
                <a:ext cx="78" cy="21"/>
              </a:xfrm>
              <a:custGeom>
                <a:avLst/>
                <a:gdLst>
                  <a:gd name="T0" fmla="*/ 0 w 78"/>
                  <a:gd name="T1" fmla="*/ 21 h 21"/>
                  <a:gd name="T2" fmla="*/ 15 w 78"/>
                  <a:gd name="T3" fmla="*/ 21 h 21"/>
                  <a:gd name="T4" fmla="*/ 15 w 78"/>
                  <a:gd name="T5" fmla="*/ 21 h 21"/>
                  <a:gd name="T6" fmla="*/ 32 w 78"/>
                  <a:gd name="T7" fmla="*/ 21 h 21"/>
                  <a:gd name="T8" fmla="*/ 46 w 78"/>
                  <a:gd name="T9" fmla="*/ 21 h 21"/>
                  <a:gd name="T10" fmla="*/ 46 w 78"/>
                  <a:gd name="T11" fmla="*/ 21 h 21"/>
                  <a:gd name="T12" fmla="*/ 62 w 78"/>
                  <a:gd name="T13" fmla="*/ 21 h 21"/>
                  <a:gd name="T14" fmla="*/ 78 w 78"/>
                  <a:gd name="T15" fmla="*/ 21 h 21"/>
                  <a:gd name="T16" fmla="*/ 78 w 78"/>
                  <a:gd name="T17" fmla="*/ 0 h 21"/>
                  <a:gd name="T18" fmla="*/ 62 w 78"/>
                  <a:gd name="T19" fmla="*/ 0 h 21"/>
                  <a:gd name="T20" fmla="*/ 62 w 78"/>
                  <a:gd name="T21" fmla="*/ 21 h 21"/>
                  <a:gd name="T22" fmla="*/ 46 w 78"/>
                  <a:gd name="T23" fmla="*/ 21 h 21"/>
                  <a:gd name="T24" fmla="*/ 46 w 78"/>
                  <a:gd name="T25" fmla="*/ 18 h 21"/>
                  <a:gd name="T26" fmla="*/ 46 w 78"/>
                  <a:gd name="T27" fmla="*/ 0 h 21"/>
                  <a:gd name="T28" fmla="*/ 32 w 78"/>
                  <a:gd name="T29" fmla="*/ 0 h 21"/>
                  <a:gd name="T30" fmla="*/ 32 w 78"/>
                  <a:gd name="T31" fmla="*/ 21 h 21"/>
                  <a:gd name="T32" fmla="*/ 15 w 78"/>
                  <a:gd name="T33" fmla="*/ 21 h 21"/>
                  <a:gd name="T34" fmla="*/ 15 w 78"/>
                  <a:gd name="T35" fmla="*/ 21 h 21"/>
                  <a:gd name="T36" fmla="*/ 15 w 78"/>
                  <a:gd name="T37" fmla="*/ 19 h 21"/>
                  <a:gd name="T38" fmla="*/ 15 w 78"/>
                  <a:gd name="T39" fmla="*/ 18 h 21"/>
                  <a:gd name="T40" fmla="*/ 15 w 78"/>
                  <a:gd name="T41" fmla="*/ 18 h 21"/>
                  <a:gd name="T42" fmla="*/ 15 w 78"/>
                  <a:gd name="T43" fmla="*/ 0 h 21"/>
                  <a:gd name="T44" fmla="*/ 0 w 78"/>
                  <a:gd name="T45" fmla="*/ 0 h 21"/>
                  <a:gd name="T46" fmla="*/ 0 w 78"/>
                  <a:gd name="T47" fmla="*/ 1 h 21"/>
                  <a:gd name="T48" fmla="*/ 0 w 78"/>
                  <a:gd name="T4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21">
                    <a:moveTo>
                      <a:pt x="0" y="21"/>
                    </a:moveTo>
                    <a:lnTo>
                      <a:pt x="15" y="21"/>
                    </a:lnTo>
                    <a:lnTo>
                      <a:pt x="15" y="21"/>
                    </a:lnTo>
                    <a:lnTo>
                      <a:pt x="32" y="21"/>
                    </a:lnTo>
                    <a:lnTo>
                      <a:pt x="46" y="21"/>
                    </a:lnTo>
                    <a:lnTo>
                      <a:pt x="46" y="21"/>
                    </a:lnTo>
                    <a:lnTo>
                      <a:pt x="62" y="21"/>
                    </a:lnTo>
                    <a:lnTo>
                      <a:pt x="78" y="21"/>
                    </a:lnTo>
                    <a:lnTo>
                      <a:pt x="78" y="0"/>
                    </a:lnTo>
                    <a:lnTo>
                      <a:pt x="62" y="0"/>
                    </a:lnTo>
                    <a:lnTo>
                      <a:pt x="62" y="21"/>
                    </a:lnTo>
                    <a:lnTo>
                      <a:pt x="46" y="21"/>
                    </a:lnTo>
                    <a:lnTo>
                      <a:pt x="46" y="18"/>
                    </a:lnTo>
                    <a:lnTo>
                      <a:pt x="46" y="0"/>
                    </a:lnTo>
                    <a:lnTo>
                      <a:pt x="32" y="0"/>
                    </a:lnTo>
                    <a:lnTo>
                      <a:pt x="32" y="21"/>
                    </a:lnTo>
                    <a:lnTo>
                      <a:pt x="15" y="21"/>
                    </a:lnTo>
                    <a:lnTo>
                      <a:pt x="15" y="21"/>
                    </a:lnTo>
                    <a:lnTo>
                      <a:pt x="15" y="19"/>
                    </a:lnTo>
                    <a:lnTo>
                      <a:pt x="15" y="18"/>
                    </a:lnTo>
                    <a:lnTo>
                      <a:pt x="15" y="18"/>
                    </a:lnTo>
                    <a:lnTo>
                      <a:pt x="15" y="0"/>
                    </a:lnTo>
                    <a:lnTo>
                      <a:pt x="0" y="0"/>
                    </a:lnTo>
                    <a:lnTo>
                      <a:pt x="0" y="1"/>
                    </a:lnTo>
                    <a:lnTo>
                      <a:pt x="0" y="2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1" name="Rectangle 20">
                <a:extLst>
                  <a:ext uri="{FF2B5EF4-FFF2-40B4-BE49-F238E27FC236}">
                    <a16:creationId xmlns:a16="http://schemas.microsoft.com/office/drawing/2014/main" id="{02AF2F6C-8FD7-4BF8-9B24-440BED3FA2C5}"/>
                  </a:ext>
                </a:extLst>
              </p:cNvPr>
              <p:cNvSpPr>
                <a:spLocks noChangeArrowheads="1"/>
              </p:cNvSpPr>
              <p:nvPr/>
            </p:nvSpPr>
            <p:spPr bwMode="auto">
              <a:xfrm>
                <a:off x="2224" y="964"/>
                <a:ext cx="109" cy="10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2" name="Freeform 21">
                <a:extLst>
                  <a:ext uri="{FF2B5EF4-FFF2-40B4-BE49-F238E27FC236}">
                    <a16:creationId xmlns:a16="http://schemas.microsoft.com/office/drawing/2014/main" id="{A4CBD18F-441A-4C27-8A10-E9BD22CC1271}"/>
                  </a:ext>
                </a:extLst>
              </p:cNvPr>
              <p:cNvSpPr>
                <a:spLocks/>
              </p:cNvSpPr>
              <p:nvPr/>
            </p:nvSpPr>
            <p:spPr bwMode="auto">
              <a:xfrm>
                <a:off x="2255" y="808"/>
                <a:ext cx="232" cy="233"/>
              </a:xfrm>
              <a:custGeom>
                <a:avLst/>
                <a:gdLst>
                  <a:gd name="T0" fmla="*/ 232 w 232"/>
                  <a:gd name="T1" fmla="*/ 30 h 233"/>
                  <a:gd name="T2" fmla="*/ 218 w 232"/>
                  <a:gd name="T3" fmla="*/ 15 h 233"/>
                  <a:gd name="T4" fmla="*/ 201 w 232"/>
                  <a:gd name="T5" fmla="*/ 0 h 233"/>
                  <a:gd name="T6" fmla="*/ 186 w 232"/>
                  <a:gd name="T7" fmla="*/ 15 h 233"/>
                  <a:gd name="T8" fmla="*/ 171 w 232"/>
                  <a:gd name="T9" fmla="*/ 0 h 233"/>
                  <a:gd name="T10" fmla="*/ 155 w 232"/>
                  <a:gd name="T11" fmla="*/ 15 h 233"/>
                  <a:gd name="T12" fmla="*/ 140 w 232"/>
                  <a:gd name="T13" fmla="*/ 0 h 233"/>
                  <a:gd name="T14" fmla="*/ 124 w 232"/>
                  <a:gd name="T15" fmla="*/ 15 h 233"/>
                  <a:gd name="T16" fmla="*/ 108 w 232"/>
                  <a:gd name="T17" fmla="*/ 0 h 233"/>
                  <a:gd name="T18" fmla="*/ 93 w 232"/>
                  <a:gd name="T19" fmla="*/ 15 h 233"/>
                  <a:gd name="T20" fmla="*/ 78 w 232"/>
                  <a:gd name="T21" fmla="*/ 0 h 233"/>
                  <a:gd name="T22" fmla="*/ 61 w 232"/>
                  <a:gd name="T23" fmla="*/ 15 h 233"/>
                  <a:gd name="T24" fmla="*/ 46 w 232"/>
                  <a:gd name="T25" fmla="*/ 0 h 233"/>
                  <a:gd name="T26" fmla="*/ 30 w 232"/>
                  <a:gd name="T27" fmla="*/ 15 h 233"/>
                  <a:gd name="T28" fmla="*/ 15 w 232"/>
                  <a:gd name="T29" fmla="*/ 30 h 233"/>
                  <a:gd name="T30" fmla="*/ 0 w 232"/>
                  <a:gd name="T31" fmla="*/ 47 h 233"/>
                  <a:gd name="T32" fmla="*/ 15 w 232"/>
                  <a:gd name="T33" fmla="*/ 62 h 233"/>
                  <a:gd name="T34" fmla="*/ 0 w 232"/>
                  <a:gd name="T35" fmla="*/ 78 h 233"/>
                  <a:gd name="T36" fmla="*/ 15 w 232"/>
                  <a:gd name="T37" fmla="*/ 93 h 233"/>
                  <a:gd name="T38" fmla="*/ 0 w 232"/>
                  <a:gd name="T39" fmla="*/ 108 h 233"/>
                  <a:gd name="T40" fmla="*/ 15 w 232"/>
                  <a:gd name="T41" fmla="*/ 124 h 233"/>
                  <a:gd name="T42" fmla="*/ 32 w 232"/>
                  <a:gd name="T43" fmla="*/ 30 h 233"/>
                  <a:gd name="T44" fmla="*/ 201 w 232"/>
                  <a:gd name="T45" fmla="*/ 202 h 233"/>
                  <a:gd name="T46" fmla="*/ 109 w 232"/>
                  <a:gd name="T47" fmla="*/ 202 h 233"/>
                  <a:gd name="T48" fmla="*/ 109 w 232"/>
                  <a:gd name="T49" fmla="*/ 217 h 233"/>
                  <a:gd name="T50" fmla="*/ 124 w 232"/>
                  <a:gd name="T51" fmla="*/ 233 h 233"/>
                  <a:gd name="T52" fmla="*/ 139 w 232"/>
                  <a:gd name="T53" fmla="*/ 218 h 233"/>
                  <a:gd name="T54" fmla="*/ 155 w 232"/>
                  <a:gd name="T55" fmla="*/ 233 h 233"/>
                  <a:gd name="T56" fmla="*/ 171 w 232"/>
                  <a:gd name="T57" fmla="*/ 218 h 233"/>
                  <a:gd name="T58" fmla="*/ 186 w 232"/>
                  <a:gd name="T59" fmla="*/ 233 h 233"/>
                  <a:gd name="T60" fmla="*/ 201 w 232"/>
                  <a:gd name="T61" fmla="*/ 218 h 233"/>
                  <a:gd name="T62" fmla="*/ 218 w 232"/>
                  <a:gd name="T63" fmla="*/ 202 h 233"/>
                  <a:gd name="T64" fmla="*/ 232 w 232"/>
                  <a:gd name="T65" fmla="*/ 186 h 233"/>
                  <a:gd name="T66" fmla="*/ 218 w 232"/>
                  <a:gd name="T67" fmla="*/ 171 h 233"/>
                  <a:gd name="T68" fmla="*/ 232 w 232"/>
                  <a:gd name="T69" fmla="*/ 156 h 233"/>
                  <a:gd name="T70" fmla="*/ 218 w 232"/>
                  <a:gd name="T71" fmla="*/ 140 h 233"/>
                  <a:gd name="T72" fmla="*/ 232 w 232"/>
                  <a:gd name="T73" fmla="*/ 124 h 233"/>
                  <a:gd name="T74" fmla="*/ 218 w 232"/>
                  <a:gd name="T75" fmla="*/ 108 h 233"/>
                  <a:gd name="T76" fmla="*/ 232 w 232"/>
                  <a:gd name="T77" fmla="*/ 93 h 233"/>
                  <a:gd name="T78" fmla="*/ 218 w 232"/>
                  <a:gd name="T79" fmla="*/ 78 h 233"/>
                  <a:gd name="T80" fmla="*/ 232 w 232"/>
                  <a:gd name="T81" fmla="*/ 62 h 233"/>
                  <a:gd name="T82" fmla="*/ 218 w 232"/>
                  <a:gd name="T83" fmla="*/ 47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233">
                    <a:moveTo>
                      <a:pt x="232" y="47"/>
                    </a:moveTo>
                    <a:lnTo>
                      <a:pt x="232" y="30"/>
                    </a:lnTo>
                    <a:lnTo>
                      <a:pt x="218" y="30"/>
                    </a:lnTo>
                    <a:lnTo>
                      <a:pt x="218" y="15"/>
                    </a:lnTo>
                    <a:lnTo>
                      <a:pt x="201" y="15"/>
                    </a:lnTo>
                    <a:lnTo>
                      <a:pt x="201" y="0"/>
                    </a:lnTo>
                    <a:lnTo>
                      <a:pt x="186" y="0"/>
                    </a:lnTo>
                    <a:lnTo>
                      <a:pt x="186" y="15"/>
                    </a:lnTo>
                    <a:lnTo>
                      <a:pt x="171" y="15"/>
                    </a:lnTo>
                    <a:lnTo>
                      <a:pt x="171" y="0"/>
                    </a:lnTo>
                    <a:lnTo>
                      <a:pt x="155" y="0"/>
                    </a:lnTo>
                    <a:lnTo>
                      <a:pt x="155" y="15"/>
                    </a:lnTo>
                    <a:lnTo>
                      <a:pt x="140" y="15"/>
                    </a:lnTo>
                    <a:lnTo>
                      <a:pt x="140" y="0"/>
                    </a:lnTo>
                    <a:lnTo>
                      <a:pt x="124" y="0"/>
                    </a:lnTo>
                    <a:lnTo>
                      <a:pt x="124" y="15"/>
                    </a:lnTo>
                    <a:lnTo>
                      <a:pt x="108" y="15"/>
                    </a:lnTo>
                    <a:lnTo>
                      <a:pt x="108" y="0"/>
                    </a:lnTo>
                    <a:lnTo>
                      <a:pt x="93" y="0"/>
                    </a:lnTo>
                    <a:lnTo>
                      <a:pt x="93" y="15"/>
                    </a:lnTo>
                    <a:lnTo>
                      <a:pt x="78" y="15"/>
                    </a:lnTo>
                    <a:lnTo>
                      <a:pt x="78" y="0"/>
                    </a:lnTo>
                    <a:lnTo>
                      <a:pt x="61" y="0"/>
                    </a:lnTo>
                    <a:lnTo>
                      <a:pt x="61" y="15"/>
                    </a:lnTo>
                    <a:lnTo>
                      <a:pt x="46" y="15"/>
                    </a:lnTo>
                    <a:lnTo>
                      <a:pt x="46" y="0"/>
                    </a:lnTo>
                    <a:lnTo>
                      <a:pt x="30" y="0"/>
                    </a:lnTo>
                    <a:lnTo>
                      <a:pt x="30" y="15"/>
                    </a:lnTo>
                    <a:lnTo>
                      <a:pt x="15" y="15"/>
                    </a:lnTo>
                    <a:lnTo>
                      <a:pt x="15" y="30"/>
                    </a:lnTo>
                    <a:lnTo>
                      <a:pt x="0" y="30"/>
                    </a:lnTo>
                    <a:lnTo>
                      <a:pt x="0" y="47"/>
                    </a:lnTo>
                    <a:lnTo>
                      <a:pt x="15" y="47"/>
                    </a:lnTo>
                    <a:lnTo>
                      <a:pt x="15" y="62"/>
                    </a:lnTo>
                    <a:lnTo>
                      <a:pt x="0" y="62"/>
                    </a:lnTo>
                    <a:lnTo>
                      <a:pt x="0" y="78"/>
                    </a:lnTo>
                    <a:lnTo>
                      <a:pt x="15" y="78"/>
                    </a:lnTo>
                    <a:lnTo>
                      <a:pt x="15" y="93"/>
                    </a:lnTo>
                    <a:lnTo>
                      <a:pt x="0" y="93"/>
                    </a:lnTo>
                    <a:lnTo>
                      <a:pt x="0" y="108"/>
                    </a:lnTo>
                    <a:lnTo>
                      <a:pt x="15" y="108"/>
                    </a:lnTo>
                    <a:lnTo>
                      <a:pt x="15" y="124"/>
                    </a:lnTo>
                    <a:lnTo>
                      <a:pt x="32" y="124"/>
                    </a:lnTo>
                    <a:lnTo>
                      <a:pt x="32" y="30"/>
                    </a:lnTo>
                    <a:lnTo>
                      <a:pt x="201" y="30"/>
                    </a:lnTo>
                    <a:lnTo>
                      <a:pt x="201" y="202"/>
                    </a:lnTo>
                    <a:lnTo>
                      <a:pt x="109" y="202"/>
                    </a:lnTo>
                    <a:lnTo>
                      <a:pt x="109" y="202"/>
                    </a:lnTo>
                    <a:lnTo>
                      <a:pt x="109" y="203"/>
                    </a:lnTo>
                    <a:lnTo>
                      <a:pt x="109" y="217"/>
                    </a:lnTo>
                    <a:lnTo>
                      <a:pt x="124" y="218"/>
                    </a:lnTo>
                    <a:lnTo>
                      <a:pt x="124" y="233"/>
                    </a:lnTo>
                    <a:lnTo>
                      <a:pt x="139" y="233"/>
                    </a:lnTo>
                    <a:lnTo>
                      <a:pt x="139" y="218"/>
                    </a:lnTo>
                    <a:lnTo>
                      <a:pt x="155" y="218"/>
                    </a:lnTo>
                    <a:lnTo>
                      <a:pt x="155" y="233"/>
                    </a:lnTo>
                    <a:lnTo>
                      <a:pt x="171" y="233"/>
                    </a:lnTo>
                    <a:lnTo>
                      <a:pt x="171" y="218"/>
                    </a:lnTo>
                    <a:lnTo>
                      <a:pt x="186" y="218"/>
                    </a:lnTo>
                    <a:lnTo>
                      <a:pt x="186" y="233"/>
                    </a:lnTo>
                    <a:lnTo>
                      <a:pt x="201" y="233"/>
                    </a:lnTo>
                    <a:lnTo>
                      <a:pt x="201" y="218"/>
                    </a:lnTo>
                    <a:lnTo>
                      <a:pt x="218" y="218"/>
                    </a:lnTo>
                    <a:lnTo>
                      <a:pt x="218" y="202"/>
                    </a:lnTo>
                    <a:lnTo>
                      <a:pt x="232" y="202"/>
                    </a:lnTo>
                    <a:lnTo>
                      <a:pt x="232" y="186"/>
                    </a:lnTo>
                    <a:lnTo>
                      <a:pt x="218" y="186"/>
                    </a:lnTo>
                    <a:lnTo>
                      <a:pt x="218" y="171"/>
                    </a:lnTo>
                    <a:lnTo>
                      <a:pt x="232" y="171"/>
                    </a:lnTo>
                    <a:lnTo>
                      <a:pt x="232" y="156"/>
                    </a:lnTo>
                    <a:lnTo>
                      <a:pt x="218" y="156"/>
                    </a:lnTo>
                    <a:lnTo>
                      <a:pt x="218" y="140"/>
                    </a:lnTo>
                    <a:lnTo>
                      <a:pt x="232" y="140"/>
                    </a:lnTo>
                    <a:lnTo>
                      <a:pt x="232" y="124"/>
                    </a:lnTo>
                    <a:lnTo>
                      <a:pt x="218" y="124"/>
                    </a:lnTo>
                    <a:lnTo>
                      <a:pt x="218" y="108"/>
                    </a:lnTo>
                    <a:lnTo>
                      <a:pt x="232" y="108"/>
                    </a:lnTo>
                    <a:lnTo>
                      <a:pt x="232" y="93"/>
                    </a:lnTo>
                    <a:lnTo>
                      <a:pt x="218" y="93"/>
                    </a:lnTo>
                    <a:lnTo>
                      <a:pt x="218" y="78"/>
                    </a:lnTo>
                    <a:lnTo>
                      <a:pt x="232" y="78"/>
                    </a:lnTo>
                    <a:lnTo>
                      <a:pt x="232" y="62"/>
                    </a:lnTo>
                    <a:lnTo>
                      <a:pt x="218" y="62"/>
                    </a:lnTo>
                    <a:lnTo>
                      <a:pt x="218" y="47"/>
                    </a:lnTo>
                    <a:lnTo>
                      <a:pt x="232" y="4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3" name="Freeform 22">
                <a:extLst>
                  <a:ext uri="{FF2B5EF4-FFF2-40B4-BE49-F238E27FC236}">
                    <a16:creationId xmlns:a16="http://schemas.microsoft.com/office/drawing/2014/main" id="{888A6A2F-D95C-4895-B866-9E7F7C280FCA}"/>
                  </a:ext>
                </a:extLst>
              </p:cNvPr>
              <p:cNvSpPr>
                <a:spLocks noEditPoints="1"/>
              </p:cNvSpPr>
              <p:nvPr/>
            </p:nvSpPr>
            <p:spPr bwMode="auto">
              <a:xfrm>
                <a:off x="2207" y="948"/>
                <a:ext cx="141" cy="141"/>
              </a:xfrm>
              <a:custGeom>
                <a:avLst/>
                <a:gdLst>
                  <a:gd name="T0" fmla="*/ 0 w 141"/>
                  <a:gd name="T1" fmla="*/ 0 h 141"/>
                  <a:gd name="T2" fmla="*/ 0 w 141"/>
                  <a:gd name="T3" fmla="*/ 141 h 141"/>
                  <a:gd name="T4" fmla="*/ 141 w 141"/>
                  <a:gd name="T5" fmla="*/ 141 h 141"/>
                  <a:gd name="T6" fmla="*/ 141 w 141"/>
                  <a:gd name="T7" fmla="*/ 0 h 141"/>
                  <a:gd name="T8" fmla="*/ 0 w 141"/>
                  <a:gd name="T9" fmla="*/ 0 h 141"/>
                  <a:gd name="T10" fmla="*/ 126 w 141"/>
                  <a:gd name="T11" fmla="*/ 124 h 141"/>
                  <a:gd name="T12" fmla="*/ 17 w 141"/>
                  <a:gd name="T13" fmla="*/ 124 h 141"/>
                  <a:gd name="T14" fmla="*/ 17 w 141"/>
                  <a:gd name="T15" fmla="*/ 16 h 141"/>
                  <a:gd name="T16" fmla="*/ 126 w 141"/>
                  <a:gd name="T17" fmla="*/ 16 h 141"/>
                  <a:gd name="T18" fmla="*/ 126 w 141"/>
                  <a:gd name="T19" fmla="*/ 12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0" y="0"/>
                    </a:moveTo>
                    <a:lnTo>
                      <a:pt x="0" y="141"/>
                    </a:lnTo>
                    <a:lnTo>
                      <a:pt x="141" y="141"/>
                    </a:lnTo>
                    <a:lnTo>
                      <a:pt x="141" y="0"/>
                    </a:lnTo>
                    <a:lnTo>
                      <a:pt x="0" y="0"/>
                    </a:lnTo>
                    <a:close/>
                    <a:moveTo>
                      <a:pt x="126" y="124"/>
                    </a:moveTo>
                    <a:lnTo>
                      <a:pt x="17" y="124"/>
                    </a:lnTo>
                    <a:lnTo>
                      <a:pt x="17" y="16"/>
                    </a:lnTo>
                    <a:lnTo>
                      <a:pt x="126" y="16"/>
                    </a:lnTo>
                    <a:lnTo>
                      <a:pt x="126" y="12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sp>
          <p:nvSpPr>
            <p:cNvPr id="54" name="TextBox 53">
              <a:extLst>
                <a:ext uri="{FF2B5EF4-FFF2-40B4-BE49-F238E27FC236}">
                  <a16:creationId xmlns:a16="http://schemas.microsoft.com/office/drawing/2014/main" id="{5A893374-30A3-4A22-8A97-5303C96024E6}"/>
                </a:ext>
              </a:extLst>
            </p:cNvPr>
            <p:cNvSpPr txBox="1"/>
            <p:nvPr/>
          </p:nvSpPr>
          <p:spPr>
            <a:xfrm>
              <a:off x="-276549" y="2686500"/>
              <a:ext cx="427190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GPU architecture</a:t>
              </a:r>
            </a:p>
          </p:txBody>
        </p:sp>
      </p:grpSp>
      <p:grpSp>
        <p:nvGrpSpPr>
          <p:cNvPr id="7" name="Group 6">
            <a:extLst>
              <a:ext uri="{FF2B5EF4-FFF2-40B4-BE49-F238E27FC236}">
                <a16:creationId xmlns:a16="http://schemas.microsoft.com/office/drawing/2014/main" id="{60EC79D2-59BE-4684-AEE3-8FB3D51CF00F}"/>
              </a:ext>
              <a:ext uri="{C183D7F6-B498-43B3-948B-1728B52AA6E4}">
                <adec:decorative xmlns:adec="http://schemas.microsoft.com/office/drawing/2017/decorative" val="1"/>
              </a:ext>
            </a:extLst>
          </p:cNvPr>
          <p:cNvGrpSpPr/>
          <p:nvPr/>
        </p:nvGrpSpPr>
        <p:grpSpPr>
          <a:xfrm>
            <a:off x="6258777" y="1462571"/>
            <a:ext cx="4271901" cy="2618408"/>
            <a:chOff x="7986125" y="2683424"/>
            <a:chExt cx="4271901" cy="2618408"/>
          </a:xfrm>
        </p:grpSpPr>
        <p:sp>
          <p:nvSpPr>
            <p:cNvPr id="23" name="TextBox 22">
              <a:extLst>
                <a:ext uri="{FF2B5EF4-FFF2-40B4-BE49-F238E27FC236}">
                  <a16:creationId xmlns:a16="http://schemas.microsoft.com/office/drawing/2014/main" id="{4D4BB0DC-7FF5-4641-943D-8D6BA03107BC}"/>
                </a:ext>
              </a:extLst>
            </p:cNvPr>
            <p:cNvSpPr txBox="1"/>
            <p:nvPr/>
          </p:nvSpPr>
          <p:spPr>
            <a:xfrm>
              <a:off x="9063995" y="3993782"/>
              <a:ext cx="3021365" cy="1308050"/>
            </a:xfrm>
            <a:prstGeom prst="rect">
              <a:avLst/>
            </a:prstGeom>
            <a:noFill/>
          </p:spPr>
          <p:txBody>
            <a:bodyPr wrap="square" rtlCol="0">
              <a:spAutoFit/>
            </a:bodyPr>
            <a:lstStyle/>
            <a:p>
              <a:pPr marL="225425" marR="0" lvl="0" indent="-2254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Data-based models</a:t>
              </a:r>
            </a:p>
            <a:p>
              <a:pPr marL="225425" marR="0" lvl="0" indent="-2254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Insight driven</a:t>
              </a:r>
            </a:p>
            <a:p>
              <a:pPr marL="225425" marR="0" lvl="0" indent="-2254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Platform service model</a:t>
              </a:r>
            </a:p>
            <a:p>
              <a:pPr marL="225425" marR="0" lvl="0" indent="-2254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Emerging use cases</a:t>
              </a:r>
            </a:p>
          </p:txBody>
        </p:sp>
        <p:sp>
          <p:nvSpPr>
            <p:cNvPr id="55" name="TextBox 54">
              <a:extLst>
                <a:ext uri="{FF2B5EF4-FFF2-40B4-BE49-F238E27FC236}">
                  <a16:creationId xmlns:a16="http://schemas.microsoft.com/office/drawing/2014/main" id="{81A60990-B7AC-45F5-9C52-DAF2976E07DF}"/>
                </a:ext>
              </a:extLst>
            </p:cNvPr>
            <p:cNvSpPr txBox="1"/>
            <p:nvPr/>
          </p:nvSpPr>
          <p:spPr>
            <a:xfrm>
              <a:off x="7986125" y="2683424"/>
              <a:ext cx="427190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Model development</a:t>
              </a:r>
            </a:p>
          </p:txBody>
        </p:sp>
        <p:grpSp>
          <p:nvGrpSpPr>
            <p:cNvPr id="73" name="integrate" descr="integrate">
              <a:extLst>
                <a:ext uri="{FF2B5EF4-FFF2-40B4-BE49-F238E27FC236}">
                  <a16:creationId xmlns:a16="http://schemas.microsoft.com/office/drawing/2014/main" id="{C688EDBD-E206-4BF0-98FB-164C60CA2CA8}"/>
                </a:ext>
              </a:extLst>
            </p:cNvPr>
            <p:cNvGrpSpPr>
              <a:grpSpLocks noChangeAspect="1"/>
            </p:cNvGrpSpPr>
            <p:nvPr/>
          </p:nvGrpSpPr>
          <p:grpSpPr bwMode="auto">
            <a:xfrm>
              <a:off x="9810333" y="3237516"/>
              <a:ext cx="592570" cy="592570"/>
              <a:chOff x="1057" y="811"/>
              <a:chExt cx="230" cy="230"/>
            </a:xfrm>
          </p:grpSpPr>
          <p:sp>
            <p:nvSpPr>
              <p:cNvPr id="74" name="AutoShape 18">
                <a:extLst>
                  <a:ext uri="{FF2B5EF4-FFF2-40B4-BE49-F238E27FC236}">
                    <a16:creationId xmlns:a16="http://schemas.microsoft.com/office/drawing/2014/main" id="{1C0A80AC-0E6B-4122-8F2D-97C11FF90003}"/>
                  </a:ext>
                </a:extLst>
              </p:cNvPr>
              <p:cNvSpPr>
                <a:spLocks noChangeAspect="1" noChangeArrowheads="1" noTextEdit="1"/>
              </p:cNvSpPr>
              <p:nvPr/>
            </p:nvSpPr>
            <p:spPr bwMode="auto">
              <a:xfrm>
                <a:off x="1057" y="811"/>
                <a:ext cx="230" cy="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Rectangle 20">
                <a:extLst>
                  <a:ext uri="{FF2B5EF4-FFF2-40B4-BE49-F238E27FC236}">
                    <a16:creationId xmlns:a16="http://schemas.microsoft.com/office/drawing/2014/main" id="{17E3BC53-BF33-4BC6-8ABB-9B4D3E097AA8}"/>
                  </a:ext>
                </a:extLst>
              </p:cNvPr>
              <p:cNvSpPr>
                <a:spLocks noChangeArrowheads="1"/>
              </p:cNvSpPr>
              <p:nvPr/>
            </p:nvSpPr>
            <p:spPr bwMode="auto">
              <a:xfrm>
                <a:off x="1057" y="811"/>
                <a:ext cx="49" cy="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76" name="Rectangle 21">
                <a:extLst>
                  <a:ext uri="{FF2B5EF4-FFF2-40B4-BE49-F238E27FC236}">
                    <a16:creationId xmlns:a16="http://schemas.microsoft.com/office/drawing/2014/main" id="{70352267-66EF-439B-B2BC-E3238DC6C2E7}"/>
                  </a:ext>
                </a:extLst>
              </p:cNvPr>
              <p:cNvSpPr>
                <a:spLocks noChangeArrowheads="1"/>
              </p:cNvSpPr>
              <p:nvPr/>
            </p:nvSpPr>
            <p:spPr bwMode="auto">
              <a:xfrm>
                <a:off x="1118" y="811"/>
                <a:ext cx="48" cy="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77" name="Rectangle 22">
                <a:extLst>
                  <a:ext uri="{FF2B5EF4-FFF2-40B4-BE49-F238E27FC236}">
                    <a16:creationId xmlns:a16="http://schemas.microsoft.com/office/drawing/2014/main" id="{421B6D89-4E53-4887-A59A-0C1F71F5CD3C}"/>
                  </a:ext>
                </a:extLst>
              </p:cNvPr>
              <p:cNvSpPr>
                <a:spLocks noChangeArrowheads="1"/>
              </p:cNvSpPr>
              <p:nvPr/>
            </p:nvSpPr>
            <p:spPr bwMode="auto">
              <a:xfrm>
                <a:off x="1178" y="811"/>
                <a:ext cx="49" cy="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78" name="Rectangle 23">
                <a:extLst>
                  <a:ext uri="{FF2B5EF4-FFF2-40B4-BE49-F238E27FC236}">
                    <a16:creationId xmlns:a16="http://schemas.microsoft.com/office/drawing/2014/main" id="{56D041BE-8DE9-422A-8207-4A594D96F4AD}"/>
                  </a:ext>
                </a:extLst>
              </p:cNvPr>
              <p:cNvSpPr>
                <a:spLocks noChangeArrowheads="1"/>
              </p:cNvSpPr>
              <p:nvPr/>
            </p:nvSpPr>
            <p:spPr bwMode="auto">
              <a:xfrm>
                <a:off x="1239" y="811"/>
                <a:ext cx="48" cy="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79" name="Rectangle 24">
                <a:extLst>
                  <a:ext uri="{FF2B5EF4-FFF2-40B4-BE49-F238E27FC236}">
                    <a16:creationId xmlns:a16="http://schemas.microsoft.com/office/drawing/2014/main" id="{1B9B160B-3B24-4FCB-8692-F2E3800737EE}"/>
                  </a:ext>
                </a:extLst>
              </p:cNvPr>
              <p:cNvSpPr>
                <a:spLocks noChangeArrowheads="1"/>
              </p:cNvSpPr>
              <p:nvPr/>
            </p:nvSpPr>
            <p:spPr bwMode="auto">
              <a:xfrm>
                <a:off x="1057" y="872"/>
                <a:ext cx="49"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0" name="Rectangle 25">
                <a:extLst>
                  <a:ext uri="{FF2B5EF4-FFF2-40B4-BE49-F238E27FC236}">
                    <a16:creationId xmlns:a16="http://schemas.microsoft.com/office/drawing/2014/main" id="{BBD68869-068E-4477-8A1F-4A9F499B1B30}"/>
                  </a:ext>
                </a:extLst>
              </p:cNvPr>
              <p:cNvSpPr>
                <a:spLocks noChangeArrowheads="1"/>
              </p:cNvSpPr>
              <p:nvPr/>
            </p:nvSpPr>
            <p:spPr bwMode="auto">
              <a:xfrm>
                <a:off x="1118" y="872"/>
                <a:ext cx="48"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1" name="Rectangle 26">
                <a:extLst>
                  <a:ext uri="{FF2B5EF4-FFF2-40B4-BE49-F238E27FC236}">
                    <a16:creationId xmlns:a16="http://schemas.microsoft.com/office/drawing/2014/main" id="{A665A361-FA8C-48F7-9BB6-A6600D9FAF90}"/>
                  </a:ext>
                </a:extLst>
              </p:cNvPr>
              <p:cNvSpPr>
                <a:spLocks noChangeArrowheads="1"/>
              </p:cNvSpPr>
              <p:nvPr/>
            </p:nvSpPr>
            <p:spPr bwMode="auto">
              <a:xfrm>
                <a:off x="1178" y="872"/>
                <a:ext cx="49"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2" name="Rectangle 27">
                <a:extLst>
                  <a:ext uri="{FF2B5EF4-FFF2-40B4-BE49-F238E27FC236}">
                    <a16:creationId xmlns:a16="http://schemas.microsoft.com/office/drawing/2014/main" id="{53BCF912-599F-4F7B-9596-92CDE8BBFFA4}"/>
                  </a:ext>
                </a:extLst>
              </p:cNvPr>
              <p:cNvSpPr>
                <a:spLocks noChangeArrowheads="1"/>
              </p:cNvSpPr>
              <p:nvPr/>
            </p:nvSpPr>
            <p:spPr bwMode="auto">
              <a:xfrm>
                <a:off x="1239" y="872"/>
                <a:ext cx="48"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3" name="Oval 28">
                <a:extLst>
                  <a:ext uri="{FF2B5EF4-FFF2-40B4-BE49-F238E27FC236}">
                    <a16:creationId xmlns:a16="http://schemas.microsoft.com/office/drawing/2014/main" id="{DFB584EB-EBBA-410D-A910-23B0FA96893A}"/>
                  </a:ext>
                </a:extLst>
              </p:cNvPr>
              <p:cNvSpPr>
                <a:spLocks noChangeArrowheads="1"/>
              </p:cNvSpPr>
              <p:nvPr/>
            </p:nvSpPr>
            <p:spPr bwMode="auto">
              <a:xfrm>
                <a:off x="1057" y="932"/>
                <a:ext cx="49"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4" name="Oval 29">
                <a:extLst>
                  <a:ext uri="{FF2B5EF4-FFF2-40B4-BE49-F238E27FC236}">
                    <a16:creationId xmlns:a16="http://schemas.microsoft.com/office/drawing/2014/main" id="{F971B62D-2575-4437-847C-DD506838F68D}"/>
                  </a:ext>
                </a:extLst>
              </p:cNvPr>
              <p:cNvSpPr>
                <a:spLocks noChangeArrowheads="1"/>
              </p:cNvSpPr>
              <p:nvPr/>
            </p:nvSpPr>
            <p:spPr bwMode="auto">
              <a:xfrm>
                <a:off x="1118" y="932"/>
                <a:ext cx="48"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5" name="Oval 30">
                <a:extLst>
                  <a:ext uri="{FF2B5EF4-FFF2-40B4-BE49-F238E27FC236}">
                    <a16:creationId xmlns:a16="http://schemas.microsoft.com/office/drawing/2014/main" id="{6FFF415F-EC00-445F-85DB-F409E7D8DAD2}"/>
                  </a:ext>
                </a:extLst>
              </p:cNvPr>
              <p:cNvSpPr>
                <a:spLocks noChangeArrowheads="1"/>
              </p:cNvSpPr>
              <p:nvPr/>
            </p:nvSpPr>
            <p:spPr bwMode="auto">
              <a:xfrm>
                <a:off x="1178" y="932"/>
                <a:ext cx="49"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6" name="Oval 31">
                <a:extLst>
                  <a:ext uri="{FF2B5EF4-FFF2-40B4-BE49-F238E27FC236}">
                    <a16:creationId xmlns:a16="http://schemas.microsoft.com/office/drawing/2014/main" id="{83B0A760-4617-44CF-8ED0-76EF48CC8FFA}"/>
                  </a:ext>
                </a:extLst>
              </p:cNvPr>
              <p:cNvSpPr>
                <a:spLocks noChangeArrowheads="1"/>
              </p:cNvSpPr>
              <p:nvPr/>
            </p:nvSpPr>
            <p:spPr bwMode="auto">
              <a:xfrm>
                <a:off x="1239" y="932"/>
                <a:ext cx="48"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7" name="Rectangle 32">
                <a:extLst>
                  <a:ext uri="{FF2B5EF4-FFF2-40B4-BE49-F238E27FC236}">
                    <a16:creationId xmlns:a16="http://schemas.microsoft.com/office/drawing/2014/main" id="{A792C1F2-EFE7-4DBA-8C80-E495C16D4A3E}"/>
                  </a:ext>
                </a:extLst>
              </p:cNvPr>
              <p:cNvSpPr>
                <a:spLocks noChangeArrowheads="1"/>
              </p:cNvSpPr>
              <p:nvPr/>
            </p:nvSpPr>
            <p:spPr bwMode="auto">
              <a:xfrm>
                <a:off x="1057" y="993"/>
                <a:ext cx="49"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8" name="Rectangle 33">
                <a:extLst>
                  <a:ext uri="{FF2B5EF4-FFF2-40B4-BE49-F238E27FC236}">
                    <a16:creationId xmlns:a16="http://schemas.microsoft.com/office/drawing/2014/main" id="{A27CAC16-694D-4918-8D3E-5CED7FE78BC8}"/>
                  </a:ext>
                </a:extLst>
              </p:cNvPr>
              <p:cNvSpPr>
                <a:spLocks noChangeArrowheads="1"/>
              </p:cNvSpPr>
              <p:nvPr/>
            </p:nvSpPr>
            <p:spPr bwMode="auto">
              <a:xfrm>
                <a:off x="1118" y="993"/>
                <a:ext cx="48"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9" name="Rectangle 34">
                <a:extLst>
                  <a:ext uri="{FF2B5EF4-FFF2-40B4-BE49-F238E27FC236}">
                    <a16:creationId xmlns:a16="http://schemas.microsoft.com/office/drawing/2014/main" id="{90A75BD2-E8F0-4834-AD8F-43B2578EC039}"/>
                  </a:ext>
                </a:extLst>
              </p:cNvPr>
              <p:cNvSpPr>
                <a:spLocks noChangeArrowheads="1"/>
              </p:cNvSpPr>
              <p:nvPr/>
            </p:nvSpPr>
            <p:spPr bwMode="auto">
              <a:xfrm>
                <a:off x="1178" y="993"/>
                <a:ext cx="49"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90" name="Rectangle 35">
                <a:extLst>
                  <a:ext uri="{FF2B5EF4-FFF2-40B4-BE49-F238E27FC236}">
                    <a16:creationId xmlns:a16="http://schemas.microsoft.com/office/drawing/2014/main" id="{E995AE7F-906C-432B-9934-66E4D2222518}"/>
                  </a:ext>
                </a:extLst>
              </p:cNvPr>
              <p:cNvSpPr>
                <a:spLocks noChangeArrowheads="1"/>
              </p:cNvSpPr>
              <p:nvPr/>
            </p:nvSpPr>
            <p:spPr bwMode="auto">
              <a:xfrm>
                <a:off x="1239" y="993"/>
                <a:ext cx="48"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grpSp>
      <p:sp>
        <p:nvSpPr>
          <p:cNvPr id="3" name="Title 2">
            <a:extLst>
              <a:ext uri="{FF2B5EF4-FFF2-40B4-BE49-F238E27FC236}">
                <a16:creationId xmlns:a16="http://schemas.microsoft.com/office/drawing/2014/main" id="{B2BE23C9-2E71-0FA2-FCF1-06056C4E77B1}"/>
              </a:ext>
            </a:extLst>
          </p:cNvPr>
          <p:cNvSpPr>
            <a:spLocks noGrp="1"/>
          </p:cNvSpPr>
          <p:nvPr>
            <p:ph type="title"/>
          </p:nvPr>
        </p:nvSpPr>
        <p:spPr/>
        <p:txBody>
          <a:bodyPr/>
          <a:lstStyle/>
          <a:p>
            <a:r>
              <a:rPr kumimoji="0" lang="en-US" sz="2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Complex ML models require ‘AI-first’ infrastructure </a:t>
            </a:r>
            <a:endParaRPr lang="en-IN"/>
          </a:p>
        </p:txBody>
      </p:sp>
    </p:spTree>
    <p:extLst>
      <p:ext uri="{BB962C8B-B14F-4D97-AF65-F5344CB8AC3E}">
        <p14:creationId xmlns:p14="http://schemas.microsoft.com/office/powerpoint/2010/main" val="1038962183"/>
      </p:ext>
    </p:extLst>
  </p:cSld>
  <p:clrMapOvr>
    <a:masterClrMapping/>
  </p:clrMapOvr>
  <mc:AlternateContent xmlns:mc="http://schemas.openxmlformats.org/markup-compatibility/2006" xmlns:p14="http://schemas.microsoft.com/office/powerpoint/2010/main">
    <mc:Choice Requires="p14">
      <p:transition p14:dur="0" advClick="0" advTm="6000"/>
    </mc:Choice>
    <mc:Fallback xmlns="">
      <p:transition advClick="0" advTm="600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AE82C453-F336-4453-8C87-CB6DB82D4646}"/>
              </a:ext>
              <a:ext uri="{C183D7F6-B498-43B3-948B-1728B52AA6E4}">
                <adec:decorative xmlns:adec="http://schemas.microsoft.com/office/drawing/2017/decorative" val="1"/>
              </a:ext>
            </a:extLst>
          </p:cNvPr>
          <p:cNvGrpSpPr/>
          <p:nvPr/>
        </p:nvGrpSpPr>
        <p:grpSpPr>
          <a:xfrm>
            <a:off x="-568973" y="1473991"/>
            <a:ext cx="4271901" cy="2595569"/>
            <a:chOff x="-276549" y="2686500"/>
            <a:chExt cx="4271901" cy="2595569"/>
          </a:xfrm>
        </p:grpSpPr>
        <p:sp>
          <p:nvSpPr>
            <p:cNvPr id="22" name="TextBox 21">
              <a:extLst>
                <a:ext uri="{FF2B5EF4-FFF2-40B4-BE49-F238E27FC236}">
                  <a16:creationId xmlns:a16="http://schemas.microsoft.com/office/drawing/2014/main" id="{B067B45C-1B9E-4189-A86E-8D9058D48519}"/>
                </a:ext>
              </a:extLst>
            </p:cNvPr>
            <p:cNvSpPr txBox="1"/>
            <p:nvPr/>
          </p:nvSpPr>
          <p:spPr>
            <a:xfrm>
              <a:off x="819075" y="3974019"/>
              <a:ext cx="2746141" cy="1308050"/>
            </a:xfrm>
            <a:prstGeom prst="rect">
              <a:avLst/>
            </a:prstGeom>
            <a:noFill/>
          </p:spPr>
          <p:txBody>
            <a:bodyPr wrap="square" rtlCol="0">
              <a:spAutoFit/>
            </a:bodyPr>
            <a:lstStyle/>
            <a:p>
              <a:pPr marL="225425" marR="0" lvl="0" indent="-2254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Heavily parallelized</a:t>
              </a:r>
            </a:p>
            <a:p>
              <a:pPr marL="225425" marR="0" lvl="0" indent="-2254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Optimization-focused</a:t>
              </a:r>
            </a:p>
            <a:p>
              <a:pPr marL="225425" marR="0" lvl="0" indent="-2254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Purpose-built design</a:t>
              </a:r>
            </a:p>
            <a:p>
              <a:pPr marL="225425" marR="0" lvl="0" indent="-2254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Proven speed &amp; scale</a:t>
              </a:r>
            </a:p>
          </p:txBody>
        </p:sp>
        <p:grpSp>
          <p:nvGrpSpPr>
            <p:cNvPr id="34" name="chips" descr="chips">
              <a:extLst>
                <a:ext uri="{FF2B5EF4-FFF2-40B4-BE49-F238E27FC236}">
                  <a16:creationId xmlns:a16="http://schemas.microsoft.com/office/drawing/2014/main" id="{D0477CC8-46EA-4171-9F11-7D55A1AB8FCE}"/>
                </a:ext>
              </a:extLst>
            </p:cNvPr>
            <p:cNvGrpSpPr>
              <a:grpSpLocks noChangeAspect="1"/>
            </p:cNvGrpSpPr>
            <p:nvPr/>
          </p:nvGrpSpPr>
          <p:grpSpPr bwMode="auto">
            <a:xfrm>
              <a:off x="1527139" y="3204446"/>
              <a:ext cx="628318" cy="628316"/>
              <a:chOff x="2192" y="809"/>
              <a:chExt cx="295" cy="295"/>
            </a:xfrm>
          </p:grpSpPr>
          <p:sp>
            <p:nvSpPr>
              <p:cNvPr id="35" name="AutoShape 3">
                <a:extLst>
                  <a:ext uri="{FF2B5EF4-FFF2-40B4-BE49-F238E27FC236}">
                    <a16:creationId xmlns:a16="http://schemas.microsoft.com/office/drawing/2014/main" id="{0A57F3E4-090E-4B5B-87C4-6D6084DEA3A8}"/>
                  </a:ext>
                </a:extLst>
              </p:cNvPr>
              <p:cNvSpPr>
                <a:spLocks noChangeAspect="1" noChangeArrowheads="1" noTextEdit="1"/>
              </p:cNvSpPr>
              <p:nvPr/>
            </p:nvSpPr>
            <p:spPr bwMode="auto">
              <a:xfrm>
                <a:off x="2192" y="809"/>
                <a:ext cx="295" cy="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5">
                <a:extLst>
                  <a:ext uri="{FF2B5EF4-FFF2-40B4-BE49-F238E27FC236}">
                    <a16:creationId xmlns:a16="http://schemas.microsoft.com/office/drawing/2014/main" id="{492D2A3F-BDD8-4778-AF19-61BAFA5899C6}"/>
                  </a:ext>
                </a:extLst>
              </p:cNvPr>
              <p:cNvSpPr>
                <a:spLocks/>
              </p:cNvSpPr>
              <p:nvPr/>
            </p:nvSpPr>
            <p:spPr bwMode="auto">
              <a:xfrm>
                <a:off x="2260" y="837"/>
                <a:ext cx="207" cy="199"/>
              </a:xfrm>
              <a:custGeom>
                <a:avLst/>
                <a:gdLst>
                  <a:gd name="T0" fmla="*/ 104 w 207"/>
                  <a:gd name="T1" fmla="*/ 0 h 199"/>
                  <a:gd name="T2" fmla="*/ 104 w 207"/>
                  <a:gd name="T3" fmla="*/ 0 h 199"/>
                  <a:gd name="T4" fmla="*/ 18 w 207"/>
                  <a:gd name="T5" fmla="*/ 0 h 199"/>
                  <a:gd name="T6" fmla="*/ 15 w 207"/>
                  <a:gd name="T7" fmla="*/ 84 h 199"/>
                  <a:gd name="T8" fmla="*/ 0 w 207"/>
                  <a:gd name="T9" fmla="*/ 119 h 199"/>
                  <a:gd name="T10" fmla="*/ 74 w 207"/>
                  <a:gd name="T11" fmla="*/ 118 h 199"/>
                  <a:gd name="T12" fmla="*/ 80 w 207"/>
                  <a:gd name="T13" fmla="*/ 199 h 199"/>
                  <a:gd name="T14" fmla="*/ 115 w 207"/>
                  <a:gd name="T15" fmla="*/ 184 h 199"/>
                  <a:gd name="T16" fmla="*/ 207 w 207"/>
                  <a:gd name="T17" fmla="*/ 183 h 199"/>
                  <a:gd name="T18" fmla="*/ 207 w 207"/>
                  <a:gd name="T19" fmla="*/ 0 h 199"/>
                  <a:gd name="T20" fmla="*/ 104 w 207"/>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199">
                    <a:moveTo>
                      <a:pt x="104" y="0"/>
                    </a:moveTo>
                    <a:lnTo>
                      <a:pt x="104" y="0"/>
                    </a:lnTo>
                    <a:lnTo>
                      <a:pt x="18" y="0"/>
                    </a:lnTo>
                    <a:lnTo>
                      <a:pt x="15" y="84"/>
                    </a:lnTo>
                    <a:lnTo>
                      <a:pt x="0" y="119"/>
                    </a:lnTo>
                    <a:lnTo>
                      <a:pt x="74" y="118"/>
                    </a:lnTo>
                    <a:lnTo>
                      <a:pt x="80" y="199"/>
                    </a:lnTo>
                    <a:lnTo>
                      <a:pt x="115" y="184"/>
                    </a:lnTo>
                    <a:lnTo>
                      <a:pt x="207" y="183"/>
                    </a:lnTo>
                    <a:lnTo>
                      <a:pt x="207" y="0"/>
                    </a:lnTo>
                    <a:lnTo>
                      <a:pt x="10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37" name="Rectangle 6">
                <a:extLst>
                  <a:ext uri="{FF2B5EF4-FFF2-40B4-BE49-F238E27FC236}">
                    <a16:creationId xmlns:a16="http://schemas.microsoft.com/office/drawing/2014/main" id="{F6DC337C-0B50-453A-B91C-A37A54A67A24}"/>
                  </a:ext>
                </a:extLst>
              </p:cNvPr>
              <p:cNvSpPr>
                <a:spLocks noChangeArrowheads="1"/>
              </p:cNvSpPr>
              <p:nvPr/>
            </p:nvSpPr>
            <p:spPr bwMode="auto">
              <a:xfrm>
                <a:off x="2192" y="994"/>
                <a:ext cx="15" cy="1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38" name="Rectangle 7">
                <a:extLst>
                  <a:ext uri="{FF2B5EF4-FFF2-40B4-BE49-F238E27FC236}">
                    <a16:creationId xmlns:a16="http://schemas.microsoft.com/office/drawing/2014/main" id="{48BC8BE9-F239-4FD4-B96B-D8AA63943F74}"/>
                  </a:ext>
                </a:extLst>
              </p:cNvPr>
              <p:cNvSpPr>
                <a:spLocks noChangeArrowheads="1"/>
              </p:cNvSpPr>
              <p:nvPr/>
            </p:nvSpPr>
            <p:spPr bwMode="auto">
              <a:xfrm>
                <a:off x="2192" y="1026"/>
                <a:ext cx="15" cy="1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39" name="Rectangle 8">
                <a:extLst>
                  <a:ext uri="{FF2B5EF4-FFF2-40B4-BE49-F238E27FC236}">
                    <a16:creationId xmlns:a16="http://schemas.microsoft.com/office/drawing/2014/main" id="{F0CC75D3-C331-480D-995E-3112BDC6824F}"/>
                  </a:ext>
                </a:extLst>
              </p:cNvPr>
              <p:cNvSpPr>
                <a:spLocks noChangeArrowheads="1"/>
              </p:cNvSpPr>
              <p:nvPr/>
            </p:nvSpPr>
            <p:spPr bwMode="auto">
              <a:xfrm>
                <a:off x="2192" y="1057"/>
                <a:ext cx="15" cy="1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0" name="Rectangle 9">
                <a:extLst>
                  <a:ext uri="{FF2B5EF4-FFF2-40B4-BE49-F238E27FC236}">
                    <a16:creationId xmlns:a16="http://schemas.microsoft.com/office/drawing/2014/main" id="{8EB72829-36F9-46EE-AE71-C008A2746356}"/>
                  </a:ext>
                </a:extLst>
              </p:cNvPr>
              <p:cNvSpPr>
                <a:spLocks noChangeArrowheads="1"/>
              </p:cNvSpPr>
              <p:nvPr/>
            </p:nvSpPr>
            <p:spPr bwMode="auto">
              <a:xfrm>
                <a:off x="2192" y="964"/>
                <a:ext cx="15" cy="1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1" name="Rectangle 10">
                <a:extLst>
                  <a:ext uri="{FF2B5EF4-FFF2-40B4-BE49-F238E27FC236}">
                    <a16:creationId xmlns:a16="http://schemas.microsoft.com/office/drawing/2014/main" id="{E5DF2BDB-C1B3-4570-8B04-07D61769DFC7}"/>
                  </a:ext>
                </a:extLst>
              </p:cNvPr>
              <p:cNvSpPr>
                <a:spLocks noChangeArrowheads="1"/>
              </p:cNvSpPr>
              <p:nvPr/>
            </p:nvSpPr>
            <p:spPr bwMode="auto">
              <a:xfrm>
                <a:off x="2348" y="994"/>
                <a:ext cx="16" cy="1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2" name="Freeform 11">
                <a:extLst>
                  <a:ext uri="{FF2B5EF4-FFF2-40B4-BE49-F238E27FC236}">
                    <a16:creationId xmlns:a16="http://schemas.microsoft.com/office/drawing/2014/main" id="{778EA793-F9D8-4F25-8DC6-75E4CD3F21A9}"/>
                  </a:ext>
                </a:extLst>
              </p:cNvPr>
              <p:cNvSpPr>
                <a:spLocks/>
              </p:cNvSpPr>
              <p:nvPr/>
            </p:nvSpPr>
            <p:spPr bwMode="auto">
              <a:xfrm>
                <a:off x="2348" y="1057"/>
                <a:ext cx="16" cy="15"/>
              </a:xfrm>
              <a:custGeom>
                <a:avLst/>
                <a:gdLst>
                  <a:gd name="T0" fmla="*/ 0 w 16"/>
                  <a:gd name="T1" fmla="*/ 0 h 15"/>
                  <a:gd name="T2" fmla="*/ 0 w 16"/>
                  <a:gd name="T3" fmla="*/ 15 h 15"/>
                  <a:gd name="T4" fmla="*/ 15 w 16"/>
                  <a:gd name="T5" fmla="*/ 15 h 15"/>
                  <a:gd name="T6" fmla="*/ 16 w 16"/>
                  <a:gd name="T7" fmla="*/ 15 h 15"/>
                  <a:gd name="T8" fmla="*/ 16 w 16"/>
                  <a:gd name="T9" fmla="*/ 0 h 15"/>
                  <a:gd name="T10" fmla="*/ 15 w 16"/>
                  <a:gd name="T11" fmla="*/ 0 h 15"/>
                  <a:gd name="T12" fmla="*/ 0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0" y="0"/>
                    </a:moveTo>
                    <a:lnTo>
                      <a:pt x="0" y="15"/>
                    </a:lnTo>
                    <a:lnTo>
                      <a:pt x="15" y="15"/>
                    </a:lnTo>
                    <a:lnTo>
                      <a:pt x="16" y="15"/>
                    </a:lnTo>
                    <a:lnTo>
                      <a:pt x="16" y="0"/>
                    </a:lnTo>
                    <a:lnTo>
                      <a:pt x="15" y="0"/>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3" name="Rectangle 12">
                <a:extLst>
                  <a:ext uri="{FF2B5EF4-FFF2-40B4-BE49-F238E27FC236}">
                    <a16:creationId xmlns:a16="http://schemas.microsoft.com/office/drawing/2014/main" id="{6342B032-EA6C-4977-A4B6-763DBDBE07C1}"/>
                  </a:ext>
                </a:extLst>
              </p:cNvPr>
              <p:cNvSpPr>
                <a:spLocks noChangeArrowheads="1"/>
              </p:cNvSpPr>
              <p:nvPr/>
            </p:nvSpPr>
            <p:spPr bwMode="auto">
              <a:xfrm>
                <a:off x="2255" y="1089"/>
                <a:ext cx="15"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4" name="Rectangle 13">
                <a:extLst>
                  <a:ext uri="{FF2B5EF4-FFF2-40B4-BE49-F238E27FC236}">
                    <a16:creationId xmlns:a16="http://schemas.microsoft.com/office/drawing/2014/main" id="{3EB76548-90AC-487F-A9A4-8427F89C9A39}"/>
                  </a:ext>
                </a:extLst>
              </p:cNvPr>
              <p:cNvSpPr>
                <a:spLocks noChangeArrowheads="1"/>
              </p:cNvSpPr>
              <p:nvPr/>
            </p:nvSpPr>
            <p:spPr bwMode="auto">
              <a:xfrm>
                <a:off x="2224" y="1089"/>
                <a:ext cx="15"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5" name="Freeform 14">
                <a:extLst>
                  <a:ext uri="{FF2B5EF4-FFF2-40B4-BE49-F238E27FC236}">
                    <a16:creationId xmlns:a16="http://schemas.microsoft.com/office/drawing/2014/main" id="{9025D55B-3F42-4708-8ADB-824C79A24135}"/>
                  </a:ext>
                </a:extLst>
              </p:cNvPr>
              <p:cNvSpPr>
                <a:spLocks/>
              </p:cNvSpPr>
              <p:nvPr/>
            </p:nvSpPr>
            <p:spPr bwMode="auto">
              <a:xfrm>
                <a:off x="2223" y="932"/>
                <a:ext cx="15" cy="16"/>
              </a:xfrm>
              <a:custGeom>
                <a:avLst/>
                <a:gdLst>
                  <a:gd name="T0" fmla="*/ 15 w 15"/>
                  <a:gd name="T1" fmla="*/ 1 h 16"/>
                  <a:gd name="T2" fmla="*/ 15 w 15"/>
                  <a:gd name="T3" fmla="*/ 0 h 16"/>
                  <a:gd name="T4" fmla="*/ 0 w 15"/>
                  <a:gd name="T5" fmla="*/ 0 h 16"/>
                  <a:gd name="T6" fmla="*/ 0 w 15"/>
                  <a:gd name="T7" fmla="*/ 1 h 16"/>
                  <a:gd name="T8" fmla="*/ 0 w 15"/>
                  <a:gd name="T9" fmla="*/ 16 h 16"/>
                  <a:gd name="T10" fmla="*/ 15 w 15"/>
                  <a:gd name="T11" fmla="*/ 16 h 16"/>
                  <a:gd name="T12" fmla="*/ 15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5" y="1"/>
                    </a:moveTo>
                    <a:lnTo>
                      <a:pt x="15" y="0"/>
                    </a:lnTo>
                    <a:lnTo>
                      <a:pt x="0" y="0"/>
                    </a:lnTo>
                    <a:lnTo>
                      <a:pt x="0" y="1"/>
                    </a:lnTo>
                    <a:lnTo>
                      <a:pt x="0" y="16"/>
                    </a:lnTo>
                    <a:lnTo>
                      <a:pt x="15" y="16"/>
                    </a:lnTo>
                    <a:lnTo>
                      <a:pt x="15" y="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6" name="Rectangle 15">
                <a:extLst>
                  <a:ext uri="{FF2B5EF4-FFF2-40B4-BE49-F238E27FC236}">
                    <a16:creationId xmlns:a16="http://schemas.microsoft.com/office/drawing/2014/main" id="{C278688A-36E0-4CFA-A590-840B6C8AD020}"/>
                  </a:ext>
                </a:extLst>
              </p:cNvPr>
              <p:cNvSpPr>
                <a:spLocks noChangeArrowheads="1"/>
              </p:cNvSpPr>
              <p:nvPr/>
            </p:nvSpPr>
            <p:spPr bwMode="auto">
              <a:xfrm>
                <a:off x="2317" y="1089"/>
                <a:ext cx="16"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7" name="Rectangle 16">
                <a:extLst>
                  <a:ext uri="{FF2B5EF4-FFF2-40B4-BE49-F238E27FC236}">
                    <a16:creationId xmlns:a16="http://schemas.microsoft.com/office/drawing/2014/main" id="{48678C07-4CC2-4110-9692-FB677D5FD11E}"/>
                  </a:ext>
                </a:extLst>
              </p:cNvPr>
              <p:cNvSpPr>
                <a:spLocks noChangeArrowheads="1"/>
              </p:cNvSpPr>
              <p:nvPr/>
            </p:nvSpPr>
            <p:spPr bwMode="auto">
              <a:xfrm>
                <a:off x="2285" y="1089"/>
                <a:ext cx="16"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8" name="Freeform 17">
                <a:extLst>
                  <a:ext uri="{FF2B5EF4-FFF2-40B4-BE49-F238E27FC236}">
                    <a16:creationId xmlns:a16="http://schemas.microsoft.com/office/drawing/2014/main" id="{A0476DDF-E6C4-4632-9E27-62F5FD8D5E9E}"/>
                  </a:ext>
                </a:extLst>
              </p:cNvPr>
              <p:cNvSpPr>
                <a:spLocks/>
              </p:cNvSpPr>
              <p:nvPr/>
            </p:nvSpPr>
            <p:spPr bwMode="auto">
              <a:xfrm>
                <a:off x="2348" y="1025"/>
                <a:ext cx="16" cy="16"/>
              </a:xfrm>
              <a:custGeom>
                <a:avLst/>
                <a:gdLst>
                  <a:gd name="T0" fmla="*/ 16 w 16"/>
                  <a:gd name="T1" fmla="*/ 0 h 16"/>
                  <a:gd name="T2" fmla="*/ 0 w 16"/>
                  <a:gd name="T3" fmla="*/ 0 h 16"/>
                  <a:gd name="T4" fmla="*/ 0 w 16"/>
                  <a:gd name="T5" fmla="*/ 1 h 16"/>
                  <a:gd name="T6" fmla="*/ 0 w 16"/>
                  <a:gd name="T7" fmla="*/ 16 h 16"/>
                  <a:gd name="T8" fmla="*/ 16 w 16"/>
                  <a:gd name="T9" fmla="*/ 16 h 16"/>
                  <a:gd name="T10" fmla="*/ 16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16" y="0"/>
                    </a:moveTo>
                    <a:lnTo>
                      <a:pt x="0" y="0"/>
                    </a:lnTo>
                    <a:lnTo>
                      <a:pt x="0" y="1"/>
                    </a:lnTo>
                    <a:lnTo>
                      <a:pt x="0" y="16"/>
                    </a:lnTo>
                    <a:lnTo>
                      <a:pt x="16" y="16"/>
                    </a:lnTo>
                    <a:lnTo>
                      <a:pt x="16"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9" name="Freeform 18">
                <a:extLst>
                  <a:ext uri="{FF2B5EF4-FFF2-40B4-BE49-F238E27FC236}">
                    <a16:creationId xmlns:a16="http://schemas.microsoft.com/office/drawing/2014/main" id="{D81F06D7-A9CD-4FCF-8169-E61D7BDC28AF}"/>
                  </a:ext>
                </a:extLst>
              </p:cNvPr>
              <p:cNvSpPr>
                <a:spLocks/>
              </p:cNvSpPr>
              <p:nvPr/>
            </p:nvSpPr>
            <p:spPr bwMode="auto">
              <a:xfrm>
                <a:off x="2344" y="962"/>
                <a:ext cx="20" cy="16"/>
              </a:xfrm>
              <a:custGeom>
                <a:avLst/>
                <a:gdLst>
                  <a:gd name="T0" fmla="*/ 0 w 20"/>
                  <a:gd name="T1" fmla="*/ 16 h 16"/>
                  <a:gd name="T2" fmla="*/ 20 w 20"/>
                  <a:gd name="T3" fmla="*/ 16 h 16"/>
                  <a:gd name="T4" fmla="*/ 20 w 20"/>
                  <a:gd name="T5" fmla="*/ 2 h 16"/>
                  <a:gd name="T6" fmla="*/ 20 w 20"/>
                  <a:gd name="T7" fmla="*/ 0 h 16"/>
                  <a:gd name="T8" fmla="*/ 4 w 20"/>
                  <a:gd name="T9" fmla="*/ 0 h 16"/>
                  <a:gd name="T10" fmla="*/ 4 w 20"/>
                  <a:gd name="T11" fmla="*/ 2 h 16"/>
                  <a:gd name="T12" fmla="*/ 0 w 2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0" h="16">
                    <a:moveTo>
                      <a:pt x="0" y="16"/>
                    </a:moveTo>
                    <a:lnTo>
                      <a:pt x="20" y="16"/>
                    </a:lnTo>
                    <a:lnTo>
                      <a:pt x="20" y="2"/>
                    </a:lnTo>
                    <a:lnTo>
                      <a:pt x="20" y="0"/>
                    </a:lnTo>
                    <a:lnTo>
                      <a:pt x="4" y="0"/>
                    </a:lnTo>
                    <a:lnTo>
                      <a:pt x="4" y="2"/>
                    </a:lnTo>
                    <a:lnTo>
                      <a:pt x="0" y="1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0" name="Freeform 19">
                <a:extLst>
                  <a:ext uri="{FF2B5EF4-FFF2-40B4-BE49-F238E27FC236}">
                    <a16:creationId xmlns:a16="http://schemas.microsoft.com/office/drawing/2014/main" id="{3E69BDAF-4336-4CBE-8F21-A9662B74D654}"/>
                  </a:ext>
                </a:extLst>
              </p:cNvPr>
              <p:cNvSpPr>
                <a:spLocks/>
              </p:cNvSpPr>
              <p:nvPr/>
            </p:nvSpPr>
            <p:spPr bwMode="auto">
              <a:xfrm>
                <a:off x="2255" y="932"/>
                <a:ext cx="78" cy="21"/>
              </a:xfrm>
              <a:custGeom>
                <a:avLst/>
                <a:gdLst>
                  <a:gd name="T0" fmla="*/ 0 w 78"/>
                  <a:gd name="T1" fmla="*/ 21 h 21"/>
                  <a:gd name="T2" fmla="*/ 15 w 78"/>
                  <a:gd name="T3" fmla="*/ 21 h 21"/>
                  <a:gd name="T4" fmla="*/ 15 w 78"/>
                  <a:gd name="T5" fmla="*/ 21 h 21"/>
                  <a:gd name="T6" fmla="*/ 32 w 78"/>
                  <a:gd name="T7" fmla="*/ 21 h 21"/>
                  <a:gd name="T8" fmla="*/ 46 w 78"/>
                  <a:gd name="T9" fmla="*/ 21 h 21"/>
                  <a:gd name="T10" fmla="*/ 46 w 78"/>
                  <a:gd name="T11" fmla="*/ 21 h 21"/>
                  <a:gd name="T12" fmla="*/ 62 w 78"/>
                  <a:gd name="T13" fmla="*/ 21 h 21"/>
                  <a:gd name="T14" fmla="*/ 78 w 78"/>
                  <a:gd name="T15" fmla="*/ 21 h 21"/>
                  <a:gd name="T16" fmla="*/ 78 w 78"/>
                  <a:gd name="T17" fmla="*/ 0 h 21"/>
                  <a:gd name="T18" fmla="*/ 62 w 78"/>
                  <a:gd name="T19" fmla="*/ 0 h 21"/>
                  <a:gd name="T20" fmla="*/ 62 w 78"/>
                  <a:gd name="T21" fmla="*/ 21 h 21"/>
                  <a:gd name="T22" fmla="*/ 46 w 78"/>
                  <a:gd name="T23" fmla="*/ 21 h 21"/>
                  <a:gd name="T24" fmla="*/ 46 w 78"/>
                  <a:gd name="T25" fmla="*/ 18 h 21"/>
                  <a:gd name="T26" fmla="*/ 46 w 78"/>
                  <a:gd name="T27" fmla="*/ 0 h 21"/>
                  <a:gd name="T28" fmla="*/ 32 w 78"/>
                  <a:gd name="T29" fmla="*/ 0 h 21"/>
                  <a:gd name="T30" fmla="*/ 32 w 78"/>
                  <a:gd name="T31" fmla="*/ 21 h 21"/>
                  <a:gd name="T32" fmla="*/ 15 w 78"/>
                  <a:gd name="T33" fmla="*/ 21 h 21"/>
                  <a:gd name="T34" fmla="*/ 15 w 78"/>
                  <a:gd name="T35" fmla="*/ 21 h 21"/>
                  <a:gd name="T36" fmla="*/ 15 w 78"/>
                  <a:gd name="T37" fmla="*/ 19 h 21"/>
                  <a:gd name="T38" fmla="*/ 15 w 78"/>
                  <a:gd name="T39" fmla="*/ 18 h 21"/>
                  <a:gd name="T40" fmla="*/ 15 w 78"/>
                  <a:gd name="T41" fmla="*/ 18 h 21"/>
                  <a:gd name="T42" fmla="*/ 15 w 78"/>
                  <a:gd name="T43" fmla="*/ 0 h 21"/>
                  <a:gd name="T44" fmla="*/ 0 w 78"/>
                  <a:gd name="T45" fmla="*/ 0 h 21"/>
                  <a:gd name="T46" fmla="*/ 0 w 78"/>
                  <a:gd name="T47" fmla="*/ 1 h 21"/>
                  <a:gd name="T48" fmla="*/ 0 w 78"/>
                  <a:gd name="T4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21">
                    <a:moveTo>
                      <a:pt x="0" y="21"/>
                    </a:moveTo>
                    <a:lnTo>
                      <a:pt x="15" y="21"/>
                    </a:lnTo>
                    <a:lnTo>
                      <a:pt x="15" y="21"/>
                    </a:lnTo>
                    <a:lnTo>
                      <a:pt x="32" y="21"/>
                    </a:lnTo>
                    <a:lnTo>
                      <a:pt x="46" y="21"/>
                    </a:lnTo>
                    <a:lnTo>
                      <a:pt x="46" y="21"/>
                    </a:lnTo>
                    <a:lnTo>
                      <a:pt x="62" y="21"/>
                    </a:lnTo>
                    <a:lnTo>
                      <a:pt x="78" y="21"/>
                    </a:lnTo>
                    <a:lnTo>
                      <a:pt x="78" y="0"/>
                    </a:lnTo>
                    <a:lnTo>
                      <a:pt x="62" y="0"/>
                    </a:lnTo>
                    <a:lnTo>
                      <a:pt x="62" y="21"/>
                    </a:lnTo>
                    <a:lnTo>
                      <a:pt x="46" y="21"/>
                    </a:lnTo>
                    <a:lnTo>
                      <a:pt x="46" y="18"/>
                    </a:lnTo>
                    <a:lnTo>
                      <a:pt x="46" y="0"/>
                    </a:lnTo>
                    <a:lnTo>
                      <a:pt x="32" y="0"/>
                    </a:lnTo>
                    <a:lnTo>
                      <a:pt x="32" y="21"/>
                    </a:lnTo>
                    <a:lnTo>
                      <a:pt x="15" y="21"/>
                    </a:lnTo>
                    <a:lnTo>
                      <a:pt x="15" y="21"/>
                    </a:lnTo>
                    <a:lnTo>
                      <a:pt x="15" y="19"/>
                    </a:lnTo>
                    <a:lnTo>
                      <a:pt x="15" y="18"/>
                    </a:lnTo>
                    <a:lnTo>
                      <a:pt x="15" y="18"/>
                    </a:lnTo>
                    <a:lnTo>
                      <a:pt x="15" y="0"/>
                    </a:lnTo>
                    <a:lnTo>
                      <a:pt x="0" y="0"/>
                    </a:lnTo>
                    <a:lnTo>
                      <a:pt x="0" y="1"/>
                    </a:lnTo>
                    <a:lnTo>
                      <a:pt x="0" y="2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1" name="Rectangle 20">
                <a:extLst>
                  <a:ext uri="{FF2B5EF4-FFF2-40B4-BE49-F238E27FC236}">
                    <a16:creationId xmlns:a16="http://schemas.microsoft.com/office/drawing/2014/main" id="{02AF2F6C-8FD7-4BF8-9B24-440BED3FA2C5}"/>
                  </a:ext>
                </a:extLst>
              </p:cNvPr>
              <p:cNvSpPr>
                <a:spLocks noChangeArrowheads="1"/>
              </p:cNvSpPr>
              <p:nvPr/>
            </p:nvSpPr>
            <p:spPr bwMode="auto">
              <a:xfrm>
                <a:off x="2224" y="964"/>
                <a:ext cx="109" cy="10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2" name="Freeform 21">
                <a:extLst>
                  <a:ext uri="{FF2B5EF4-FFF2-40B4-BE49-F238E27FC236}">
                    <a16:creationId xmlns:a16="http://schemas.microsoft.com/office/drawing/2014/main" id="{A4CBD18F-441A-4C27-8A10-E9BD22CC1271}"/>
                  </a:ext>
                </a:extLst>
              </p:cNvPr>
              <p:cNvSpPr>
                <a:spLocks/>
              </p:cNvSpPr>
              <p:nvPr/>
            </p:nvSpPr>
            <p:spPr bwMode="auto">
              <a:xfrm>
                <a:off x="2255" y="808"/>
                <a:ext cx="232" cy="233"/>
              </a:xfrm>
              <a:custGeom>
                <a:avLst/>
                <a:gdLst>
                  <a:gd name="T0" fmla="*/ 232 w 232"/>
                  <a:gd name="T1" fmla="*/ 30 h 233"/>
                  <a:gd name="T2" fmla="*/ 218 w 232"/>
                  <a:gd name="T3" fmla="*/ 15 h 233"/>
                  <a:gd name="T4" fmla="*/ 201 w 232"/>
                  <a:gd name="T5" fmla="*/ 0 h 233"/>
                  <a:gd name="T6" fmla="*/ 186 w 232"/>
                  <a:gd name="T7" fmla="*/ 15 h 233"/>
                  <a:gd name="T8" fmla="*/ 171 w 232"/>
                  <a:gd name="T9" fmla="*/ 0 h 233"/>
                  <a:gd name="T10" fmla="*/ 155 w 232"/>
                  <a:gd name="T11" fmla="*/ 15 h 233"/>
                  <a:gd name="T12" fmla="*/ 140 w 232"/>
                  <a:gd name="T13" fmla="*/ 0 h 233"/>
                  <a:gd name="T14" fmla="*/ 124 w 232"/>
                  <a:gd name="T15" fmla="*/ 15 h 233"/>
                  <a:gd name="T16" fmla="*/ 108 w 232"/>
                  <a:gd name="T17" fmla="*/ 0 h 233"/>
                  <a:gd name="T18" fmla="*/ 93 w 232"/>
                  <a:gd name="T19" fmla="*/ 15 h 233"/>
                  <a:gd name="T20" fmla="*/ 78 w 232"/>
                  <a:gd name="T21" fmla="*/ 0 h 233"/>
                  <a:gd name="T22" fmla="*/ 61 w 232"/>
                  <a:gd name="T23" fmla="*/ 15 h 233"/>
                  <a:gd name="T24" fmla="*/ 46 w 232"/>
                  <a:gd name="T25" fmla="*/ 0 h 233"/>
                  <a:gd name="T26" fmla="*/ 30 w 232"/>
                  <a:gd name="T27" fmla="*/ 15 h 233"/>
                  <a:gd name="T28" fmla="*/ 15 w 232"/>
                  <a:gd name="T29" fmla="*/ 30 h 233"/>
                  <a:gd name="T30" fmla="*/ 0 w 232"/>
                  <a:gd name="T31" fmla="*/ 47 h 233"/>
                  <a:gd name="T32" fmla="*/ 15 w 232"/>
                  <a:gd name="T33" fmla="*/ 62 h 233"/>
                  <a:gd name="T34" fmla="*/ 0 w 232"/>
                  <a:gd name="T35" fmla="*/ 78 h 233"/>
                  <a:gd name="T36" fmla="*/ 15 w 232"/>
                  <a:gd name="T37" fmla="*/ 93 h 233"/>
                  <a:gd name="T38" fmla="*/ 0 w 232"/>
                  <a:gd name="T39" fmla="*/ 108 h 233"/>
                  <a:gd name="T40" fmla="*/ 15 w 232"/>
                  <a:gd name="T41" fmla="*/ 124 h 233"/>
                  <a:gd name="T42" fmla="*/ 32 w 232"/>
                  <a:gd name="T43" fmla="*/ 30 h 233"/>
                  <a:gd name="T44" fmla="*/ 201 w 232"/>
                  <a:gd name="T45" fmla="*/ 202 h 233"/>
                  <a:gd name="T46" fmla="*/ 109 w 232"/>
                  <a:gd name="T47" fmla="*/ 202 h 233"/>
                  <a:gd name="T48" fmla="*/ 109 w 232"/>
                  <a:gd name="T49" fmla="*/ 217 h 233"/>
                  <a:gd name="T50" fmla="*/ 124 w 232"/>
                  <a:gd name="T51" fmla="*/ 233 h 233"/>
                  <a:gd name="T52" fmla="*/ 139 w 232"/>
                  <a:gd name="T53" fmla="*/ 218 h 233"/>
                  <a:gd name="T54" fmla="*/ 155 w 232"/>
                  <a:gd name="T55" fmla="*/ 233 h 233"/>
                  <a:gd name="T56" fmla="*/ 171 w 232"/>
                  <a:gd name="T57" fmla="*/ 218 h 233"/>
                  <a:gd name="T58" fmla="*/ 186 w 232"/>
                  <a:gd name="T59" fmla="*/ 233 h 233"/>
                  <a:gd name="T60" fmla="*/ 201 w 232"/>
                  <a:gd name="T61" fmla="*/ 218 h 233"/>
                  <a:gd name="T62" fmla="*/ 218 w 232"/>
                  <a:gd name="T63" fmla="*/ 202 h 233"/>
                  <a:gd name="T64" fmla="*/ 232 w 232"/>
                  <a:gd name="T65" fmla="*/ 186 h 233"/>
                  <a:gd name="T66" fmla="*/ 218 w 232"/>
                  <a:gd name="T67" fmla="*/ 171 h 233"/>
                  <a:gd name="T68" fmla="*/ 232 w 232"/>
                  <a:gd name="T69" fmla="*/ 156 h 233"/>
                  <a:gd name="T70" fmla="*/ 218 w 232"/>
                  <a:gd name="T71" fmla="*/ 140 h 233"/>
                  <a:gd name="T72" fmla="*/ 232 w 232"/>
                  <a:gd name="T73" fmla="*/ 124 h 233"/>
                  <a:gd name="T74" fmla="*/ 218 w 232"/>
                  <a:gd name="T75" fmla="*/ 108 h 233"/>
                  <a:gd name="T76" fmla="*/ 232 w 232"/>
                  <a:gd name="T77" fmla="*/ 93 h 233"/>
                  <a:gd name="T78" fmla="*/ 218 w 232"/>
                  <a:gd name="T79" fmla="*/ 78 h 233"/>
                  <a:gd name="T80" fmla="*/ 232 w 232"/>
                  <a:gd name="T81" fmla="*/ 62 h 233"/>
                  <a:gd name="T82" fmla="*/ 218 w 232"/>
                  <a:gd name="T83" fmla="*/ 47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233">
                    <a:moveTo>
                      <a:pt x="232" y="47"/>
                    </a:moveTo>
                    <a:lnTo>
                      <a:pt x="232" y="30"/>
                    </a:lnTo>
                    <a:lnTo>
                      <a:pt x="218" y="30"/>
                    </a:lnTo>
                    <a:lnTo>
                      <a:pt x="218" y="15"/>
                    </a:lnTo>
                    <a:lnTo>
                      <a:pt x="201" y="15"/>
                    </a:lnTo>
                    <a:lnTo>
                      <a:pt x="201" y="0"/>
                    </a:lnTo>
                    <a:lnTo>
                      <a:pt x="186" y="0"/>
                    </a:lnTo>
                    <a:lnTo>
                      <a:pt x="186" y="15"/>
                    </a:lnTo>
                    <a:lnTo>
                      <a:pt x="171" y="15"/>
                    </a:lnTo>
                    <a:lnTo>
                      <a:pt x="171" y="0"/>
                    </a:lnTo>
                    <a:lnTo>
                      <a:pt x="155" y="0"/>
                    </a:lnTo>
                    <a:lnTo>
                      <a:pt x="155" y="15"/>
                    </a:lnTo>
                    <a:lnTo>
                      <a:pt x="140" y="15"/>
                    </a:lnTo>
                    <a:lnTo>
                      <a:pt x="140" y="0"/>
                    </a:lnTo>
                    <a:lnTo>
                      <a:pt x="124" y="0"/>
                    </a:lnTo>
                    <a:lnTo>
                      <a:pt x="124" y="15"/>
                    </a:lnTo>
                    <a:lnTo>
                      <a:pt x="108" y="15"/>
                    </a:lnTo>
                    <a:lnTo>
                      <a:pt x="108" y="0"/>
                    </a:lnTo>
                    <a:lnTo>
                      <a:pt x="93" y="0"/>
                    </a:lnTo>
                    <a:lnTo>
                      <a:pt x="93" y="15"/>
                    </a:lnTo>
                    <a:lnTo>
                      <a:pt x="78" y="15"/>
                    </a:lnTo>
                    <a:lnTo>
                      <a:pt x="78" y="0"/>
                    </a:lnTo>
                    <a:lnTo>
                      <a:pt x="61" y="0"/>
                    </a:lnTo>
                    <a:lnTo>
                      <a:pt x="61" y="15"/>
                    </a:lnTo>
                    <a:lnTo>
                      <a:pt x="46" y="15"/>
                    </a:lnTo>
                    <a:lnTo>
                      <a:pt x="46" y="0"/>
                    </a:lnTo>
                    <a:lnTo>
                      <a:pt x="30" y="0"/>
                    </a:lnTo>
                    <a:lnTo>
                      <a:pt x="30" y="15"/>
                    </a:lnTo>
                    <a:lnTo>
                      <a:pt x="15" y="15"/>
                    </a:lnTo>
                    <a:lnTo>
                      <a:pt x="15" y="30"/>
                    </a:lnTo>
                    <a:lnTo>
                      <a:pt x="0" y="30"/>
                    </a:lnTo>
                    <a:lnTo>
                      <a:pt x="0" y="47"/>
                    </a:lnTo>
                    <a:lnTo>
                      <a:pt x="15" y="47"/>
                    </a:lnTo>
                    <a:lnTo>
                      <a:pt x="15" y="62"/>
                    </a:lnTo>
                    <a:lnTo>
                      <a:pt x="0" y="62"/>
                    </a:lnTo>
                    <a:lnTo>
                      <a:pt x="0" y="78"/>
                    </a:lnTo>
                    <a:lnTo>
                      <a:pt x="15" y="78"/>
                    </a:lnTo>
                    <a:lnTo>
                      <a:pt x="15" y="93"/>
                    </a:lnTo>
                    <a:lnTo>
                      <a:pt x="0" y="93"/>
                    </a:lnTo>
                    <a:lnTo>
                      <a:pt x="0" y="108"/>
                    </a:lnTo>
                    <a:lnTo>
                      <a:pt x="15" y="108"/>
                    </a:lnTo>
                    <a:lnTo>
                      <a:pt x="15" y="124"/>
                    </a:lnTo>
                    <a:lnTo>
                      <a:pt x="32" y="124"/>
                    </a:lnTo>
                    <a:lnTo>
                      <a:pt x="32" y="30"/>
                    </a:lnTo>
                    <a:lnTo>
                      <a:pt x="201" y="30"/>
                    </a:lnTo>
                    <a:lnTo>
                      <a:pt x="201" y="202"/>
                    </a:lnTo>
                    <a:lnTo>
                      <a:pt x="109" y="202"/>
                    </a:lnTo>
                    <a:lnTo>
                      <a:pt x="109" y="202"/>
                    </a:lnTo>
                    <a:lnTo>
                      <a:pt x="109" y="203"/>
                    </a:lnTo>
                    <a:lnTo>
                      <a:pt x="109" y="217"/>
                    </a:lnTo>
                    <a:lnTo>
                      <a:pt x="124" y="218"/>
                    </a:lnTo>
                    <a:lnTo>
                      <a:pt x="124" y="233"/>
                    </a:lnTo>
                    <a:lnTo>
                      <a:pt x="139" y="233"/>
                    </a:lnTo>
                    <a:lnTo>
                      <a:pt x="139" y="218"/>
                    </a:lnTo>
                    <a:lnTo>
                      <a:pt x="155" y="218"/>
                    </a:lnTo>
                    <a:lnTo>
                      <a:pt x="155" y="233"/>
                    </a:lnTo>
                    <a:lnTo>
                      <a:pt x="171" y="233"/>
                    </a:lnTo>
                    <a:lnTo>
                      <a:pt x="171" y="218"/>
                    </a:lnTo>
                    <a:lnTo>
                      <a:pt x="186" y="218"/>
                    </a:lnTo>
                    <a:lnTo>
                      <a:pt x="186" y="233"/>
                    </a:lnTo>
                    <a:lnTo>
                      <a:pt x="201" y="233"/>
                    </a:lnTo>
                    <a:lnTo>
                      <a:pt x="201" y="218"/>
                    </a:lnTo>
                    <a:lnTo>
                      <a:pt x="218" y="218"/>
                    </a:lnTo>
                    <a:lnTo>
                      <a:pt x="218" y="202"/>
                    </a:lnTo>
                    <a:lnTo>
                      <a:pt x="232" y="202"/>
                    </a:lnTo>
                    <a:lnTo>
                      <a:pt x="232" y="186"/>
                    </a:lnTo>
                    <a:lnTo>
                      <a:pt x="218" y="186"/>
                    </a:lnTo>
                    <a:lnTo>
                      <a:pt x="218" y="171"/>
                    </a:lnTo>
                    <a:lnTo>
                      <a:pt x="232" y="171"/>
                    </a:lnTo>
                    <a:lnTo>
                      <a:pt x="232" y="156"/>
                    </a:lnTo>
                    <a:lnTo>
                      <a:pt x="218" y="156"/>
                    </a:lnTo>
                    <a:lnTo>
                      <a:pt x="218" y="140"/>
                    </a:lnTo>
                    <a:lnTo>
                      <a:pt x="232" y="140"/>
                    </a:lnTo>
                    <a:lnTo>
                      <a:pt x="232" y="124"/>
                    </a:lnTo>
                    <a:lnTo>
                      <a:pt x="218" y="124"/>
                    </a:lnTo>
                    <a:lnTo>
                      <a:pt x="218" y="108"/>
                    </a:lnTo>
                    <a:lnTo>
                      <a:pt x="232" y="108"/>
                    </a:lnTo>
                    <a:lnTo>
                      <a:pt x="232" y="93"/>
                    </a:lnTo>
                    <a:lnTo>
                      <a:pt x="218" y="93"/>
                    </a:lnTo>
                    <a:lnTo>
                      <a:pt x="218" y="78"/>
                    </a:lnTo>
                    <a:lnTo>
                      <a:pt x="232" y="78"/>
                    </a:lnTo>
                    <a:lnTo>
                      <a:pt x="232" y="62"/>
                    </a:lnTo>
                    <a:lnTo>
                      <a:pt x="218" y="62"/>
                    </a:lnTo>
                    <a:lnTo>
                      <a:pt x="218" y="47"/>
                    </a:lnTo>
                    <a:lnTo>
                      <a:pt x="232" y="4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3" name="Freeform 22">
                <a:extLst>
                  <a:ext uri="{FF2B5EF4-FFF2-40B4-BE49-F238E27FC236}">
                    <a16:creationId xmlns:a16="http://schemas.microsoft.com/office/drawing/2014/main" id="{888A6A2F-D95C-4895-B866-9E7F7C280FCA}"/>
                  </a:ext>
                </a:extLst>
              </p:cNvPr>
              <p:cNvSpPr>
                <a:spLocks noEditPoints="1"/>
              </p:cNvSpPr>
              <p:nvPr/>
            </p:nvSpPr>
            <p:spPr bwMode="auto">
              <a:xfrm>
                <a:off x="2207" y="948"/>
                <a:ext cx="141" cy="141"/>
              </a:xfrm>
              <a:custGeom>
                <a:avLst/>
                <a:gdLst>
                  <a:gd name="T0" fmla="*/ 0 w 141"/>
                  <a:gd name="T1" fmla="*/ 0 h 141"/>
                  <a:gd name="T2" fmla="*/ 0 w 141"/>
                  <a:gd name="T3" fmla="*/ 141 h 141"/>
                  <a:gd name="T4" fmla="*/ 141 w 141"/>
                  <a:gd name="T5" fmla="*/ 141 h 141"/>
                  <a:gd name="T6" fmla="*/ 141 w 141"/>
                  <a:gd name="T7" fmla="*/ 0 h 141"/>
                  <a:gd name="T8" fmla="*/ 0 w 141"/>
                  <a:gd name="T9" fmla="*/ 0 h 141"/>
                  <a:gd name="T10" fmla="*/ 126 w 141"/>
                  <a:gd name="T11" fmla="*/ 124 h 141"/>
                  <a:gd name="T12" fmla="*/ 17 w 141"/>
                  <a:gd name="T13" fmla="*/ 124 h 141"/>
                  <a:gd name="T14" fmla="*/ 17 w 141"/>
                  <a:gd name="T15" fmla="*/ 16 h 141"/>
                  <a:gd name="T16" fmla="*/ 126 w 141"/>
                  <a:gd name="T17" fmla="*/ 16 h 141"/>
                  <a:gd name="T18" fmla="*/ 126 w 141"/>
                  <a:gd name="T19" fmla="*/ 12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0" y="0"/>
                    </a:moveTo>
                    <a:lnTo>
                      <a:pt x="0" y="141"/>
                    </a:lnTo>
                    <a:lnTo>
                      <a:pt x="141" y="141"/>
                    </a:lnTo>
                    <a:lnTo>
                      <a:pt x="141" y="0"/>
                    </a:lnTo>
                    <a:lnTo>
                      <a:pt x="0" y="0"/>
                    </a:lnTo>
                    <a:close/>
                    <a:moveTo>
                      <a:pt x="126" y="124"/>
                    </a:moveTo>
                    <a:lnTo>
                      <a:pt x="17" y="124"/>
                    </a:lnTo>
                    <a:lnTo>
                      <a:pt x="17" y="16"/>
                    </a:lnTo>
                    <a:lnTo>
                      <a:pt x="126" y="16"/>
                    </a:lnTo>
                    <a:lnTo>
                      <a:pt x="126" y="12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sp>
          <p:nvSpPr>
            <p:cNvPr id="54" name="TextBox 53">
              <a:extLst>
                <a:ext uri="{FF2B5EF4-FFF2-40B4-BE49-F238E27FC236}">
                  <a16:creationId xmlns:a16="http://schemas.microsoft.com/office/drawing/2014/main" id="{5A893374-30A3-4A22-8A97-5303C96024E6}"/>
                </a:ext>
              </a:extLst>
            </p:cNvPr>
            <p:cNvSpPr txBox="1"/>
            <p:nvPr/>
          </p:nvSpPr>
          <p:spPr>
            <a:xfrm>
              <a:off x="-276549" y="2686500"/>
              <a:ext cx="427190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GPU architecture</a:t>
              </a:r>
            </a:p>
          </p:txBody>
        </p:sp>
      </p:grpSp>
      <p:grpSp>
        <p:nvGrpSpPr>
          <p:cNvPr id="7" name="Group 6">
            <a:extLst>
              <a:ext uri="{FF2B5EF4-FFF2-40B4-BE49-F238E27FC236}">
                <a16:creationId xmlns:a16="http://schemas.microsoft.com/office/drawing/2014/main" id="{60EC79D2-59BE-4684-AEE3-8FB3D51CF00F}"/>
              </a:ext>
              <a:ext uri="{C183D7F6-B498-43B3-948B-1728B52AA6E4}">
                <adec:decorative xmlns:adec="http://schemas.microsoft.com/office/drawing/2017/decorative" val="1"/>
              </a:ext>
            </a:extLst>
          </p:cNvPr>
          <p:cNvGrpSpPr/>
          <p:nvPr/>
        </p:nvGrpSpPr>
        <p:grpSpPr>
          <a:xfrm>
            <a:off x="8109328" y="1462571"/>
            <a:ext cx="4271901" cy="2618408"/>
            <a:chOff x="7986125" y="2683424"/>
            <a:chExt cx="4271901" cy="2618408"/>
          </a:xfrm>
        </p:grpSpPr>
        <p:sp>
          <p:nvSpPr>
            <p:cNvPr id="23" name="TextBox 22">
              <a:extLst>
                <a:ext uri="{FF2B5EF4-FFF2-40B4-BE49-F238E27FC236}">
                  <a16:creationId xmlns:a16="http://schemas.microsoft.com/office/drawing/2014/main" id="{4D4BB0DC-7FF5-4641-943D-8D6BA03107BC}"/>
                </a:ext>
              </a:extLst>
            </p:cNvPr>
            <p:cNvSpPr txBox="1"/>
            <p:nvPr/>
          </p:nvSpPr>
          <p:spPr>
            <a:xfrm>
              <a:off x="9063995" y="3993782"/>
              <a:ext cx="3021365" cy="1308050"/>
            </a:xfrm>
            <a:prstGeom prst="rect">
              <a:avLst/>
            </a:prstGeom>
            <a:noFill/>
          </p:spPr>
          <p:txBody>
            <a:bodyPr wrap="square" rtlCol="0">
              <a:spAutoFit/>
            </a:bodyPr>
            <a:lstStyle/>
            <a:p>
              <a:pPr marL="225425" marR="0" lvl="0" indent="-2254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Data-based models</a:t>
              </a:r>
            </a:p>
            <a:p>
              <a:pPr marL="225425" marR="0" lvl="0" indent="-2254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Insight driven</a:t>
              </a:r>
            </a:p>
            <a:p>
              <a:pPr marL="225425" marR="0" lvl="0" indent="-2254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Platform service model</a:t>
              </a:r>
            </a:p>
            <a:p>
              <a:pPr marL="225425" marR="0" lvl="0" indent="-2254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Emerging use cases</a:t>
              </a:r>
            </a:p>
          </p:txBody>
        </p:sp>
        <p:sp>
          <p:nvSpPr>
            <p:cNvPr id="55" name="TextBox 54">
              <a:extLst>
                <a:ext uri="{FF2B5EF4-FFF2-40B4-BE49-F238E27FC236}">
                  <a16:creationId xmlns:a16="http://schemas.microsoft.com/office/drawing/2014/main" id="{81A60990-B7AC-45F5-9C52-DAF2976E07DF}"/>
                </a:ext>
              </a:extLst>
            </p:cNvPr>
            <p:cNvSpPr txBox="1"/>
            <p:nvPr/>
          </p:nvSpPr>
          <p:spPr>
            <a:xfrm>
              <a:off x="7986125" y="2683424"/>
              <a:ext cx="427190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Model development</a:t>
              </a:r>
            </a:p>
          </p:txBody>
        </p:sp>
        <p:grpSp>
          <p:nvGrpSpPr>
            <p:cNvPr id="73" name="integrate" descr="integrate">
              <a:extLst>
                <a:ext uri="{FF2B5EF4-FFF2-40B4-BE49-F238E27FC236}">
                  <a16:creationId xmlns:a16="http://schemas.microsoft.com/office/drawing/2014/main" id="{C688EDBD-E206-4BF0-98FB-164C60CA2CA8}"/>
                </a:ext>
              </a:extLst>
            </p:cNvPr>
            <p:cNvGrpSpPr>
              <a:grpSpLocks noChangeAspect="1"/>
            </p:cNvGrpSpPr>
            <p:nvPr/>
          </p:nvGrpSpPr>
          <p:grpSpPr bwMode="auto">
            <a:xfrm>
              <a:off x="9810333" y="3237516"/>
              <a:ext cx="592570" cy="592570"/>
              <a:chOff x="1057" y="811"/>
              <a:chExt cx="230" cy="230"/>
            </a:xfrm>
          </p:grpSpPr>
          <p:sp>
            <p:nvSpPr>
              <p:cNvPr id="74" name="AutoShape 18">
                <a:extLst>
                  <a:ext uri="{FF2B5EF4-FFF2-40B4-BE49-F238E27FC236}">
                    <a16:creationId xmlns:a16="http://schemas.microsoft.com/office/drawing/2014/main" id="{1C0A80AC-0E6B-4122-8F2D-97C11FF90003}"/>
                  </a:ext>
                </a:extLst>
              </p:cNvPr>
              <p:cNvSpPr>
                <a:spLocks noChangeAspect="1" noChangeArrowheads="1" noTextEdit="1"/>
              </p:cNvSpPr>
              <p:nvPr/>
            </p:nvSpPr>
            <p:spPr bwMode="auto">
              <a:xfrm>
                <a:off x="1057" y="811"/>
                <a:ext cx="230" cy="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Rectangle 20">
                <a:extLst>
                  <a:ext uri="{FF2B5EF4-FFF2-40B4-BE49-F238E27FC236}">
                    <a16:creationId xmlns:a16="http://schemas.microsoft.com/office/drawing/2014/main" id="{17E3BC53-BF33-4BC6-8ABB-9B4D3E097AA8}"/>
                  </a:ext>
                </a:extLst>
              </p:cNvPr>
              <p:cNvSpPr>
                <a:spLocks noChangeArrowheads="1"/>
              </p:cNvSpPr>
              <p:nvPr/>
            </p:nvSpPr>
            <p:spPr bwMode="auto">
              <a:xfrm>
                <a:off x="1057" y="811"/>
                <a:ext cx="49" cy="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76" name="Rectangle 21">
                <a:extLst>
                  <a:ext uri="{FF2B5EF4-FFF2-40B4-BE49-F238E27FC236}">
                    <a16:creationId xmlns:a16="http://schemas.microsoft.com/office/drawing/2014/main" id="{70352267-66EF-439B-B2BC-E3238DC6C2E7}"/>
                  </a:ext>
                </a:extLst>
              </p:cNvPr>
              <p:cNvSpPr>
                <a:spLocks noChangeArrowheads="1"/>
              </p:cNvSpPr>
              <p:nvPr/>
            </p:nvSpPr>
            <p:spPr bwMode="auto">
              <a:xfrm>
                <a:off x="1118" y="811"/>
                <a:ext cx="48" cy="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77" name="Rectangle 22">
                <a:extLst>
                  <a:ext uri="{FF2B5EF4-FFF2-40B4-BE49-F238E27FC236}">
                    <a16:creationId xmlns:a16="http://schemas.microsoft.com/office/drawing/2014/main" id="{421B6D89-4E53-4887-A59A-0C1F71F5CD3C}"/>
                  </a:ext>
                </a:extLst>
              </p:cNvPr>
              <p:cNvSpPr>
                <a:spLocks noChangeArrowheads="1"/>
              </p:cNvSpPr>
              <p:nvPr/>
            </p:nvSpPr>
            <p:spPr bwMode="auto">
              <a:xfrm>
                <a:off x="1178" y="811"/>
                <a:ext cx="49" cy="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78" name="Rectangle 23">
                <a:extLst>
                  <a:ext uri="{FF2B5EF4-FFF2-40B4-BE49-F238E27FC236}">
                    <a16:creationId xmlns:a16="http://schemas.microsoft.com/office/drawing/2014/main" id="{56D041BE-8DE9-422A-8207-4A594D96F4AD}"/>
                  </a:ext>
                </a:extLst>
              </p:cNvPr>
              <p:cNvSpPr>
                <a:spLocks noChangeArrowheads="1"/>
              </p:cNvSpPr>
              <p:nvPr/>
            </p:nvSpPr>
            <p:spPr bwMode="auto">
              <a:xfrm>
                <a:off x="1239" y="811"/>
                <a:ext cx="48" cy="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79" name="Rectangle 24">
                <a:extLst>
                  <a:ext uri="{FF2B5EF4-FFF2-40B4-BE49-F238E27FC236}">
                    <a16:creationId xmlns:a16="http://schemas.microsoft.com/office/drawing/2014/main" id="{1B9B160B-3B24-4FCB-8692-F2E3800737EE}"/>
                  </a:ext>
                </a:extLst>
              </p:cNvPr>
              <p:cNvSpPr>
                <a:spLocks noChangeArrowheads="1"/>
              </p:cNvSpPr>
              <p:nvPr/>
            </p:nvSpPr>
            <p:spPr bwMode="auto">
              <a:xfrm>
                <a:off x="1057" y="872"/>
                <a:ext cx="49"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0" name="Rectangle 25">
                <a:extLst>
                  <a:ext uri="{FF2B5EF4-FFF2-40B4-BE49-F238E27FC236}">
                    <a16:creationId xmlns:a16="http://schemas.microsoft.com/office/drawing/2014/main" id="{BBD68869-068E-4477-8A1F-4A9F499B1B30}"/>
                  </a:ext>
                </a:extLst>
              </p:cNvPr>
              <p:cNvSpPr>
                <a:spLocks noChangeArrowheads="1"/>
              </p:cNvSpPr>
              <p:nvPr/>
            </p:nvSpPr>
            <p:spPr bwMode="auto">
              <a:xfrm>
                <a:off x="1118" y="872"/>
                <a:ext cx="48"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1" name="Rectangle 26">
                <a:extLst>
                  <a:ext uri="{FF2B5EF4-FFF2-40B4-BE49-F238E27FC236}">
                    <a16:creationId xmlns:a16="http://schemas.microsoft.com/office/drawing/2014/main" id="{A665A361-FA8C-48F7-9BB6-A6600D9FAF90}"/>
                  </a:ext>
                </a:extLst>
              </p:cNvPr>
              <p:cNvSpPr>
                <a:spLocks noChangeArrowheads="1"/>
              </p:cNvSpPr>
              <p:nvPr/>
            </p:nvSpPr>
            <p:spPr bwMode="auto">
              <a:xfrm>
                <a:off x="1178" y="872"/>
                <a:ext cx="49"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2" name="Rectangle 27">
                <a:extLst>
                  <a:ext uri="{FF2B5EF4-FFF2-40B4-BE49-F238E27FC236}">
                    <a16:creationId xmlns:a16="http://schemas.microsoft.com/office/drawing/2014/main" id="{53BCF912-599F-4F7B-9596-92CDE8BBFFA4}"/>
                  </a:ext>
                </a:extLst>
              </p:cNvPr>
              <p:cNvSpPr>
                <a:spLocks noChangeArrowheads="1"/>
              </p:cNvSpPr>
              <p:nvPr/>
            </p:nvSpPr>
            <p:spPr bwMode="auto">
              <a:xfrm>
                <a:off x="1239" y="872"/>
                <a:ext cx="48"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3" name="Oval 28">
                <a:extLst>
                  <a:ext uri="{FF2B5EF4-FFF2-40B4-BE49-F238E27FC236}">
                    <a16:creationId xmlns:a16="http://schemas.microsoft.com/office/drawing/2014/main" id="{DFB584EB-EBBA-410D-A910-23B0FA96893A}"/>
                  </a:ext>
                </a:extLst>
              </p:cNvPr>
              <p:cNvSpPr>
                <a:spLocks noChangeArrowheads="1"/>
              </p:cNvSpPr>
              <p:nvPr/>
            </p:nvSpPr>
            <p:spPr bwMode="auto">
              <a:xfrm>
                <a:off x="1057" y="932"/>
                <a:ext cx="49"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4" name="Oval 29">
                <a:extLst>
                  <a:ext uri="{FF2B5EF4-FFF2-40B4-BE49-F238E27FC236}">
                    <a16:creationId xmlns:a16="http://schemas.microsoft.com/office/drawing/2014/main" id="{F971B62D-2575-4437-847C-DD506838F68D}"/>
                  </a:ext>
                </a:extLst>
              </p:cNvPr>
              <p:cNvSpPr>
                <a:spLocks noChangeArrowheads="1"/>
              </p:cNvSpPr>
              <p:nvPr/>
            </p:nvSpPr>
            <p:spPr bwMode="auto">
              <a:xfrm>
                <a:off x="1118" y="932"/>
                <a:ext cx="48"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5" name="Oval 30">
                <a:extLst>
                  <a:ext uri="{FF2B5EF4-FFF2-40B4-BE49-F238E27FC236}">
                    <a16:creationId xmlns:a16="http://schemas.microsoft.com/office/drawing/2014/main" id="{6FFF415F-EC00-445F-85DB-F409E7D8DAD2}"/>
                  </a:ext>
                </a:extLst>
              </p:cNvPr>
              <p:cNvSpPr>
                <a:spLocks noChangeArrowheads="1"/>
              </p:cNvSpPr>
              <p:nvPr/>
            </p:nvSpPr>
            <p:spPr bwMode="auto">
              <a:xfrm>
                <a:off x="1178" y="932"/>
                <a:ext cx="49"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6" name="Oval 31">
                <a:extLst>
                  <a:ext uri="{FF2B5EF4-FFF2-40B4-BE49-F238E27FC236}">
                    <a16:creationId xmlns:a16="http://schemas.microsoft.com/office/drawing/2014/main" id="{83B0A760-4617-44CF-8ED0-76EF48CC8FFA}"/>
                  </a:ext>
                </a:extLst>
              </p:cNvPr>
              <p:cNvSpPr>
                <a:spLocks noChangeArrowheads="1"/>
              </p:cNvSpPr>
              <p:nvPr/>
            </p:nvSpPr>
            <p:spPr bwMode="auto">
              <a:xfrm>
                <a:off x="1239" y="932"/>
                <a:ext cx="48"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7" name="Rectangle 32">
                <a:extLst>
                  <a:ext uri="{FF2B5EF4-FFF2-40B4-BE49-F238E27FC236}">
                    <a16:creationId xmlns:a16="http://schemas.microsoft.com/office/drawing/2014/main" id="{A792C1F2-EFE7-4DBA-8C80-E495C16D4A3E}"/>
                  </a:ext>
                </a:extLst>
              </p:cNvPr>
              <p:cNvSpPr>
                <a:spLocks noChangeArrowheads="1"/>
              </p:cNvSpPr>
              <p:nvPr/>
            </p:nvSpPr>
            <p:spPr bwMode="auto">
              <a:xfrm>
                <a:off x="1057" y="993"/>
                <a:ext cx="49"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8" name="Rectangle 33">
                <a:extLst>
                  <a:ext uri="{FF2B5EF4-FFF2-40B4-BE49-F238E27FC236}">
                    <a16:creationId xmlns:a16="http://schemas.microsoft.com/office/drawing/2014/main" id="{A27CAC16-694D-4918-8D3E-5CED7FE78BC8}"/>
                  </a:ext>
                </a:extLst>
              </p:cNvPr>
              <p:cNvSpPr>
                <a:spLocks noChangeArrowheads="1"/>
              </p:cNvSpPr>
              <p:nvPr/>
            </p:nvSpPr>
            <p:spPr bwMode="auto">
              <a:xfrm>
                <a:off x="1118" y="993"/>
                <a:ext cx="48"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9" name="Rectangle 34">
                <a:extLst>
                  <a:ext uri="{FF2B5EF4-FFF2-40B4-BE49-F238E27FC236}">
                    <a16:creationId xmlns:a16="http://schemas.microsoft.com/office/drawing/2014/main" id="{90A75BD2-E8F0-4834-AD8F-43B2578EC039}"/>
                  </a:ext>
                </a:extLst>
              </p:cNvPr>
              <p:cNvSpPr>
                <a:spLocks noChangeArrowheads="1"/>
              </p:cNvSpPr>
              <p:nvPr/>
            </p:nvSpPr>
            <p:spPr bwMode="auto">
              <a:xfrm>
                <a:off x="1178" y="993"/>
                <a:ext cx="49"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90" name="Rectangle 35">
                <a:extLst>
                  <a:ext uri="{FF2B5EF4-FFF2-40B4-BE49-F238E27FC236}">
                    <a16:creationId xmlns:a16="http://schemas.microsoft.com/office/drawing/2014/main" id="{E995AE7F-906C-432B-9934-66E4D2222518}"/>
                  </a:ext>
                </a:extLst>
              </p:cNvPr>
              <p:cNvSpPr>
                <a:spLocks noChangeArrowheads="1"/>
              </p:cNvSpPr>
              <p:nvPr/>
            </p:nvSpPr>
            <p:spPr bwMode="auto">
              <a:xfrm>
                <a:off x="1239" y="993"/>
                <a:ext cx="48"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grpSp>
      <p:sp>
        <p:nvSpPr>
          <p:cNvPr id="3" name="Title 2">
            <a:extLst>
              <a:ext uri="{FF2B5EF4-FFF2-40B4-BE49-F238E27FC236}">
                <a16:creationId xmlns:a16="http://schemas.microsoft.com/office/drawing/2014/main" id="{B2BE23C9-2E71-0FA2-FCF1-06056C4E77B1}"/>
              </a:ext>
            </a:extLst>
          </p:cNvPr>
          <p:cNvSpPr>
            <a:spLocks noGrp="1"/>
          </p:cNvSpPr>
          <p:nvPr>
            <p:ph type="title"/>
          </p:nvPr>
        </p:nvSpPr>
        <p:spPr/>
        <p:txBody>
          <a:bodyPr/>
          <a:lstStyle/>
          <a:p>
            <a:r>
              <a:rPr kumimoji="0" lang="en-US" sz="2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Complex ML models require ‘AI-first’ infrastructure </a:t>
            </a:r>
            <a:endParaRPr lang="en-IN"/>
          </a:p>
        </p:txBody>
      </p:sp>
      <p:sp>
        <p:nvSpPr>
          <p:cNvPr id="56" name="Arrow: Right 55">
            <a:extLst>
              <a:ext uri="{FF2B5EF4-FFF2-40B4-BE49-F238E27FC236}">
                <a16:creationId xmlns:a16="http://schemas.microsoft.com/office/drawing/2014/main" id="{480D113D-7F84-7809-DBD7-8452AB4B7444}"/>
              </a:ext>
              <a:ext uri="{C183D7F6-B498-43B3-948B-1728B52AA6E4}">
                <adec:decorative xmlns:adec="http://schemas.microsoft.com/office/drawing/2017/decorative" val="1"/>
              </a:ext>
            </a:extLst>
          </p:cNvPr>
          <p:cNvSpPr/>
          <p:nvPr/>
        </p:nvSpPr>
        <p:spPr>
          <a:xfrm>
            <a:off x="3307726" y="2720353"/>
            <a:ext cx="550977" cy="789767"/>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 name="Arrow: Right 56">
            <a:extLst>
              <a:ext uri="{FF2B5EF4-FFF2-40B4-BE49-F238E27FC236}">
                <a16:creationId xmlns:a16="http://schemas.microsoft.com/office/drawing/2014/main" id="{72D97143-BB94-AE25-281E-939FE4EF22C7}"/>
              </a:ext>
              <a:ext uri="{C183D7F6-B498-43B3-948B-1728B52AA6E4}">
                <adec:decorative xmlns:adec="http://schemas.microsoft.com/office/drawing/2017/decorative" val="1"/>
              </a:ext>
            </a:extLst>
          </p:cNvPr>
          <p:cNvSpPr/>
          <p:nvPr/>
        </p:nvSpPr>
        <p:spPr>
          <a:xfrm flipH="1">
            <a:off x="8285879" y="2720353"/>
            <a:ext cx="565747" cy="789767"/>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TextBox 57">
            <a:extLst>
              <a:ext uri="{FF2B5EF4-FFF2-40B4-BE49-F238E27FC236}">
                <a16:creationId xmlns:a16="http://schemas.microsoft.com/office/drawing/2014/main" id="{1C9408A2-5BE8-1D06-5BF3-0CBB2E9917AE}"/>
              </a:ext>
            </a:extLst>
          </p:cNvPr>
          <p:cNvSpPr txBox="1"/>
          <p:nvPr/>
        </p:nvSpPr>
        <p:spPr>
          <a:xfrm>
            <a:off x="4112462" y="2950793"/>
            <a:ext cx="3936223" cy="2754600"/>
          </a:xfrm>
          <a:prstGeom prst="rect">
            <a:avLst/>
          </a:prstGeom>
          <a:noFill/>
        </p:spPr>
        <p:txBody>
          <a:bodyPr wrap="square" lIns="91440" tIns="45720" rIns="91440" bIns="45720" rtlCol="0" anchor="t">
            <a:spAutoFit/>
          </a:bodyPr>
          <a:lstStyle/>
          <a:p>
            <a:pPr marL="285750" marR="0" lvl="0" indent="-285750"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rPr>
              <a:t>Accelerates complex model training &amp; inferencing</a:t>
            </a:r>
          </a:p>
          <a:p>
            <a:pPr marL="285750" marR="0" lvl="0" indent="-285750"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rPr>
              <a:t>Enables real-time responsiveness from the cloud to the edge</a:t>
            </a:r>
          </a:p>
          <a:p>
            <a:pPr marL="285750" marR="0" lvl="0" indent="-285750"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rPr>
              <a:t>Augments performance with deep insights</a:t>
            </a:r>
          </a:p>
          <a:p>
            <a:pPr marL="285750" marR="0" lvl="0" indent="-285750"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rPr>
              <a:t>Empowers more strategic decision making and favorable outcomes</a:t>
            </a:r>
          </a:p>
        </p:txBody>
      </p:sp>
      <p:sp>
        <p:nvSpPr>
          <p:cNvPr id="59" name="TextBox 58">
            <a:extLst>
              <a:ext uri="{FF2B5EF4-FFF2-40B4-BE49-F238E27FC236}">
                <a16:creationId xmlns:a16="http://schemas.microsoft.com/office/drawing/2014/main" id="{64AFC64D-ABD7-A4BB-BC40-FE64F8642660}"/>
              </a:ext>
            </a:extLst>
          </p:cNvPr>
          <p:cNvSpPr txBox="1"/>
          <p:nvPr/>
        </p:nvSpPr>
        <p:spPr>
          <a:xfrm>
            <a:off x="4113113" y="2351021"/>
            <a:ext cx="360000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AI-First’ infrastructure</a:t>
            </a:r>
          </a:p>
        </p:txBody>
      </p:sp>
      <p:grpSp>
        <p:nvGrpSpPr>
          <p:cNvPr id="60" name="Group 59">
            <a:extLst>
              <a:ext uri="{FF2B5EF4-FFF2-40B4-BE49-F238E27FC236}">
                <a16:creationId xmlns:a16="http://schemas.microsoft.com/office/drawing/2014/main" id="{C3979B2F-262E-BEEE-0311-83AF12541BAC}"/>
              </a:ext>
              <a:ext uri="{C183D7F6-B498-43B3-948B-1728B52AA6E4}">
                <adec:decorative xmlns:adec="http://schemas.microsoft.com/office/drawing/2017/decorative" val="1"/>
              </a:ext>
            </a:extLst>
          </p:cNvPr>
          <p:cNvGrpSpPr/>
          <p:nvPr/>
        </p:nvGrpSpPr>
        <p:grpSpPr>
          <a:xfrm>
            <a:off x="5584125" y="1421592"/>
            <a:ext cx="628318" cy="629269"/>
            <a:chOff x="5615748" y="2022477"/>
            <a:chExt cx="842090" cy="843365"/>
          </a:xfrm>
        </p:grpSpPr>
        <p:sp>
          <p:nvSpPr>
            <p:cNvPr id="61" name="Freeform: Shape 60">
              <a:extLst>
                <a:ext uri="{FF2B5EF4-FFF2-40B4-BE49-F238E27FC236}">
                  <a16:creationId xmlns:a16="http://schemas.microsoft.com/office/drawing/2014/main" id="{F4AE877F-0374-D156-327A-BFA6F970D0AC}"/>
                </a:ext>
              </a:extLst>
            </p:cNvPr>
            <p:cNvSpPr/>
            <p:nvPr/>
          </p:nvSpPr>
          <p:spPr>
            <a:xfrm>
              <a:off x="5615748" y="2276735"/>
              <a:ext cx="801531" cy="208730"/>
            </a:xfrm>
            <a:custGeom>
              <a:avLst/>
              <a:gdLst>
                <a:gd name="connsiteX0" fmla="*/ 320841 w 338296"/>
                <a:gd name="connsiteY0" fmla="*/ 89312 h 88096"/>
                <a:gd name="connsiteX1" fmla="*/ 339250 w 338296"/>
                <a:gd name="connsiteY1" fmla="*/ 89312 h 88096"/>
                <a:gd name="connsiteX2" fmla="*/ 339250 w 338296"/>
                <a:gd name="connsiteY2" fmla="*/ 954 h 88096"/>
                <a:gd name="connsiteX3" fmla="*/ 954 w 338296"/>
                <a:gd name="connsiteY3" fmla="*/ 954 h 88096"/>
                <a:gd name="connsiteX4" fmla="*/ 954 w 338296"/>
                <a:gd name="connsiteY4" fmla="*/ 89372 h 88096"/>
                <a:gd name="connsiteX5" fmla="*/ 196794 w 338296"/>
                <a:gd name="connsiteY5" fmla="*/ 89372 h 88096"/>
                <a:gd name="connsiteX6" fmla="*/ 258788 w 338296"/>
                <a:gd name="connsiteY6" fmla="*/ 64075 h 88096"/>
                <a:gd name="connsiteX7" fmla="*/ 320841 w 338296"/>
                <a:gd name="connsiteY7" fmla="*/ 89312 h 8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8296" h="88096">
                  <a:moveTo>
                    <a:pt x="320841" y="89312"/>
                  </a:moveTo>
                  <a:lnTo>
                    <a:pt x="339250" y="89312"/>
                  </a:lnTo>
                  <a:lnTo>
                    <a:pt x="339250" y="954"/>
                  </a:lnTo>
                  <a:lnTo>
                    <a:pt x="954" y="954"/>
                  </a:lnTo>
                  <a:lnTo>
                    <a:pt x="954" y="89372"/>
                  </a:lnTo>
                  <a:lnTo>
                    <a:pt x="196794" y="89372"/>
                  </a:lnTo>
                  <a:cubicBezTo>
                    <a:pt x="212767" y="73695"/>
                    <a:pt x="234679" y="64075"/>
                    <a:pt x="258788" y="64075"/>
                  </a:cubicBezTo>
                  <a:cubicBezTo>
                    <a:pt x="282897" y="64075"/>
                    <a:pt x="304868" y="73695"/>
                    <a:pt x="320841" y="89312"/>
                  </a:cubicBez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Shape 61">
              <a:extLst>
                <a:ext uri="{FF2B5EF4-FFF2-40B4-BE49-F238E27FC236}">
                  <a16:creationId xmlns:a16="http://schemas.microsoft.com/office/drawing/2014/main" id="{0922BBD6-77FD-87A1-A418-F0AFD3A9C297}"/>
                </a:ext>
              </a:extLst>
            </p:cNvPr>
            <p:cNvSpPr/>
            <p:nvPr/>
          </p:nvSpPr>
          <p:spPr>
            <a:xfrm>
              <a:off x="5615748" y="2529298"/>
              <a:ext cx="434163" cy="208730"/>
            </a:xfrm>
            <a:custGeom>
              <a:avLst/>
              <a:gdLst>
                <a:gd name="connsiteX0" fmla="*/ 182483 w 183243"/>
                <a:gd name="connsiteY0" fmla="*/ 954 h 88096"/>
                <a:gd name="connsiteX1" fmla="*/ 954 w 183243"/>
                <a:gd name="connsiteY1" fmla="*/ 954 h 88096"/>
                <a:gd name="connsiteX2" fmla="*/ 954 w 183243"/>
                <a:gd name="connsiteY2" fmla="*/ 89372 h 88096"/>
                <a:gd name="connsiteX3" fmla="*/ 181414 w 183243"/>
                <a:gd name="connsiteY3" fmla="*/ 89372 h 88096"/>
                <a:gd name="connsiteX4" fmla="*/ 170131 w 183243"/>
                <a:gd name="connsiteY4" fmla="*/ 46083 h 88096"/>
                <a:gd name="connsiteX5" fmla="*/ 182483 w 183243"/>
                <a:gd name="connsiteY5" fmla="*/ 954 h 8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243" h="88096">
                  <a:moveTo>
                    <a:pt x="182483" y="954"/>
                  </a:moveTo>
                  <a:lnTo>
                    <a:pt x="954" y="954"/>
                  </a:lnTo>
                  <a:lnTo>
                    <a:pt x="954" y="89372"/>
                  </a:lnTo>
                  <a:lnTo>
                    <a:pt x="181414" y="89372"/>
                  </a:lnTo>
                  <a:cubicBezTo>
                    <a:pt x="174229" y="76545"/>
                    <a:pt x="170131" y="61819"/>
                    <a:pt x="170131" y="46083"/>
                  </a:cubicBezTo>
                  <a:cubicBezTo>
                    <a:pt x="170131" y="29634"/>
                    <a:pt x="174644" y="14196"/>
                    <a:pt x="182483" y="954"/>
                  </a:cubicBez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Shape 62">
              <a:extLst>
                <a:ext uri="{FF2B5EF4-FFF2-40B4-BE49-F238E27FC236}">
                  <a16:creationId xmlns:a16="http://schemas.microsoft.com/office/drawing/2014/main" id="{28AF465A-1B5B-CB30-4F85-74EAFB2AB7E0}"/>
                </a:ext>
              </a:extLst>
            </p:cNvPr>
            <p:cNvSpPr/>
            <p:nvPr/>
          </p:nvSpPr>
          <p:spPr>
            <a:xfrm>
              <a:off x="5615748" y="2022477"/>
              <a:ext cx="801531" cy="208730"/>
            </a:xfrm>
            <a:custGeom>
              <a:avLst/>
              <a:gdLst>
                <a:gd name="connsiteX0" fmla="*/ 339250 w 338296"/>
                <a:gd name="connsiteY0" fmla="*/ 954 h 88096"/>
                <a:gd name="connsiteX1" fmla="*/ 954 w 338296"/>
                <a:gd name="connsiteY1" fmla="*/ 954 h 88096"/>
                <a:gd name="connsiteX2" fmla="*/ 954 w 338296"/>
                <a:gd name="connsiteY2" fmla="*/ 89372 h 88096"/>
                <a:gd name="connsiteX3" fmla="*/ 339250 w 338296"/>
                <a:gd name="connsiteY3" fmla="*/ 89372 h 88096"/>
                <a:gd name="connsiteX4" fmla="*/ 339250 w 338296"/>
                <a:gd name="connsiteY4" fmla="*/ 954 h 88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296" h="88096">
                  <a:moveTo>
                    <a:pt x="339250" y="954"/>
                  </a:moveTo>
                  <a:lnTo>
                    <a:pt x="954" y="954"/>
                  </a:lnTo>
                  <a:lnTo>
                    <a:pt x="954" y="89372"/>
                  </a:lnTo>
                  <a:lnTo>
                    <a:pt x="339250" y="89372"/>
                  </a:lnTo>
                  <a:lnTo>
                    <a:pt x="339250" y="954"/>
                  </a:ln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Shape 63">
              <a:extLst>
                <a:ext uri="{FF2B5EF4-FFF2-40B4-BE49-F238E27FC236}">
                  <a16:creationId xmlns:a16="http://schemas.microsoft.com/office/drawing/2014/main" id="{52260901-0310-AD01-2E13-79761312A986}"/>
                </a:ext>
              </a:extLst>
            </p:cNvPr>
            <p:cNvSpPr/>
            <p:nvPr/>
          </p:nvSpPr>
          <p:spPr>
            <a:xfrm>
              <a:off x="5702830" y="2084835"/>
              <a:ext cx="83492" cy="83492"/>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Shape 64">
              <a:extLst>
                <a:ext uri="{FF2B5EF4-FFF2-40B4-BE49-F238E27FC236}">
                  <a16:creationId xmlns:a16="http://schemas.microsoft.com/office/drawing/2014/main" id="{32F560A1-C542-D2E0-5E39-59544A199DAB}"/>
                </a:ext>
              </a:extLst>
            </p:cNvPr>
            <p:cNvSpPr/>
            <p:nvPr/>
          </p:nvSpPr>
          <p:spPr>
            <a:xfrm>
              <a:off x="5702830" y="2591592"/>
              <a:ext cx="83492" cy="83492"/>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Shape 65">
              <a:extLst>
                <a:ext uri="{FF2B5EF4-FFF2-40B4-BE49-F238E27FC236}">
                  <a16:creationId xmlns:a16="http://schemas.microsoft.com/office/drawing/2014/main" id="{C4899EF4-6969-ED23-4535-6C5A144E17D4}"/>
                </a:ext>
              </a:extLst>
            </p:cNvPr>
            <p:cNvSpPr/>
            <p:nvPr/>
          </p:nvSpPr>
          <p:spPr>
            <a:xfrm>
              <a:off x="5702830" y="2339027"/>
              <a:ext cx="83492" cy="83492"/>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Oval 66">
              <a:extLst>
                <a:ext uri="{FF2B5EF4-FFF2-40B4-BE49-F238E27FC236}">
                  <a16:creationId xmlns:a16="http://schemas.microsoft.com/office/drawing/2014/main" id="{215CC6F3-E8CD-8262-02D8-D3F159BF43F3}"/>
                </a:ext>
              </a:extLst>
            </p:cNvPr>
            <p:cNvSpPr/>
            <p:nvPr/>
          </p:nvSpPr>
          <p:spPr>
            <a:xfrm>
              <a:off x="6016513" y="2424517"/>
              <a:ext cx="441325" cy="441325"/>
            </a:xfrm>
            <a:prstGeom prst="ellipse">
              <a:avLst/>
            </a:prstGeom>
            <a:solidFill>
              <a:schemeClr val="tx1"/>
            </a:solidFill>
            <a:ln>
              <a:solidFill>
                <a:srgbClr val="66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8" name="Graphic 67" descr="Icon of connected dots ">
              <a:extLst>
                <a:ext uri="{FF2B5EF4-FFF2-40B4-BE49-F238E27FC236}">
                  <a16:creationId xmlns:a16="http://schemas.microsoft.com/office/drawing/2014/main" id="{04CE30CD-1CDE-53A5-16FD-41FAC28E60A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84380" y="2505855"/>
              <a:ext cx="305590" cy="269403"/>
            </a:xfrm>
            <a:prstGeom prst="rect">
              <a:avLst/>
            </a:prstGeom>
          </p:spPr>
        </p:pic>
      </p:grpSp>
    </p:spTree>
    <p:extLst>
      <p:ext uri="{BB962C8B-B14F-4D97-AF65-F5344CB8AC3E}">
        <p14:creationId xmlns:p14="http://schemas.microsoft.com/office/powerpoint/2010/main" val="3113079371"/>
      </p:ext>
    </p:extLst>
  </p:cSld>
  <p:clrMapOvr>
    <a:masterClrMapping/>
  </p:clrMapOvr>
  <mc:AlternateContent xmlns:mc="http://schemas.openxmlformats.org/markup-compatibility/2006" xmlns:p14="http://schemas.microsoft.com/office/powerpoint/2010/main">
    <mc:Choice Requires="p14">
      <p:transition p14:dur="0" advClick="0" advTm="6000"/>
    </mc:Choice>
    <mc:Fallback xmlns="">
      <p:transition advClick="0" advTm="600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AE82C453-F336-4453-8C87-CB6DB82D4646}"/>
              </a:ext>
              <a:ext uri="{C183D7F6-B498-43B3-948B-1728B52AA6E4}">
                <adec:decorative xmlns:adec="http://schemas.microsoft.com/office/drawing/2017/decorative" val="1"/>
              </a:ext>
            </a:extLst>
          </p:cNvPr>
          <p:cNvGrpSpPr/>
          <p:nvPr/>
        </p:nvGrpSpPr>
        <p:grpSpPr>
          <a:xfrm>
            <a:off x="-568973" y="1473991"/>
            <a:ext cx="4271901" cy="2595569"/>
            <a:chOff x="-276549" y="2686500"/>
            <a:chExt cx="4271901" cy="2595569"/>
          </a:xfrm>
        </p:grpSpPr>
        <p:sp>
          <p:nvSpPr>
            <p:cNvPr id="22" name="TextBox 21">
              <a:extLst>
                <a:ext uri="{FF2B5EF4-FFF2-40B4-BE49-F238E27FC236}">
                  <a16:creationId xmlns:a16="http://schemas.microsoft.com/office/drawing/2014/main" id="{B067B45C-1B9E-4189-A86E-8D9058D48519}"/>
                </a:ext>
              </a:extLst>
            </p:cNvPr>
            <p:cNvSpPr txBox="1"/>
            <p:nvPr/>
          </p:nvSpPr>
          <p:spPr>
            <a:xfrm>
              <a:off x="819075" y="3974019"/>
              <a:ext cx="2746141" cy="1308050"/>
            </a:xfrm>
            <a:prstGeom prst="rect">
              <a:avLst/>
            </a:prstGeom>
            <a:noFill/>
          </p:spPr>
          <p:txBody>
            <a:bodyPr wrap="square" rtlCol="0">
              <a:spAutoFit/>
            </a:bodyPr>
            <a:lstStyle/>
            <a:p>
              <a:pPr marL="225425" marR="0" lvl="0" indent="-2254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Heavily parallelized</a:t>
              </a:r>
            </a:p>
            <a:p>
              <a:pPr marL="225425" marR="0" lvl="0" indent="-2254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Optimization-focused</a:t>
              </a:r>
            </a:p>
            <a:p>
              <a:pPr marL="225425" marR="0" lvl="0" indent="-2254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Purpose-built design</a:t>
              </a:r>
            </a:p>
            <a:p>
              <a:pPr marL="225425" marR="0" lvl="0" indent="-2254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Proven speed &amp; scale</a:t>
              </a:r>
            </a:p>
          </p:txBody>
        </p:sp>
        <p:grpSp>
          <p:nvGrpSpPr>
            <p:cNvPr id="34" name="chips" descr="chips">
              <a:extLst>
                <a:ext uri="{FF2B5EF4-FFF2-40B4-BE49-F238E27FC236}">
                  <a16:creationId xmlns:a16="http://schemas.microsoft.com/office/drawing/2014/main" id="{D0477CC8-46EA-4171-9F11-7D55A1AB8FCE}"/>
                </a:ext>
              </a:extLst>
            </p:cNvPr>
            <p:cNvGrpSpPr>
              <a:grpSpLocks noChangeAspect="1"/>
            </p:cNvGrpSpPr>
            <p:nvPr/>
          </p:nvGrpSpPr>
          <p:grpSpPr bwMode="auto">
            <a:xfrm>
              <a:off x="1527139" y="3204446"/>
              <a:ext cx="628318" cy="628316"/>
              <a:chOff x="2192" y="809"/>
              <a:chExt cx="295" cy="295"/>
            </a:xfrm>
          </p:grpSpPr>
          <p:sp>
            <p:nvSpPr>
              <p:cNvPr id="35" name="AutoShape 3">
                <a:extLst>
                  <a:ext uri="{FF2B5EF4-FFF2-40B4-BE49-F238E27FC236}">
                    <a16:creationId xmlns:a16="http://schemas.microsoft.com/office/drawing/2014/main" id="{0A57F3E4-090E-4B5B-87C4-6D6084DEA3A8}"/>
                  </a:ext>
                </a:extLst>
              </p:cNvPr>
              <p:cNvSpPr>
                <a:spLocks noChangeAspect="1" noChangeArrowheads="1" noTextEdit="1"/>
              </p:cNvSpPr>
              <p:nvPr/>
            </p:nvSpPr>
            <p:spPr bwMode="auto">
              <a:xfrm>
                <a:off x="2192" y="809"/>
                <a:ext cx="295" cy="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5">
                <a:extLst>
                  <a:ext uri="{FF2B5EF4-FFF2-40B4-BE49-F238E27FC236}">
                    <a16:creationId xmlns:a16="http://schemas.microsoft.com/office/drawing/2014/main" id="{492D2A3F-BDD8-4778-AF19-61BAFA5899C6}"/>
                  </a:ext>
                </a:extLst>
              </p:cNvPr>
              <p:cNvSpPr>
                <a:spLocks/>
              </p:cNvSpPr>
              <p:nvPr/>
            </p:nvSpPr>
            <p:spPr bwMode="auto">
              <a:xfrm>
                <a:off x="2260" y="837"/>
                <a:ext cx="207" cy="199"/>
              </a:xfrm>
              <a:custGeom>
                <a:avLst/>
                <a:gdLst>
                  <a:gd name="T0" fmla="*/ 104 w 207"/>
                  <a:gd name="T1" fmla="*/ 0 h 199"/>
                  <a:gd name="T2" fmla="*/ 104 w 207"/>
                  <a:gd name="T3" fmla="*/ 0 h 199"/>
                  <a:gd name="T4" fmla="*/ 18 w 207"/>
                  <a:gd name="T5" fmla="*/ 0 h 199"/>
                  <a:gd name="T6" fmla="*/ 15 w 207"/>
                  <a:gd name="T7" fmla="*/ 84 h 199"/>
                  <a:gd name="T8" fmla="*/ 0 w 207"/>
                  <a:gd name="T9" fmla="*/ 119 h 199"/>
                  <a:gd name="T10" fmla="*/ 74 w 207"/>
                  <a:gd name="T11" fmla="*/ 118 h 199"/>
                  <a:gd name="T12" fmla="*/ 80 w 207"/>
                  <a:gd name="T13" fmla="*/ 199 h 199"/>
                  <a:gd name="T14" fmla="*/ 115 w 207"/>
                  <a:gd name="T15" fmla="*/ 184 h 199"/>
                  <a:gd name="T16" fmla="*/ 207 w 207"/>
                  <a:gd name="T17" fmla="*/ 183 h 199"/>
                  <a:gd name="T18" fmla="*/ 207 w 207"/>
                  <a:gd name="T19" fmla="*/ 0 h 199"/>
                  <a:gd name="T20" fmla="*/ 104 w 207"/>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199">
                    <a:moveTo>
                      <a:pt x="104" y="0"/>
                    </a:moveTo>
                    <a:lnTo>
                      <a:pt x="104" y="0"/>
                    </a:lnTo>
                    <a:lnTo>
                      <a:pt x="18" y="0"/>
                    </a:lnTo>
                    <a:lnTo>
                      <a:pt x="15" y="84"/>
                    </a:lnTo>
                    <a:lnTo>
                      <a:pt x="0" y="119"/>
                    </a:lnTo>
                    <a:lnTo>
                      <a:pt x="74" y="118"/>
                    </a:lnTo>
                    <a:lnTo>
                      <a:pt x="80" y="199"/>
                    </a:lnTo>
                    <a:lnTo>
                      <a:pt x="115" y="184"/>
                    </a:lnTo>
                    <a:lnTo>
                      <a:pt x="207" y="183"/>
                    </a:lnTo>
                    <a:lnTo>
                      <a:pt x="207" y="0"/>
                    </a:lnTo>
                    <a:lnTo>
                      <a:pt x="10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37" name="Rectangle 6">
                <a:extLst>
                  <a:ext uri="{FF2B5EF4-FFF2-40B4-BE49-F238E27FC236}">
                    <a16:creationId xmlns:a16="http://schemas.microsoft.com/office/drawing/2014/main" id="{F6DC337C-0B50-453A-B91C-A37A54A67A24}"/>
                  </a:ext>
                </a:extLst>
              </p:cNvPr>
              <p:cNvSpPr>
                <a:spLocks noChangeArrowheads="1"/>
              </p:cNvSpPr>
              <p:nvPr/>
            </p:nvSpPr>
            <p:spPr bwMode="auto">
              <a:xfrm>
                <a:off x="2192" y="994"/>
                <a:ext cx="15" cy="1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38" name="Rectangle 7">
                <a:extLst>
                  <a:ext uri="{FF2B5EF4-FFF2-40B4-BE49-F238E27FC236}">
                    <a16:creationId xmlns:a16="http://schemas.microsoft.com/office/drawing/2014/main" id="{48BC8BE9-F239-4FD4-B96B-D8AA63943F74}"/>
                  </a:ext>
                </a:extLst>
              </p:cNvPr>
              <p:cNvSpPr>
                <a:spLocks noChangeArrowheads="1"/>
              </p:cNvSpPr>
              <p:nvPr/>
            </p:nvSpPr>
            <p:spPr bwMode="auto">
              <a:xfrm>
                <a:off x="2192" y="1026"/>
                <a:ext cx="15" cy="1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39" name="Rectangle 8">
                <a:extLst>
                  <a:ext uri="{FF2B5EF4-FFF2-40B4-BE49-F238E27FC236}">
                    <a16:creationId xmlns:a16="http://schemas.microsoft.com/office/drawing/2014/main" id="{F0CC75D3-C331-480D-995E-3112BDC6824F}"/>
                  </a:ext>
                </a:extLst>
              </p:cNvPr>
              <p:cNvSpPr>
                <a:spLocks noChangeArrowheads="1"/>
              </p:cNvSpPr>
              <p:nvPr/>
            </p:nvSpPr>
            <p:spPr bwMode="auto">
              <a:xfrm>
                <a:off x="2192" y="1057"/>
                <a:ext cx="15" cy="1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0" name="Rectangle 9">
                <a:extLst>
                  <a:ext uri="{FF2B5EF4-FFF2-40B4-BE49-F238E27FC236}">
                    <a16:creationId xmlns:a16="http://schemas.microsoft.com/office/drawing/2014/main" id="{8EB72829-36F9-46EE-AE71-C008A2746356}"/>
                  </a:ext>
                </a:extLst>
              </p:cNvPr>
              <p:cNvSpPr>
                <a:spLocks noChangeArrowheads="1"/>
              </p:cNvSpPr>
              <p:nvPr/>
            </p:nvSpPr>
            <p:spPr bwMode="auto">
              <a:xfrm>
                <a:off x="2192" y="964"/>
                <a:ext cx="15" cy="1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1" name="Rectangle 10">
                <a:extLst>
                  <a:ext uri="{FF2B5EF4-FFF2-40B4-BE49-F238E27FC236}">
                    <a16:creationId xmlns:a16="http://schemas.microsoft.com/office/drawing/2014/main" id="{E5DF2BDB-C1B3-4570-8B04-07D61769DFC7}"/>
                  </a:ext>
                </a:extLst>
              </p:cNvPr>
              <p:cNvSpPr>
                <a:spLocks noChangeArrowheads="1"/>
              </p:cNvSpPr>
              <p:nvPr/>
            </p:nvSpPr>
            <p:spPr bwMode="auto">
              <a:xfrm>
                <a:off x="2348" y="994"/>
                <a:ext cx="16" cy="1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2" name="Freeform 11">
                <a:extLst>
                  <a:ext uri="{FF2B5EF4-FFF2-40B4-BE49-F238E27FC236}">
                    <a16:creationId xmlns:a16="http://schemas.microsoft.com/office/drawing/2014/main" id="{778EA793-F9D8-4F25-8DC6-75E4CD3F21A9}"/>
                  </a:ext>
                </a:extLst>
              </p:cNvPr>
              <p:cNvSpPr>
                <a:spLocks/>
              </p:cNvSpPr>
              <p:nvPr/>
            </p:nvSpPr>
            <p:spPr bwMode="auto">
              <a:xfrm>
                <a:off x="2348" y="1057"/>
                <a:ext cx="16" cy="15"/>
              </a:xfrm>
              <a:custGeom>
                <a:avLst/>
                <a:gdLst>
                  <a:gd name="T0" fmla="*/ 0 w 16"/>
                  <a:gd name="T1" fmla="*/ 0 h 15"/>
                  <a:gd name="T2" fmla="*/ 0 w 16"/>
                  <a:gd name="T3" fmla="*/ 15 h 15"/>
                  <a:gd name="T4" fmla="*/ 15 w 16"/>
                  <a:gd name="T5" fmla="*/ 15 h 15"/>
                  <a:gd name="T6" fmla="*/ 16 w 16"/>
                  <a:gd name="T7" fmla="*/ 15 h 15"/>
                  <a:gd name="T8" fmla="*/ 16 w 16"/>
                  <a:gd name="T9" fmla="*/ 0 h 15"/>
                  <a:gd name="T10" fmla="*/ 15 w 16"/>
                  <a:gd name="T11" fmla="*/ 0 h 15"/>
                  <a:gd name="T12" fmla="*/ 0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0" y="0"/>
                    </a:moveTo>
                    <a:lnTo>
                      <a:pt x="0" y="15"/>
                    </a:lnTo>
                    <a:lnTo>
                      <a:pt x="15" y="15"/>
                    </a:lnTo>
                    <a:lnTo>
                      <a:pt x="16" y="15"/>
                    </a:lnTo>
                    <a:lnTo>
                      <a:pt x="16" y="0"/>
                    </a:lnTo>
                    <a:lnTo>
                      <a:pt x="15" y="0"/>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3" name="Rectangle 12">
                <a:extLst>
                  <a:ext uri="{FF2B5EF4-FFF2-40B4-BE49-F238E27FC236}">
                    <a16:creationId xmlns:a16="http://schemas.microsoft.com/office/drawing/2014/main" id="{6342B032-EA6C-4977-A4B6-763DBDBE07C1}"/>
                  </a:ext>
                </a:extLst>
              </p:cNvPr>
              <p:cNvSpPr>
                <a:spLocks noChangeArrowheads="1"/>
              </p:cNvSpPr>
              <p:nvPr/>
            </p:nvSpPr>
            <p:spPr bwMode="auto">
              <a:xfrm>
                <a:off x="2255" y="1089"/>
                <a:ext cx="15"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4" name="Rectangle 13">
                <a:extLst>
                  <a:ext uri="{FF2B5EF4-FFF2-40B4-BE49-F238E27FC236}">
                    <a16:creationId xmlns:a16="http://schemas.microsoft.com/office/drawing/2014/main" id="{3EB76548-90AC-487F-A9A4-8427F89C9A39}"/>
                  </a:ext>
                </a:extLst>
              </p:cNvPr>
              <p:cNvSpPr>
                <a:spLocks noChangeArrowheads="1"/>
              </p:cNvSpPr>
              <p:nvPr/>
            </p:nvSpPr>
            <p:spPr bwMode="auto">
              <a:xfrm>
                <a:off x="2224" y="1089"/>
                <a:ext cx="15"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5" name="Freeform 14">
                <a:extLst>
                  <a:ext uri="{FF2B5EF4-FFF2-40B4-BE49-F238E27FC236}">
                    <a16:creationId xmlns:a16="http://schemas.microsoft.com/office/drawing/2014/main" id="{9025D55B-3F42-4708-8ADB-824C79A24135}"/>
                  </a:ext>
                </a:extLst>
              </p:cNvPr>
              <p:cNvSpPr>
                <a:spLocks/>
              </p:cNvSpPr>
              <p:nvPr/>
            </p:nvSpPr>
            <p:spPr bwMode="auto">
              <a:xfrm>
                <a:off x="2223" y="932"/>
                <a:ext cx="15" cy="16"/>
              </a:xfrm>
              <a:custGeom>
                <a:avLst/>
                <a:gdLst>
                  <a:gd name="T0" fmla="*/ 15 w 15"/>
                  <a:gd name="T1" fmla="*/ 1 h 16"/>
                  <a:gd name="T2" fmla="*/ 15 w 15"/>
                  <a:gd name="T3" fmla="*/ 0 h 16"/>
                  <a:gd name="T4" fmla="*/ 0 w 15"/>
                  <a:gd name="T5" fmla="*/ 0 h 16"/>
                  <a:gd name="T6" fmla="*/ 0 w 15"/>
                  <a:gd name="T7" fmla="*/ 1 h 16"/>
                  <a:gd name="T8" fmla="*/ 0 w 15"/>
                  <a:gd name="T9" fmla="*/ 16 h 16"/>
                  <a:gd name="T10" fmla="*/ 15 w 15"/>
                  <a:gd name="T11" fmla="*/ 16 h 16"/>
                  <a:gd name="T12" fmla="*/ 15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5" y="1"/>
                    </a:moveTo>
                    <a:lnTo>
                      <a:pt x="15" y="0"/>
                    </a:lnTo>
                    <a:lnTo>
                      <a:pt x="0" y="0"/>
                    </a:lnTo>
                    <a:lnTo>
                      <a:pt x="0" y="1"/>
                    </a:lnTo>
                    <a:lnTo>
                      <a:pt x="0" y="16"/>
                    </a:lnTo>
                    <a:lnTo>
                      <a:pt x="15" y="16"/>
                    </a:lnTo>
                    <a:lnTo>
                      <a:pt x="15" y="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6" name="Rectangle 15">
                <a:extLst>
                  <a:ext uri="{FF2B5EF4-FFF2-40B4-BE49-F238E27FC236}">
                    <a16:creationId xmlns:a16="http://schemas.microsoft.com/office/drawing/2014/main" id="{C278688A-36E0-4CFA-A590-840B6C8AD020}"/>
                  </a:ext>
                </a:extLst>
              </p:cNvPr>
              <p:cNvSpPr>
                <a:spLocks noChangeArrowheads="1"/>
              </p:cNvSpPr>
              <p:nvPr/>
            </p:nvSpPr>
            <p:spPr bwMode="auto">
              <a:xfrm>
                <a:off x="2317" y="1089"/>
                <a:ext cx="16"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7" name="Rectangle 16">
                <a:extLst>
                  <a:ext uri="{FF2B5EF4-FFF2-40B4-BE49-F238E27FC236}">
                    <a16:creationId xmlns:a16="http://schemas.microsoft.com/office/drawing/2014/main" id="{48678C07-4CC2-4110-9692-FB677D5FD11E}"/>
                  </a:ext>
                </a:extLst>
              </p:cNvPr>
              <p:cNvSpPr>
                <a:spLocks noChangeArrowheads="1"/>
              </p:cNvSpPr>
              <p:nvPr/>
            </p:nvSpPr>
            <p:spPr bwMode="auto">
              <a:xfrm>
                <a:off x="2285" y="1089"/>
                <a:ext cx="16"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8" name="Freeform 17">
                <a:extLst>
                  <a:ext uri="{FF2B5EF4-FFF2-40B4-BE49-F238E27FC236}">
                    <a16:creationId xmlns:a16="http://schemas.microsoft.com/office/drawing/2014/main" id="{A0476DDF-E6C4-4632-9E27-62F5FD8D5E9E}"/>
                  </a:ext>
                </a:extLst>
              </p:cNvPr>
              <p:cNvSpPr>
                <a:spLocks/>
              </p:cNvSpPr>
              <p:nvPr/>
            </p:nvSpPr>
            <p:spPr bwMode="auto">
              <a:xfrm>
                <a:off x="2348" y="1025"/>
                <a:ext cx="16" cy="16"/>
              </a:xfrm>
              <a:custGeom>
                <a:avLst/>
                <a:gdLst>
                  <a:gd name="T0" fmla="*/ 16 w 16"/>
                  <a:gd name="T1" fmla="*/ 0 h 16"/>
                  <a:gd name="T2" fmla="*/ 0 w 16"/>
                  <a:gd name="T3" fmla="*/ 0 h 16"/>
                  <a:gd name="T4" fmla="*/ 0 w 16"/>
                  <a:gd name="T5" fmla="*/ 1 h 16"/>
                  <a:gd name="T6" fmla="*/ 0 w 16"/>
                  <a:gd name="T7" fmla="*/ 16 h 16"/>
                  <a:gd name="T8" fmla="*/ 16 w 16"/>
                  <a:gd name="T9" fmla="*/ 16 h 16"/>
                  <a:gd name="T10" fmla="*/ 16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16" y="0"/>
                    </a:moveTo>
                    <a:lnTo>
                      <a:pt x="0" y="0"/>
                    </a:lnTo>
                    <a:lnTo>
                      <a:pt x="0" y="1"/>
                    </a:lnTo>
                    <a:lnTo>
                      <a:pt x="0" y="16"/>
                    </a:lnTo>
                    <a:lnTo>
                      <a:pt x="16" y="16"/>
                    </a:lnTo>
                    <a:lnTo>
                      <a:pt x="16"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49" name="Freeform 18">
                <a:extLst>
                  <a:ext uri="{FF2B5EF4-FFF2-40B4-BE49-F238E27FC236}">
                    <a16:creationId xmlns:a16="http://schemas.microsoft.com/office/drawing/2014/main" id="{D81F06D7-A9CD-4FCF-8169-E61D7BDC28AF}"/>
                  </a:ext>
                </a:extLst>
              </p:cNvPr>
              <p:cNvSpPr>
                <a:spLocks/>
              </p:cNvSpPr>
              <p:nvPr/>
            </p:nvSpPr>
            <p:spPr bwMode="auto">
              <a:xfrm>
                <a:off x="2344" y="962"/>
                <a:ext cx="20" cy="16"/>
              </a:xfrm>
              <a:custGeom>
                <a:avLst/>
                <a:gdLst>
                  <a:gd name="T0" fmla="*/ 0 w 20"/>
                  <a:gd name="T1" fmla="*/ 16 h 16"/>
                  <a:gd name="T2" fmla="*/ 20 w 20"/>
                  <a:gd name="T3" fmla="*/ 16 h 16"/>
                  <a:gd name="T4" fmla="*/ 20 w 20"/>
                  <a:gd name="T5" fmla="*/ 2 h 16"/>
                  <a:gd name="T6" fmla="*/ 20 w 20"/>
                  <a:gd name="T7" fmla="*/ 0 h 16"/>
                  <a:gd name="T8" fmla="*/ 4 w 20"/>
                  <a:gd name="T9" fmla="*/ 0 h 16"/>
                  <a:gd name="T10" fmla="*/ 4 w 20"/>
                  <a:gd name="T11" fmla="*/ 2 h 16"/>
                  <a:gd name="T12" fmla="*/ 0 w 2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0" h="16">
                    <a:moveTo>
                      <a:pt x="0" y="16"/>
                    </a:moveTo>
                    <a:lnTo>
                      <a:pt x="20" y="16"/>
                    </a:lnTo>
                    <a:lnTo>
                      <a:pt x="20" y="2"/>
                    </a:lnTo>
                    <a:lnTo>
                      <a:pt x="20" y="0"/>
                    </a:lnTo>
                    <a:lnTo>
                      <a:pt x="4" y="0"/>
                    </a:lnTo>
                    <a:lnTo>
                      <a:pt x="4" y="2"/>
                    </a:lnTo>
                    <a:lnTo>
                      <a:pt x="0" y="1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0" name="Freeform 19">
                <a:extLst>
                  <a:ext uri="{FF2B5EF4-FFF2-40B4-BE49-F238E27FC236}">
                    <a16:creationId xmlns:a16="http://schemas.microsoft.com/office/drawing/2014/main" id="{3E69BDAF-4336-4CBE-8F21-A9662B74D654}"/>
                  </a:ext>
                </a:extLst>
              </p:cNvPr>
              <p:cNvSpPr>
                <a:spLocks/>
              </p:cNvSpPr>
              <p:nvPr/>
            </p:nvSpPr>
            <p:spPr bwMode="auto">
              <a:xfrm>
                <a:off x="2255" y="932"/>
                <a:ext cx="78" cy="21"/>
              </a:xfrm>
              <a:custGeom>
                <a:avLst/>
                <a:gdLst>
                  <a:gd name="T0" fmla="*/ 0 w 78"/>
                  <a:gd name="T1" fmla="*/ 21 h 21"/>
                  <a:gd name="T2" fmla="*/ 15 w 78"/>
                  <a:gd name="T3" fmla="*/ 21 h 21"/>
                  <a:gd name="T4" fmla="*/ 15 w 78"/>
                  <a:gd name="T5" fmla="*/ 21 h 21"/>
                  <a:gd name="T6" fmla="*/ 32 w 78"/>
                  <a:gd name="T7" fmla="*/ 21 h 21"/>
                  <a:gd name="T8" fmla="*/ 46 w 78"/>
                  <a:gd name="T9" fmla="*/ 21 h 21"/>
                  <a:gd name="T10" fmla="*/ 46 w 78"/>
                  <a:gd name="T11" fmla="*/ 21 h 21"/>
                  <a:gd name="T12" fmla="*/ 62 w 78"/>
                  <a:gd name="T13" fmla="*/ 21 h 21"/>
                  <a:gd name="T14" fmla="*/ 78 w 78"/>
                  <a:gd name="T15" fmla="*/ 21 h 21"/>
                  <a:gd name="T16" fmla="*/ 78 w 78"/>
                  <a:gd name="T17" fmla="*/ 0 h 21"/>
                  <a:gd name="T18" fmla="*/ 62 w 78"/>
                  <a:gd name="T19" fmla="*/ 0 h 21"/>
                  <a:gd name="T20" fmla="*/ 62 w 78"/>
                  <a:gd name="T21" fmla="*/ 21 h 21"/>
                  <a:gd name="T22" fmla="*/ 46 w 78"/>
                  <a:gd name="T23" fmla="*/ 21 h 21"/>
                  <a:gd name="T24" fmla="*/ 46 w 78"/>
                  <a:gd name="T25" fmla="*/ 18 h 21"/>
                  <a:gd name="T26" fmla="*/ 46 w 78"/>
                  <a:gd name="T27" fmla="*/ 0 h 21"/>
                  <a:gd name="T28" fmla="*/ 32 w 78"/>
                  <a:gd name="T29" fmla="*/ 0 h 21"/>
                  <a:gd name="T30" fmla="*/ 32 w 78"/>
                  <a:gd name="T31" fmla="*/ 21 h 21"/>
                  <a:gd name="T32" fmla="*/ 15 w 78"/>
                  <a:gd name="T33" fmla="*/ 21 h 21"/>
                  <a:gd name="T34" fmla="*/ 15 w 78"/>
                  <a:gd name="T35" fmla="*/ 21 h 21"/>
                  <a:gd name="T36" fmla="*/ 15 w 78"/>
                  <a:gd name="T37" fmla="*/ 19 h 21"/>
                  <a:gd name="T38" fmla="*/ 15 w 78"/>
                  <a:gd name="T39" fmla="*/ 18 h 21"/>
                  <a:gd name="T40" fmla="*/ 15 w 78"/>
                  <a:gd name="T41" fmla="*/ 18 h 21"/>
                  <a:gd name="T42" fmla="*/ 15 w 78"/>
                  <a:gd name="T43" fmla="*/ 0 h 21"/>
                  <a:gd name="T44" fmla="*/ 0 w 78"/>
                  <a:gd name="T45" fmla="*/ 0 h 21"/>
                  <a:gd name="T46" fmla="*/ 0 w 78"/>
                  <a:gd name="T47" fmla="*/ 1 h 21"/>
                  <a:gd name="T48" fmla="*/ 0 w 78"/>
                  <a:gd name="T4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21">
                    <a:moveTo>
                      <a:pt x="0" y="21"/>
                    </a:moveTo>
                    <a:lnTo>
                      <a:pt x="15" y="21"/>
                    </a:lnTo>
                    <a:lnTo>
                      <a:pt x="15" y="21"/>
                    </a:lnTo>
                    <a:lnTo>
                      <a:pt x="32" y="21"/>
                    </a:lnTo>
                    <a:lnTo>
                      <a:pt x="46" y="21"/>
                    </a:lnTo>
                    <a:lnTo>
                      <a:pt x="46" y="21"/>
                    </a:lnTo>
                    <a:lnTo>
                      <a:pt x="62" y="21"/>
                    </a:lnTo>
                    <a:lnTo>
                      <a:pt x="78" y="21"/>
                    </a:lnTo>
                    <a:lnTo>
                      <a:pt x="78" y="0"/>
                    </a:lnTo>
                    <a:lnTo>
                      <a:pt x="62" y="0"/>
                    </a:lnTo>
                    <a:lnTo>
                      <a:pt x="62" y="21"/>
                    </a:lnTo>
                    <a:lnTo>
                      <a:pt x="46" y="21"/>
                    </a:lnTo>
                    <a:lnTo>
                      <a:pt x="46" y="18"/>
                    </a:lnTo>
                    <a:lnTo>
                      <a:pt x="46" y="0"/>
                    </a:lnTo>
                    <a:lnTo>
                      <a:pt x="32" y="0"/>
                    </a:lnTo>
                    <a:lnTo>
                      <a:pt x="32" y="21"/>
                    </a:lnTo>
                    <a:lnTo>
                      <a:pt x="15" y="21"/>
                    </a:lnTo>
                    <a:lnTo>
                      <a:pt x="15" y="21"/>
                    </a:lnTo>
                    <a:lnTo>
                      <a:pt x="15" y="19"/>
                    </a:lnTo>
                    <a:lnTo>
                      <a:pt x="15" y="18"/>
                    </a:lnTo>
                    <a:lnTo>
                      <a:pt x="15" y="18"/>
                    </a:lnTo>
                    <a:lnTo>
                      <a:pt x="15" y="0"/>
                    </a:lnTo>
                    <a:lnTo>
                      <a:pt x="0" y="0"/>
                    </a:lnTo>
                    <a:lnTo>
                      <a:pt x="0" y="1"/>
                    </a:lnTo>
                    <a:lnTo>
                      <a:pt x="0" y="2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1" name="Rectangle 20">
                <a:extLst>
                  <a:ext uri="{FF2B5EF4-FFF2-40B4-BE49-F238E27FC236}">
                    <a16:creationId xmlns:a16="http://schemas.microsoft.com/office/drawing/2014/main" id="{02AF2F6C-8FD7-4BF8-9B24-440BED3FA2C5}"/>
                  </a:ext>
                </a:extLst>
              </p:cNvPr>
              <p:cNvSpPr>
                <a:spLocks noChangeArrowheads="1"/>
              </p:cNvSpPr>
              <p:nvPr/>
            </p:nvSpPr>
            <p:spPr bwMode="auto">
              <a:xfrm>
                <a:off x="2224" y="964"/>
                <a:ext cx="109" cy="10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2" name="Freeform 21">
                <a:extLst>
                  <a:ext uri="{FF2B5EF4-FFF2-40B4-BE49-F238E27FC236}">
                    <a16:creationId xmlns:a16="http://schemas.microsoft.com/office/drawing/2014/main" id="{A4CBD18F-441A-4C27-8A10-E9BD22CC1271}"/>
                  </a:ext>
                </a:extLst>
              </p:cNvPr>
              <p:cNvSpPr>
                <a:spLocks/>
              </p:cNvSpPr>
              <p:nvPr/>
            </p:nvSpPr>
            <p:spPr bwMode="auto">
              <a:xfrm>
                <a:off x="2255" y="808"/>
                <a:ext cx="232" cy="233"/>
              </a:xfrm>
              <a:custGeom>
                <a:avLst/>
                <a:gdLst>
                  <a:gd name="T0" fmla="*/ 232 w 232"/>
                  <a:gd name="T1" fmla="*/ 30 h 233"/>
                  <a:gd name="T2" fmla="*/ 218 w 232"/>
                  <a:gd name="T3" fmla="*/ 15 h 233"/>
                  <a:gd name="T4" fmla="*/ 201 w 232"/>
                  <a:gd name="T5" fmla="*/ 0 h 233"/>
                  <a:gd name="T6" fmla="*/ 186 w 232"/>
                  <a:gd name="T7" fmla="*/ 15 h 233"/>
                  <a:gd name="T8" fmla="*/ 171 w 232"/>
                  <a:gd name="T9" fmla="*/ 0 h 233"/>
                  <a:gd name="T10" fmla="*/ 155 w 232"/>
                  <a:gd name="T11" fmla="*/ 15 h 233"/>
                  <a:gd name="T12" fmla="*/ 140 w 232"/>
                  <a:gd name="T13" fmla="*/ 0 h 233"/>
                  <a:gd name="T14" fmla="*/ 124 w 232"/>
                  <a:gd name="T15" fmla="*/ 15 h 233"/>
                  <a:gd name="T16" fmla="*/ 108 w 232"/>
                  <a:gd name="T17" fmla="*/ 0 h 233"/>
                  <a:gd name="T18" fmla="*/ 93 w 232"/>
                  <a:gd name="T19" fmla="*/ 15 h 233"/>
                  <a:gd name="T20" fmla="*/ 78 w 232"/>
                  <a:gd name="T21" fmla="*/ 0 h 233"/>
                  <a:gd name="T22" fmla="*/ 61 w 232"/>
                  <a:gd name="T23" fmla="*/ 15 h 233"/>
                  <a:gd name="T24" fmla="*/ 46 w 232"/>
                  <a:gd name="T25" fmla="*/ 0 h 233"/>
                  <a:gd name="T26" fmla="*/ 30 w 232"/>
                  <a:gd name="T27" fmla="*/ 15 h 233"/>
                  <a:gd name="T28" fmla="*/ 15 w 232"/>
                  <a:gd name="T29" fmla="*/ 30 h 233"/>
                  <a:gd name="T30" fmla="*/ 0 w 232"/>
                  <a:gd name="T31" fmla="*/ 47 h 233"/>
                  <a:gd name="T32" fmla="*/ 15 w 232"/>
                  <a:gd name="T33" fmla="*/ 62 h 233"/>
                  <a:gd name="T34" fmla="*/ 0 w 232"/>
                  <a:gd name="T35" fmla="*/ 78 h 233"/>
                  <a:gd name="T36" fmla="*/ 15 w 232"/>
                  <a:gd name="T37" fmla="*/ 93 h 233"/>
                  <a:gd name="T38" fmla="*/ 0 w 232"/>
                  <a:gd name="T39" fmla="*/ 108 h 233"/>
                  <a:gd name="T40" fmla="*/ 15 w 232"/>
                  <a:gd name="T41" fmla="*/ 124 h 233"/>
                  <a:gd name="T42" fmla="*/ 32 w 232"/>
                  <a:gd name="T43" fmla="*/ 30 h 233"/>
                  <a:gd name="T44" fmla="*/ 201 w 232"/>
                  <a:gd name="T45" fmla="*/ 202 h 233"/>
                  <a:gd name="T46" fmla="*/ 109 w 232"/>
                  <a:gd name="T47" fmla="*/ 202 h 233"/>
                  <a:gd name="T48" fmla="*/ 109 w 232"/>
                  <a:gd name="T49" fmla="*/ 217 h 233"/>
                  <a:gd name="T50" fmla="*/ 124 w 232"/>
                  <a:gd name="T51" fmla="*/ 233 h 233"/>
                  <a:gd name="T52" fmla="*/ 139 w 232"/>
                  <a:gd name="T53" fmla="*/ 218 h 233"/>
                  <a:gd name="T54" fmla="*/ 155 w 232"/>
                  <a:gd name="T55" fmla="*/ 233 h 233"/>
                  <a:gd name="T56" fmla="*/ 171 w 232"/>
                  <a:gd name="T57" fmla="*/ 218 h 233"/>
                  <a:gd name="T58" fmla="*/ 186 w 232"/>
                  <a:gd name="T59" fmla="*/ 233 h 233"/>
                  <a:gd name="T60" fmla="*/ 201 w 232"/>
                  <a:gd name="T61" fmla="*/ 218 h 233"/>
                  <a:gd name="T62" fmla="*/ 218 w 232"/>
                  <a:gd name="T63" fmla="*/ 202 h 233"/>
                  <a:gd name="T64" fmla="*/ 232 w 232"/>
                  <a:gd name="T65" fmla="*/ 186 h 233"/>
                  <a:gd name="T66" fmla="*/ 218 w 232"/>
                  <a:gd name="T67" fmla="*/ 171 h 233"/>
                  <a:gd name="T68" fmla="*/ 232 w 232"/>
                  <a:gd name="T69" fmla="*/ 156 h 233"/>
                  <a:gd name="T70" fmla="*/ 218 w 232"/>
                  <a:gd name="T71" fmla="*/ 140 h 233"/>
                  <a:gd name="T72" fmla="*/ 232 w 232"/>
                  <a:gd name="T73" fmla="*/ 124 h 233"/>
                  <a:gd name="T74" fmla="*/ 218 w 232"/>
                  <a:gd name="T75" fmla="*/ 108 h 233"/>
                  <a:gd name="T76" fmla="*/ 232 w 232"/>
                  <a:gd name="T77" fmla="*/ 93 h 233"/>
                  <a:gd name="T78" fmla="*/ 218 w 232"/>
                  <a:gd name="T79" fmla="*/ 78 h 233"/>
                  <a:gd name="T80" fmla="*/ 232 w 232"/>
                  <a:gd name="T81" fmla="*/ 62 h 233"/>
                  <a:gd name="T82" fmla="*/ 218 w 232"/>
                  <a:gd name="T83" fmla="*/ 47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233">
                    <a:moveTo>
                      <a:pt x="232" y="47"/>
                    </a:moveTo>
                    <a:lnTo>
                      <a:pt x="232" y="30"/>
                    </a:lnTo>
                    <a:lnTo>
                      <a:pt x="218" y="30"/>
                    </a:lnTo>
                    <a:lnTo>
                      <a:pt x="218" y="15"/>
                    </a:lnTo>
                    <a:lnTo>
                      <a:pt x="201" y="15"/>
                    </a:lnTo>
                    <a:lnTo>
                      <a:pt x="201" y="0"/>
                    </a:lnTo>
                    <a:lnTo>
                      <a:pt x="186" y="0"/>
                    </a:lnTo>
                    <a:lnTo>
                      <a:pt x="186" y="15"/>
                    </a:lnTo>
                    <a:lnTo>
                      <a:pt x="171" y="15"/>
                    </a:lnTo>
                    <a:lnTo>
                      <a:pt x="171" y="0"/>
                    </a:lnTo>
                    <a:lnTo>
                      <a:pt x="155" y="0"/>
                    </a:lnTo>
                    <a:lnTo>
                      <a:pt x="155" y="15"/>
                    </a:lnTo>
                    <a:lnTo>
                      <a:pt x="140" y="15"/>
                    </a:lnTo>
                    <a:lnTo>
                      <a:pt x="140" y="0"/>
                    </a:lnTo>
                    <a:lnTo>
                      <a:pt x="124" y="0"/>
                    </a:lnTo>
                    <a:lnTo>
                      <a:pt x="124" y="15"/>
                    </a:lnTo>
                    <a:lnTo>
                      <a:pt x="108" y="15"/>
                    </a:lnTo>
                    <a:lnTo>
                      <a:pt x="108" y="0"/>
                    </a:lnTo>
                    <a:lnTo>
                      <a:pt x="93" y="0"/>
                    </a:lnTo>
                    <a:lnTo>
                      <a:pt x="93" y="15"/>
                    </a:lnTo>
                    <a:lnTo>
                      <a:pt x="78" y="15"/>
                    </a:lnTo>
                    <a:lnTo>
                      <a:pt x="78" y="0"/>
                    </a:lnTo>
                    <a:lnTo>
                      <a:pt x="61" y="0"/>
                    </a:lnTo>
                    <a:lnTo>
                      <a:pt x="61" y="15"/>
                    </a:lnTo>
                    <a:lnTo>
                      <a:pt x="46" y="15"/>
                    </a:lnTo>
                    <a:lnTo>
                      <a:pt x="46" y="0"/>
                    </a:lnTo>
                    <a:lnTo>
                      <a:pt x="30" y="0"/>
                    </a:lnTo>
                    <a:lnTo>
                      <a:pt x="30" y="15"/>
                    </a:lnTo>
                    <a:lnTo>
                      <a:pt x="15" y="15"/>
                    </a:lnTo>
                    <a:lnTo>
                      <a:pt x="15" y="30"/>
                    </a:lnTo>
                    <a:lnTo>
                      <a:pt x="0" y="30"/>
                    </a:lnTo>
                    <a:lnTo>
                      <a:pt x="0" y="47"/>
                    </a:lnTo>
                    <a:lnTo>
                      <a:pt x="15" y="47"/>
                    </a:lnTo>
                    <a:lnTo>
                      <a:pt x="15" y="62"/>
                    </a:lnTo>
                    <a:lnTo>
                      <a:pt x="0" y="62"/>
                    </a:lnTo>
                    <a:lnTo>
                      <a:pt x="0" y="78"/>
                    </a:lnTo>
                    <a:lnTo>
                      <a:pt x="15" y="78"/>
                    </a:lnTo>
                    <a:lnTo>
                      <a:pt x="15" y="93"/>
                    </a:lnTo>
                    <a:lnTo>
                      <a:pt x="0" y="93"/>
                    </a:lnTo>
                    <a:lnTo>
                      <a:pt x="0" y="108"/>
                    </a:lnTo>
                    <a:lnTo>
                      <a:pt x="15" y="108"/>
                    </a:lnTo>
                    <a:lnTo>
                      <a:pt x="15" y="124"/>
                    </a:lnTo>
                    <a:lnTo>
                      <a:pt x="32" y="124"/>
                    </a:lnTo>
                    <a:lnTo>
                      <a:pt x="32" y="30"/>
                    </a:lnTo>
                    <a:lnTo>
                      <a:pt x="201" y="30"/>
                    </a:lnTo>
                    <a:lnTo>
                      <a:pt x="201" y="202"/>
                    </a:lnTo>
                    <a:lnTo>
                      <a:pt x="109" y="202"/>
                    </a:lnTo>
                    <a:lnTo>
                      <a:pt x="109" y="202"/>
                    </a:lnTo>
                    <a:lnTo>
                      <a:pt x="109" y="203"/>
                    </a:lnTo>
                    <a:lnTo>
                      <a:pt x="109" y="217"/>
                    </a:lnTo>
                    <a:lnTo>
                      <a:pt x="124" y="218"/>
                    </a:lnTo>
                    <a:lnTo>
                      <a:pt x="124" y="233"/>
                    </a:lnTo>
                    <a:lnTo>
                      <a:pt x="139" y="233"/>
                    </a:lnTo>
                    <a:lnTo>
                      <a:pt x="139" y="218"/>
                    </a:lnTo>
                    <a:lnTo>
                      <a:pt x="155" y="218"/>
                    </a:lnTo>
                    <a:lnTo>
                      <a:pt x="155" y="233"/>
                    </a:lnTo>
                    <a:lnTo>
                      <a:pt x="171" y="233"/>
                    </a:lnTo>
                    <a:lnTo>
                      <a:pt x="171" y="218"/>
                    </a:lnTo>
                    <a:lnTo>
                      <a:pt x="186" y="218"/>
                    </a:lnTo>
                    <a:lnTo>
                      <a:pt x="186" y="233"/>
                    </a:lnTo>
                    <a:lnTo>
                      <a:pt x="201" y="233"/>
                    </a:lnTo>
                    <a:lnTo>
                      <a:pt x="201" y="218"/>
                    </a:lnTo>
                    <a:lnTo>
                      <a:pt x="218" y="218"/>
                    </a:lnTo>
                    <a:lnTo>
                      <a:pt x="218" y="202"/>
                    </a:lnTo>
                    <a:lnTo>
                      <a:pt x="232" y="202"/>
                    </a:lnTo>
                    <a:lnTo>
                      <a:pt x="232" y="186"/>
                    </a:lnTo>
                    <a:lnTo>
                      <a:pt x="218" y="186"/>
                    </a:lnTo>
                    <a:lnTo>
                      <a:pt x="218" y="171"/>
                    </a:lnTo>
                    <a:lnTo>
                      <a:pt x="232" y="171"/>
                    </a:lnTo>
                    <a:lnTo>
                      <a:pt x="232" y="156"/>
                    </a:lnTo>
                    <a:lnTo>
                      <a:pt x="218" y="156"/>
                    </a:lnTo>
                    <a:lnTo>
                      <a:pt x="218" y="140"/>
                    </a:lnTo>
                    <a:lnTo>
                      <a:pt x="232" y="140"/>
                    </a:lnTo>
                    <a:lnTo>
                      <a:pt x="232" y="124"/>
                    </a:lnTo>
                    <a:lnTo>
                      <a:pt x="218" y="124"/>
                    </a:lnTo>
                    <a:lnTo>
                      <a:pt x="218" y="108"/>
                    </a:lnTo>
                    <a:lnTo>
                      <a:pt x="232" y="108"/>
                    </a:lnTo>
                    <a:lnTo>
                      <a:pt x="232" y="93"/>
                    </a:lnTo>
                    <a:lnTo>
                      <a:pt x="218" y="93"/>
                    </a:lnTo>
                    <a:lnTo>
                      <a:pt x="218" y="78"/>
                    </a:lnTo>
                    <a:lnTo>
                      <a:pt x="232" y="78"/>
                    </a:lnTo>
                    <a:lnTo>
                      <a:pt x="232" y="62"/>
                    </a:lnTo>
                    <a:lnTo>
                      <a:pt x="218" y="62"/>
                    </a:lnTo>
                    <a:lnTo>
                      <a:pt x="218" y="47"/>
                    </a:lnTo>
                    <a:lnTo>
                      <a:pt x="232" y="4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3" name="Freeform 22">
                <a:extLst>
                  <a:ext uri="{FF2B5EF4-FFF2-40B4-BE49-F238E27FC236}">
                    <a16:creationId xmlns:a16="http://schemas.microsoft.com/office/drawing/2014/main" id="{888A6A2F-D95C-4895-B866-9E7F7C280FCA}"/>
                  </a:ext>
                </a:extLst>
              </p:cNvPr>
              <p:cNvSpPr>
                <a:spLocks noEditPoints="1"/>
              </p:cNvSpPr>
              <p:nvPr/>
            </p:nvSpPr>
            <p:spPr bwMode="auto">
              <a:xfrm>
                <a:off x="2207" y="948"/>
                <a:ext cx="141" cy="141"/>
              </a:xfrm>
              <a:custGeom>
                <a:avLst/>
                <a:gdLst>
                  <a:gd name="T0" fmla="*/ 0 w 141"/>
                  <a:gd name="T1" fmla="*/ 0 h 141"/>
                  <a:gd name="T2" fmla="*/ 0 w 141"/>
                  <a:gd name="T3" fmla="*/ 141 h 141"/>
                  <a:gd name="T4" fmla="*/ 141 w 141"/>
                  <a:gd name="T5" fmla="*/ 141 h 141"/>
                  <a:gd name="T6" fmla="*/ 141 w 141"/>
                  <a:gd name="T7" fmla="*/ 0 h 141"/>
                  <a:gd name="T8" fmla="*/ 0 w 141"/>
                  <a:gd name="T9" fmla="*/ 0 h 141"/>
                  <a:gd name="T10" fmla="*/ 126 w 141"/>
                  <a:gd name="T11" fmla="*/ 124 h 141"/>
                  <a:gd name="T12" fmla="*/ 17 w 141"/>
                  <a:gd name="T13" fmla="*/ 124 h 141"/>
                  <a:gd name="T14" fmla="*/ 17 w 141"/>
                  <a:gd name="T15" fmla="*/ 16 h 141"/>
                  <a:gd name="T16" fmla="*/ 126 w 141"/>
                  <a:gd name="T17" fmla="*/ 16 h 141"/>
                  <a:gd name="T18" fmla="*/ 126 w 141"/>
                  <a:gd name="T19" fmla="*/ 12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0" y="0"/>
                    </a:moveTo>
                    <a:lnTo>
                      <a:pt x="0" y="141"/>
                    </a:lnTo>
                    <a:lnTo>
                      <a:pt x="141" y="141"/>
                    </a:lnTo>
                    <a:lnTo>
                      <a:pt x="141" y="0"/>
                    </a:lnTo>
                    <a:lnTo>
                      <a:pt x="0" y="0"/>
                    </a:lnTo>
                    <a:close/>
                    <a:moveTo>
                      <a:pt x="126" y="124"/>
                    </a:moveTo>
                    <a:lnTo>
                      <a:pt x="17" y="124"/>
                    </a:lnTo>
                    <a:lnTo>
                      <a:pt x="17" y="16"/>
                    </a:lnTo>
                    <a:lnTo>
                      <a:pt x="126" y="16"/>
                    </a:lnTo>
                    <a:lnTo>
                      <a:pt x="126" y="12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sp>
          <p:nvSpPr>
            <p:cNvPr id="54" name="TextBox 53">
              <a:extLst>
                <a:ext uri="{FF2B5EF4-FFF2-40B4-BE49-F238E27FC236}">
                  <a16:creationId xmlns:a16="http://schemas.microsoft.com/office/drawing/2014/main" id="{5A893374-30A3-4A22-8A97-5303C96024E6}"/>
                </a:ext>
              </a:extLst>
            </p:cNvPr>
            <p:cNvSpPr txBox="1"/>
            <p:nvPr/>
          </p:nvSpPr>
          <p:spPr>
            <a:xfrm>
              <a:off x="-276549" y="2686500"/>
              <a:ext cx="427190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GPU architecture</a:t>
              </a:r>
            </a:p>
          </p:txBody>
        </p:sp>
      </p:grpSp>
      <p:grpSp>
        <p:nvGrpSpPr>
          <p:cNvPr id="7" name="Group 6">
            <a:extLst>
              <a:ext uri="{FF2B5EF4-FFF2-40B4-BE49-F238E27FC236}">
                <a16:creationId xmlns:a16="http://schemas.microsoft.com/office/drawing/2014/main" id="{60EC79D2-59BE-4684-AEE3-8FB3D51CF00F}"/>
              </a:ext>
              <a:ext uri="{C183D7F6-B498-43B3-948B-1728B52AA6E4}">
                <adec:decorative xmlns:adec="http://schemas.microsoft.com/office/drawing/2017/decorative" val="1"/>
              </a:ext>
            </a:extLst>
          </p:cNvPr>
          <p:cNvGrpSpPr/>
          <p:nvPr/>
        </p:nvGrpSpPr>
        <p:grpSpPr>
          <a:xfrm>
            <a:off x="8109328" y="1462571"/>
            <a:ext cx="4271901" cy="2618408"/>
            <a:chOff x="7986125" y="2683424"/>
            <a:chExt cx="4271901" cy="2618408"/>
          </a:xfrm>
        </p:grpSpPr>
        <p:sp>
          <p:nvSpPr>
            <p:cNvPr id="23" name="TextBox 22">
              <a:extLst>
                <a:ext uri="{FF2B5EF4-FFF2-40B4-BE49-F238E27FC236}">
                  <a16:creationId xmlns:a16="http://schemas.microsoft.com/office/drawing/2014/main" id="{4D4BB0DC-7FF5-4641-943D-8D6BA03107BC}"/>
                </a:ext>
              </a:extLst>
            </p:cNvPr>
            <p:cNvSpPr txBox="1"/>
            <p:nvPr/>
          </p:nvSpPr>
          <p:spPr>
            <a:xfrm>
              <a:off x="9063995" y="3993782"/>
              <a:ext cx="3021365" cy="1308050"/>
            </a:xfrm>
            <a:prstGeom prst="rect">
              <a:avLst/>
            </a:prstGeom>
            <a:noFill/>
          </p:spPr>
          <p:txBody>
            <a:bodyPr wrap="square" rtlCol="0">
              <a:spAutoFit/>
            </a:bodyPr>
            <a:lstStyle/>
            <a:p>
              <a:pPr marL="225425" marR="0" lvl="0" indent="-2254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Data-based models</a:t>
              </a:r>
            </a:p>
            <a:p>
              <a:pPr marL="225425" marR="0" lvl="0" indent="-2254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Insight driven</a:t>
              </a:r>
            </a:p>
            <a:p>
              <a:pPr marL="225425" marR="0" lvl="0" indent="-2254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Platform service model</a:t>
              </a:r>
            </a:p>
            <a:p>
              <a:pPr marL="225425" marR="0" lvl="0" indent="-2254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Emerging use cases</a:t>
              </a:r>
            </a:p>
          </p:txBody>
        </p:sp>
        <p:sp>
          <p:nvSpPr>
            <p:cNvPr id="55" name="TextBox 54">
              <a:extLst>
                <a:ext uri="{FF2B5EF4-FFF2-40B4-BE49-F238E27FC236}">
                  <a16:creationId xmlns:a16="http://schemas.microsoft.com/office/drawing/2014/main" id="{81A60990-B7AC-45F5-9C52-DAF2976E07DF}"/>
                </a:ext>
              </a:extLst>
            </p:cNvPr>
            <p:cNvSpPr txBox="1"/>
            <p:nvPr/>
          </p:nvSpPr>
          <p:spPr>
            <a:xfrm>
              <a:off x="7986125" y="2683424"/>
              <a:ext cx="427190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Model development</a:t>
              </a:r>
            </a:p>
          </p:txBody>
        </p:sp>
        <p:grpSp>
          <p:nvGrpSpPr>
            <p:cNvPr id="73" name="integrate" descr="integrate">
              <a:extLst>
                <a:ext uri="{FF2B5EF4-FFF2-40B4-BE49-F238E27FC236}">
                  <a16:creationId xmlns:a16="http://schemas.microsoft.com/office/drawing/2014/main" id="{C688EDBD-E206-4BF0-98FB-164C60CA2CA8}"/>
                </a:ext>
              </a:extLst>
            </p:cNvPr>
            <p:cNvGrpSpPr>
              <a:grpSpLocks noChangeAspect="1"/>
            </p:cNvGrpSpPr>
            <p:nvPr/>
          </p:nvGrpSpPr>
          <p:grpSpPr bwMode="auto">
            <a:xfrm>
              <a:off x="9810333" y="3237516"/>
              <a:ext cx="592570" cy="592570"/>
              <a:chOff x="1057" y="811"/>
              <a:chExt cx="230" cy="230"/>
            </a:xfrm>
          </p:grpSpPr>
          <p:sp>
            <p:nvSpPr>
              <p:cNvPr id="74" name="AutoShape 18">
                <a:extLst>
                  <a:ext uri="{FF2B5EF4-FFF2-40B4-BE49-F238E27FC236}">
                    <a16:creationId xmlns:a16="http://schemas.microsoft.com/office/drawing/2014/main" id="{1C0A80AC-0E6B-4122-8F2D-97C11FF90003}"/>
                  </a:ext>
                </a:extLst>
              </p:cNvPr>
              <p:cNvSpPr>
                <a:spLocks noChangeAspect="1" noChangeArrowheads="1" noTextEdit="1"/>
              </p:cNvSpPr>
              <p:nvPr/>
            </p:nvSpPr>
            <p:spPr bwMode="auto">
              <a:xfrm>
                <a:off x="1057" y="811"/>
                <a:ext cx="230" cy="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Rectangle 20">
                <a:extLst>
                  <a:ext uri="{FF2B5EF4-FFF2-40B4-BE49-F238E27FC236}">
                    <a16:creationId xmlns:a16="http://schemas.microsoft.com/office/drawing/2014/main" id="{17E3BC53-BF33-4BC6-8ABB-9B4D3E097AA8}"/>
                  </a:ext>
                </a:extLst>
              </p:cNvPr>
              <p:cNvSpPr>
                <a:spLocks noChangeArrowheads="1"/>
              </p:cNvSpPr>
              <p:nvPr/>
            </p:nvSpPr>
            <p:spPr bwMode="auto">
              <a:xfrm>
                <a:off x="1057" y="811"/>
                <a:ext cx="49" cy="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76" name="Rectangle 21">
                <a:extLst>
                  <a:ext uri="{FF2B5EF4-FFF2-40B4-BE49-F238E27FC236}">
                    <a16:creationId xmlns:a16="http://schemas.microsoft.com/office/drawing/2014/main" id="{70352267-66EF-439B-B2BC-E3238DC6C2E7}"/>
                  </a:ext>
                </a:extLst>
              </p:cNvPr>
              <p:cNvSpPr>
                <a:spLocks noChangeArrowheads="1"/>
              </p:cNvSpPr>
              <p:nvPr/>
            </p:nvSpPr>
            <p:spPr bwMode="auto">
              <a:xfrm>
                <a:off x="1118" y="811"/>
                <a:ext cx="48" cy="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77" name="Rectangle 22">
                <a:extLst>
                  <a:ext uri="{FF2B5EF4-FFF2-40B4-BE49-F238E27FC236}">
                    <a16:creationId xmlns:a16="http://schemas.microsoft.com/office/drawing/2014/main" id="{421B6D89-4E53-4887-A59A-0C1F71F5CD3C}"/>
                  </a:ext>
                </a:extLst>
              </p:cNvPr>
              <p:cNvSpPr>
                <a:spLocks noChangeArrowheads="1"/>
              </p:cNvSpPr>
              <p:nvPr/>
            </p:nvSpPr>
            <p:spPr bwMode="auto">
              <a:xfrm>
                <a:off x="1178" y="811"/>
                <a:ext cx="49" cy="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78" name="Rectangle 23">
                <a:extLst>
                  <a:ext uri="{FF2B5EF4-FFF2-40B4-BE49-F238E27FC236}">
                    <a16:creationId xmlns:a16="http://schemas.microsoft.com/office/drawing/2014/main" id="{56D041BE-8DE9-422A-8207-4A594D96F4AD}"/>
                  </a:ext>
                </a:extLst>
              </p:cNvPr>
              <p:cNvSpPr>
                <a:spLocks noChangeArrowheads="1"/>
              </p:cNvSpPr>
              <p:nvPr/>
            </p:nvSpPr>
            <p:spPr bwMode="auto">
              <a:xfrm>
                <a:off x="1239" y="811"/>
                <a:ext cx="48" cy="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79" name="Rectangle 24">
                <a:extLst>
                  <a:ext uri="{FF2B5EF4-FFF2-40B4-BE49-F238E27FC236}">
                    <a16:creationId xmlns:a16="http://schemas.microsoft.com/office/drawing/2014/main" id="{1B9B160B-3B24-4FCB-8692-F2E3800737EE}"/>
                  </a:ext>
                </a:extLst>
              </p:cNvPr>
              <p:cNvSpPr>
                <a:spLocks noChangeArrowheads="1"/>
              </p:cNvSpPr>
              <p:nvPr/>
            </p:nvSpPr>
            <p:spPr bwMode="auto">
              <a:xfrm>
                <a:off x="1057" y="872"/>
                <a:ext cx="49"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0" name="Rectangle 25">
                <a:extLst>
                  <a:ext uri="{FF2B5EF4-FFF2-40B4-BE49-F238E27FC236}">
                    <a16:creationId xmlns:a16="http://schemas.microsoft.com/office/drawing/2014/main" id="{BBD68869-068E-4477-8A1F-4A9F499B1B30}"/>
                  </a:ext>
                </a:extLst>
              </p:cNvPr>
              <p:cNvSpPr>
                <a:spLocks noChangeArrowheads="1"/>
              </p:cNvSpPr>
              <p:nvPr/>
            </p:nvSpPr>
            <p:spPr bwMode="auto">
              <a:xfrm>
                <a:off x="1118" y="872"/>
                <a:ext cx="48"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1" name="Rectangle 26">
                <a:extLst>
                  <a:ext uri="{FF2B5EF4-FFF2-40B4-BE49-F238E27FC236}">
                    <a16:creationId xmlns:a16="http://schemas.microsoft.com/office/drawing/2014/main" id="{A665A361-FA8C-48F7-9BB6-A6600D9FAF90}"/>
                  </a:ext>
                </a:extLst>
              </p:cNvPr>
              <p:cNvSpPr>
                <a:spLocks noChangeArrowheads="1"/>
              </p:cNvSpPr>
              <p:nvPr/>
            </p:nvSpPr>
            <p:spPr bwMode="auto">
              <a:xfrm>
                <a:off x="1178" y="872"/>
                <a:ext cx="49"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2" name="Rectangle 27">
                <a:extLst>
                  <a:ext uri="{FF2B5EF4-FFF2-40B4-BE49-F238E27FC236}">
                    <a16:creationId xmlns:a16="http://schemas.microsoft.com/office/drawing/2014/main" id="{53BCF912-599F-4F7B-9596-92CDE8BBFFA4}"/>
                  </a:ext>
                </a:extLst>
              </p:cNvPr>
              <p:cNvSpPr>
                <a:spLocks noChangeArrowheads="1"/>
              </p:cNvSpPr>
              <p:nvPr/>
            </p:nvSpPr>
            <p:spPr bwMode="auto">
              <a:xfrm>
                <a:off x="1239" y="872"/>
                <a:ext cx="48"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3" name="Oval 28">
                <a:extLst>
                  <a:ext uri="{FF2B5EF4-FFF2-40B4-BE49-F238E27FC236}">
                    <a16:creationId xmlns:a16="http://schemas.microsoft.com/office/drawing/2014/main" id="{DFB584EB-EBBA-410D-A910-23B0FA96893A}"/>
                  </a:ext>
                </a:extLst>
              </p:cNvPr>
              <p:cNvSpPr>
                <a:spLocks noChangeArrowheads="1"/>
              </p:cNvSpPr>
              <p:nvPr/>
            </p:nvSpPr>
            <p:spPr bwMode="auto">
              <a:xfrm>
                <a:off x="1057" y="932"/>
                <a:ext cx="49"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4" name="Oval 29">
                <a:extLst>
                  <a:ext uri="{FF2B5EF4-FFF2-40B4-BE49-F238E27FC236}">
                    <a16:creationId xmlns:a16="http://schemas.microsoft.com/office/drawing/2014/main" id="{F971B62D-2575-4437-847C-DD506838F68D}"/>
                  </a:ext>
                </a:extLst>
              </p:cNvPr>
              <p:cNvSpPr>
                <a:spLocks noChangeArrowheads="1"/>
              </p:cNvSpPr>
              <p:nvPr/>
            </p:nvSpPr>
            <p:spPr bwMode="auto">
              <a:xfrm>
                <a:off x="1118" y="932"/>
                <a:ext cx="48"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5" name="Oval 30">
                <a:extLst>
                  <a:ext uri="{FF2B5EF4-FFF2-40B4-BE49-F238E27FC236}">
                    <a16:creationId xmlns:a16="http://schemas.microsoft.com/office/drawing/2014/main" id="{6FFF415F-EC00-445F-85DB-F409E7D8DAD2}"/>
                  </a:ext>
                </a:extLst>
              </p:cNvPr>
              <p:cNvSpPr>
                <a:spLocks noChangeArrowheads="1"/>
              </p:cNvSpPr>
              <p:nvPr/>
            </p:nvSpPr>
            <p:spPr bwMode="auto">
              <a:xfrm>
                <a:off x="1178" y="932"/>
                <a:ext cx="49"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6" name="Oval 31">
                <a:extLst>
                  <a:ext uri="{FF2B5EF4-FFF2-40B4-BE49-F238E27FC236}">
                    <a16:creationId xmlns:a16="http://schemas.microsoft.com/office/drawing/2014/main" id="{83B0A760-4617-44CF-8ED0-76EF48CC8FFA}"/>
                  </a:ext>
                </a:extLst>
              </p:cNvPr>
              <p:cNvSpPr>
                <a:spLocks noChangeArrowheads="1"/>
              </p:cNvSpPr>
              <p:nvPr/>
            </p:nvSpPr>
            <p:spPr bwMode="auto">
              <a:xfrm>
                <a:off x="1239" y="932"/>
                <a:ext cx="48"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7" name="Rectangle 32">
                <a:extLst>
                  <a:ext uri="{FF2B5EF4-FFF2-40B4-BE49-F238E27FC236}">
                    <a16:creationId xmlns:a16="http://schemas.microsoft.com/office/drawing/2014/main" id="{A792C1F2-EFE7-4DBA-8C80-E495C16D4A3E}"/>
                  </a:ext>
                </a:extLst>
              </p:cNvPr>
              <p:cNvSpPr>
                <a:spLocks noChangeArrowheads="1"/>
              </p:cNvSpPr>
              <p:nvPr/>
            </p:nvSpPr>
            <p:spPr bwMode="auto">
              <a:xfrm>
                <a:off x="1057" y="993"/>
                <a:ext cx="49"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8" name="Rectangle 33">
                <a:extLst>
                  <a:ext uri="{FF2B5EF4-FFF2-40B4-BE49-F238E27FC236}">
                    <a16:creationId xmlns:a16="http://schemas.microsoft.com/office/drawing/2014/main" id="{A27CAC16-694D-4918-8D3E-5CED7FE78BC8}"/>
                  </a:ext>
                </a:extLst>
              </p:cNvPr>
              <p:cNvSpPr>
                <a:spLocks noChangeArrowheads="1"/>
              </p:cNvSpPr>
              <p:nvPr/>
            </p:nvSpPr>
            <p:spPr bwMode="auto">
              <a:xfrm>
                <a:off x="1118" y="993"/>
                <a:ext cx="48"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9" name="Rectangle 34">
                <a:extLst>
                  <a:ext uri="{FF2B5EF4-FFF2-40B4-BE49-F238E27FC236}">
                    <a16:creationId xmlns:a16="http://schemas.microsoft.com/office/drawing/2014/main" id="{90A75BD2-E8F0-4834-AD8F-43B2578EC039}"/>
                  </a:ext>
                </a:extLst>
              </p:cNvPr>
              <p:cNvSpPr>
                <a:spLocks noChangeArrowheads="1"/>
              </p:cNvSpPr>
              <p:nvPr/>
            </p:nvSpPr>
            <p:spPr bwMode="auto">
              <a:xfrm>
                <a:off x="1178" y="993"/>
                <a:ext cx="49"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90" name="Rectangle 35">
                <a:extLst>
                  <a:ext uri="{FF2B5EF4-FFF2-40B4-BE49-F238E27FC236}">
                    <a16:creationId xmlns:a16="http://schemas.microsoft.com/office/drawing/2014/main" id="{E995AE7F-906C-432B-9934-66E4D2222518}"/>
                  </a:ext>
                </a:extLst>
              </p:cNvPr>
              <p:cNvSpPr>
                <a:spLocks noChangeArrowheads="1"/>
              </p:cNvSpPr>
              <p:nvPr/>
            </p:nvSpPr>
            <p:spPr bwMode="auto">
              <a:xfrm>
                <a:off x="1239" y="993"/>
                <a:ext cx="48"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grpSp>
      <p:sp>
        <p:nvSpPr>
          <p:cNvPr id="3" name="Title 2">
            <a:extLst>
              <a:ext uri="{FF2B5EF4-FFF2-40B4-BE49-F238E27FC236}">
                <a16:creationId xmlns:a16="http://schemas.microsoft.com/office/drawing/2014/main" id="{B2BE23C9-2E71-0FA2-FCF1-06056C4E77B1}"/>
              </a:ext>
            </a:extLst>
          </p:cNvPr>
          <p:cNvSpPr>
            <a:spLocks noGrp="1"/>
          </p:cNvSpPr>
          <p:nvPr>
            <p:ph type="title"/>
          </p:nvPr>
        </p:nvSpPr>
        <p:spPr/>
        <p:txBody>
          <a:bodyPr/>
          <a:lstStyle/>
          <a:p>
            <a:r>
              <a:rPr kumimoji="0" lang="en-US" sz="2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Complex ML models require ‘AI-first’ infrastructure </a:t>
            </a:r>
            <a:endParaRPr lang="en-IN"/>
          </a:p>
        </p:txBody>
      </p:sp>
      <p:sp>
        <p:nvSpPr>
          <p:cNvPr id="56" name="Arrow: Right 55">
            <a:extLst>
              <a:ext uri="{FF2B5EF4-FFF2-40B4-BE49-F238E27FC236}">
                <a16:creationId xmlns:a16="http://schemas.microsoft.com/office/drawing/2014/main" id="{480D113D-7F84-7809-DBD7-8452AB4B7444}"/>
              </a:ext>
              <a:ext uri="{C183D7F6-B498-43B3-948B-1728B52AA6E4}">
                <adec:decorative xmlns:adec="http://schemas.microsoft.com/office/drawing/2017/decorative" val="1"/>
              </a:ext>
            </a:extLst>
          </p:cNvPr>
          <p:cNvSpPr/>
          <p:nvPr/>
        </p:nvSpPr>
        <p:spPr>
          <a:xfrm>
            <a:off x="3307726" y="2720353"/>
            <a:ext cx="550977" cy="789767"/>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 name="Arrow: Right 56">
            <a:extLst>
              <a:ext uri="{FF2B5EF4-FFF2-40B4-BE49-F238E27FC236}">
                <a16:creationId xmlns:a16="http://schemas.microsoft.com/office/drawing/2014/main" id="{72D97143-BB94-AE25-281E-939FE4EF22C7}"/>
              </a:ext>
              <a:ext uri="{C183D7F6-B498-43B3-948B-1728B52AA6E4}">
                <adec:decorative xmlns:adec="http://schemas.microsoft.com/office/drawing/2017/decorative" val="1"/>
              </a:ext>
            </a:extLst>
          </p:cNvPr>
          <p:cNvSpPr/>
          <p:nvPr/>
        </p:nvSpPr>
        <p:spPr>
          <a:xfrm flipH="1">
            <a:off x="8285879" y="2720353"/>
            <a:ext cx="565747" cy="789767"/>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TextBox 58">
            <a:extLst>
              <a:ext uri="{FF2B5EF4-FFF2-40B4-BE49-F238E27FC236}">
                <a16:creationId xmlns:a16="http://schemas.microsoft.com/office/drawing/2014/main" id="{64AFC64D-ABD7-A4BB-BC40-FE64F8642660}"/>
              </a:ext>
            </a:extLst>
          </p:cNvPr>
          <p:cNvSpPr txBox="1"/>
          <p:nvPr/>
        </p:nvSpPr>
        <p:spPr>
          <a:xfrm>
            <a:off x="4113113" y="2351021"/>
            <a:ext cx="360000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AI-First’ infrastructure</a:t>
            </a:r>
          </a:p>
        </p:txBody>
      </p:sp>
      <p:grpSp>
        <p:nvGrpSpPr>
          <p:cNvPr id="60" name="Group 59">
            <a:extLst>
              <a:ext uri="{FF2B5EF4-FFF2-40B4-BE49-F238E27FC236}">
                <a16:creationId xmlns:a16="http://schemas.microsoft.com/office/drawing/2014/main" id="{C3979B2F-262E-BEEE-0311-83AF12541BAC}"/>
              </a:ext>
              <a:ext uri="{C183D7F6-B498-43B3-948B-1728B52AA6E4}">
                <adec:decorative xmlns:adec="http://schemas.microsoft.com/office/drawing/2017/decorative" val="1"/>
              </a:ext>
            </a:extLst>
          </p:cNvPr>
          <p:cNvGrpSpPr/>
          <p:nvPr/>
        </p:nvGrpSpPr>
        <p:grpSpPr>
          <a:xfrm>
            <a:off x="5584125" y="1421592"/>
            <a:ext cx="628318" cy="629269"/>
            <a:chOff x="5615748" y="2022477"/>
            <a:chExt cx="842090" cy="843365"/>
          </a:xfrm>
        </p:grpSpPr>
        <p:sp>
          <p:nvSpPr>
            <p:cNvPr id="61" name="Freeform: Shape 60">
              <a:extLst>
                <a:ext uri="{FF2B5EF4-FFF2-40B4-BE49-F238E27FC236}">
                  <a16:creationId xmlns:a16="http://schemas.microsoft.com/office/drawing/2014/main" id="{F4AE877F-0374-D156-327A-BFA6F970D0AC}"/>
                </a:ext>
              </a:extLst>
            </p:cNvPr>
            <p:cNvSpPr/>
            <p:nvPr/>
          </p:nvSpPr>
          <p:spPr>
            <a:xfrm>
              <a:off x="5615748" y="2276735"/>
              <a:ext cx="801531" cy="208730"/>
            </a:xfrm>
            <a:custGeom>
              <a:avLst/>
              <a:gdLst>
                <a:gd name="connsiteX0" fmla="*/ 320841 w 338296"/>
                <a:gd name="connsiteY0" fmla="*/ 89312 h 88096"/>
                <a:gd name="connsiteX1" fmla="*/ 339250 w 338296"/>
                <a:gd name="connsiteY1" fmla="*/ 89312 h 88096"/>
                <a:gd name="connsiteX2" fmla="*/ 339250 w 338296"/>
                <a:gd name="connsiteY2" fmla="*/ 954 h 88096"/>
                <a:gd name="connsiteX3" fmla="*/ 954 w 338296"/>
                <a:gd name="connsiteY3" fmla="*/ 954 h 88096"/>
                <a:gd name="connsiteX4" fmla="*/ 954 w 338296"/>
                <a:gd name="connsiteY4" fmla="*/ 89372 h 88096"/>
                <a:gd name="connsiteX5" fmla="*/ 196794 w 338296"/>
                <a:gd name="connsiteY5" fmla="*/ 89372 h 88096"/>
                <a:gd name="connsiteX6" fmla="*/ 258788 w 338296"/>
                <a:gd name="connsiteY6" fmla="*/ 64075 h 88096"/>
                <a:gd name="connsiteX7" fmla="*/ 320841 w 338296"/>
                <a:gd name="connsiteY7" fmla="*/ 89312 h 8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8296" h="88096">
                  <a:moveTo>
                    <a:pt x="320841" y="89312"/>
                  </a:moveTo>
                  <a:lnTo>
                    <a:pt x="339250" y="89312"/>
                  </a:lnTo>
                  <a:lnTo>
                    <a:pt x="339250" y="954"/>
                  </a:lnTo>
                  <a:lnTo>
                    <a:pt x="954" y="954"/>
                  </a:lnTo>
                  <a:lnTo>
                    <a:pt x="954" y="89372"/>
                  </a:lnTo>
                  <a:lnTo>
                    <a:pt x="196794" y="89372"/>
                  </a:lnTo>
                  <a:cubicBezTo>
                    <a:pt x="212767" y="73695"/>
                    <a:pt x="234679" y="64075"/>
                    <a:pt x="258788" y="64075"/>
                  </a:cubicBezTo>
                  <a:cubicBezTo>
                    <a:pt x="282897" y="64075"/>
                    <a:pt x="304868" y="73695"/>
                    <a:pt x="320841" y="89312"/>
                  </a:cubicBez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Shape 61">
              <a:extLst>
                <a:ext uri="{FF2B5EF4-FFF2-40B4-BE49-F238E27FC236}">
                  <a16:creationId xmlns:a16="http://schemas.microsoft.com/office/drawing/2014/main" id="{0922BBD6-77FD-87A1-A418-F0AFD3A9C297}"/>
                </a:ext>
              </a:extLst>
            </p:cNvPr>
            <p:cNvSpPr/>
            <p:nvPr/>
          </p:nvSpPr>
          <p:spPr>
            <a:xfrm>
              <a:off x="5615748" y="2529298"/>
              <a:ext cx="434163" cy="208730"/>
            </a:xfrm>
            <a:custGeom>
              <a:avLst/>
              <a:gdLst>
                <a:gd name="connsiteX0" fmla="*/ 182483 w 183243"/>
                <a:gd name="connsiteY0" fmla="*/ 954 h 88096"/>
                <a:gd name="connsiteX1" fmla="*/ 954 w 183243"/>
                <a:gd name="connsiteY1" fmla="*/ 954 h 88096"/>
                <a:gd name="connsiteX2" fmla="*/ 954 w 183243"/>
                <a:gd name="connsiteY2" fmla="*/ 89372 h 88096"/>
                <a:gd name="connsiteX3" fmla="*/ 181414 w 183243"/>
                <a:gd name="connsiteY3" fmla="*/ 89372 h 88096"/>
                <a:gd name="connsiteX4" fmla="*/ 170131 w 183243"/>
                <a:gd name="connsiteY4" fmla="*/ 46083 h 88096"/>
                <a:gd name="connsiteX5" fmla="*/ 182483 w 183243"/>
                <a:gd name="connsiteY5" fmla="*/ 954 h 8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243" h="88096">
                  <a:moveTo>
                    <a:pt x="182483" y="954"/>
                  </a:moveTo>
                  <a:lnTo>
                    <a:pt x="954" y="954"/>
                  </a:lnTo>
                  <a:lnTo>
                    <a:pt x="954" y="89372"/>
                  </a:lnTo>
                  <a:lnTo>
                    <a:pt x="181414" y="89372"/>
                  </a:lnTo>
                  <a:cubicBezTo>
                    <a:pt x="174229" y="76545"/>
                    <a:pt x="170131" y="61819"/>
                    <a:pt x="170131" y="46083"/>
                  </a:cubicBezTo>
                  <a:cubicBezTo>
                    <a:pt x="170131" y="29634"/>
                    <a:pt x="174644" y="14196"/>
                    <a:pt x="182483" y="954"/>
                  </a:cubicBez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Shape 62">
              <a:extLst>
                <a:ext uri="{FF2B5EF4-FFF2-40B4-BE49-F238E27FC236}">
                  <a16:creationId xmlns:a16="http://schemas.microsoft.com/office/drawing/2014/main" id="{28AF465A-1B5B-CB30-4F85-74EAFB2AB7E0}"/>
                </a:ext>
              </a:extLst>
            </p:cNvPr>
            <p:cNvSpPr/>
            <p:nvPr/>
          </p:nvSpPr>
          <p:spPr>
            <a:xfrm>
              <a:off x="5615748" y="2022477"/>
              <a:ext cx="801531" cy="208730"/>
            </a:xfrm>
            <a:custGeom>
              <a:avLst/>
              <a:gdLst>
                <a:gd name="connsiteX0" fmla="*/ 339250 w 338296"/>
                <a:gd name="connsiteY0" fmla="*/ 954 h 88096"/>
                <a:gd name="connsiteX1" fmla="*/ 954 w 338296"/>
                <a:gd name="connsiteY1" fmla="*/ 954 h 88096"/>
                <a:gd name="connsiteX2" fmla="*/ 954 w 338296"/>
                <a:gd name="connsiteY2" fmla="*/ 89372 h 88096"/>
                <a:gd name="connsiteX3" fmla="*/ 339250 w 338296"/>
                <a:gd name="connsiteY3" fmla="*/ 89372 h 88096"/>
                <a:gd name="connsiteX4" fmla="*/ 339250 w 338296"/>
                <a:gd name="connsiteY4" fmla="*/ 954 h 88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296" h="88096">
                  <a:moveTo>
                    <a:pt x="339250" y="954"/>
                  </a:moveTo>
                  <a:lnTo>
                    <a:pt x="954" y="954"/>
                  </a:lnTo>
                  <a:lnTo>
                    <a:pt x="954" y="89372"/>
                  </a:lnTo>
                  <a:lnTo>
                    <a:pt x="339250" y="89372"/>
                  </a:lnTo>
                  <a:lnTo>
                    <a:pt x="339250" y="954"/>
                  </a:ln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Shape 63">
              <a:extLst>
                <a:ext uri="{FF2B5EF4-FFF2-40B4-BE49-F238E27FC236}">
                  <a16:creationId xmlns:a16="http://schemas.microsoft.com/office/drawing/2014/main" id="{52260901-0310-AD01-2E13-79761312A986}"/>
                </a:ext>
              </a:extLst>
            </p:cNvPr>
            <p:cNvSpPr/>
            <p:nvPr/>
          </p:nvSpPr>
          <p:spPr>
            <a:xfrm>
              <a:off x="5702830" y="2084835"/>
              <a:ext cx="83492" cy="83492"/>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Shape 64">
              <a:extLst>
                <a:ext uri="{FF2B5EF4-FFF2-40B4-BE49-F238E27FC236}">
                  <a16:creationId xmlns:a16="http://schemas.microsoft.com/office/drawing/2014/main" id="{32F560A1-C542-D2E0-5E39-59544A199DAB}"/>
                </a:ext>
              </a:extLst>
            </p:cNvPr>
            <p:cNvSpPr/>
            <p:nvPr/>
          </p:nvSpPr>
          <p:spPr>
            <a:xfrm>
              <a:off x="5702830" y="2591592"/>
              <a:ext cx="83492" cy="83492"/>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Shape 65">
              <a:extLst>
                <a:ext uri="{FF2B5EF4-FFF2-40B4-BE49-F238E27FC236}">
                  <a16:creationId xmlns:a16="http://schemas.microsoft.com/office/drawing/2014/main" id="{C4899EF4-6969-ED23-4535-6C5A144E17D4}"/>
                </a:ext>
              </a:extLst>
            </p:cNvPr>
            <p:cNvSpPr/>
            <p:nvPr/>
          </p:nvSpPr>
          <p:spPr>
            <a:xfrm>
              <a:off x="5702830" y="2339027"/>
              <a:ext cx="83492" cy="83492"/>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Oval 66">
              <a:extLst>
                <a:ext uri="{FF2B5EF4-FFF2-40B4-BE49-F238E27FC236}">
                  <a16:creationId xmlns:a16="http://schemas.microsoft.com/office/drawing/2014/main" id="{215CC6F3-E8CD-8262-02D8-D3F159BF43F3}"/>
                </a:ext>
              </a:extLst>
            </p:cNvPr>
            <p:cNvSpPr/>
            <p:nvPr/>
          </p:nvSpPr>
          <p:spPr>
            <a:xfrm>
              <a:off x="6016513" y="2424517"/>
              <a:ext cx="441325" cy="441325"/>
            </a:xfrm>
            <a:prstGeom prst="ellipse">
              <a:avLst/>
            </a:prstGeom>
            <a:solidFill>
              <a:schemeClr val="tx1"/>
            </a:solidFill>
            <a:ln>
              <a:solidFill>
                <a:srgbClr val="66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8" name="Graphic 67" descr="Icon of connected dots ">
              <a:extLst>
                <a:ext uri="{FF2B5EF4-FFF2-40B4-BE49-F238E27FC236}">
                  <a16:creationId xmlns:a16="http://schemas.microsoft.com/office/drawing/2014/main" id="{04CE30CD-1CDE-53A5-16FD-41FAC28E60A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84380" y="2505855"/>
              <a:ext cx="305590" cy="269403"/>
            </a:xfrm>
            <a:prstGeom prst="rect">
              <a:avLst/>
            </a:prstGeom>
          </p:spPr>
        </p:pic>
      </p:grpSp>
      <p:grpSp>
        <p:nvGrpSpPr>
          <p:cNvPr id="69" name="Group 68">
            <a:extLst>
              <a:ext uri="{FF2B5EF4-FFF2-40B4-BE49-F238E27FC236}">
                <a16:creationId xmlns:a16="http://schemas.microsoft.com/office/drawing/2014/main" id="{F7C946F0-EF83-6D94-1E20-D6679F38A6F4}"/>
              </a:ext>
            </a:extLst>
          </p:cNvPr>
          <p:cNvGrpSpPr/>
          <p:nvPr/>
        </p:nvGrpSpPr>
        <p:grpSpPr>
          <a:xfrm>
            <a:off x="4329643" y="3020985"/>
            <a:ext cx="3166940" cy="2510970"/>
            <a:chOff x="4629224" y="3378743"/>
            <a:chExt cx="3166940" cy="2510970"/>
          </a:xfrm>
        </p:grpSpPr>
        <p:pic>
          <p:nvPicPr>
            <p:cNvPr id="70" name="Picture 4" descr="Tensorflow Logo Download Vector">
              <a:extLst>
                <a:ext uri="{FF2B5EF4-FFF2-40B4-BE49-F238E27FC236}">
                  <a16:creationId xmlns:a16="http://schemas.microsoft.com/office/drawing/2014/main" id="{DCC914DD-9296-10B5-EE33-F861E1BDC8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51889" y="5057022"/>
              <a:ext cx="1444275" cy="276067"/>
            </a:xfrm>
            <a:prstGeom prst="rect">
              <a:avLst/>
            </a:prstGeom>
            <a:noFill/>
            <a:extLst>
              <a:ext uri="{909E8E84-426E-40DD-AFC4-6F175D3DCCD1}">
                <a14:hiddenFill xmlns:a14="http://schemas.microsoft.com/office/drawing/2010/main">
                  <a:solidFill>
                    <a:srgbClr val="FFFFFF"/>
                  </a:solidFill>
                </a14:hiddenFill>
              </a:ext>
            </a:extLst>
          </p:spPr>
        </p:pic>
        <p:grpSp>
          <p:nvGrpSpPr>
            <p:cNvPr id="71" name="Group 70">
              <a:extLst>
                <a:ext uri="{FF2B5EF4-FFF2-40B4-BE49-F238E27FC236}">
                  <a16:creationId xmlns:a16="http://schemas.microsoft.com/office/drawing/2014/main" id="{DF628189-BA7E-D397-2D0C-3C1DD160DB3B}"/>
                </a:ext>
                <a:ext uri="{C183D7F6-B498-43B3-948B-1728B52AA6E4}">
                  <adec:decorative xmlns:adec="http://schemas.microsoft.com/office/drawing/2017/decorative" val="1"/>
                </a:ext>
              </a:extLst>
            </p:cNvPr>
            <p:cNvGrpSpPr/>
            <p:nvPr/>
          </p:nvGrpSpPr>
          <p:grpSpPr>
            <a:xfrm>
              <a:off x="4739084" y="4500400"/>
              <a:ext cx="1260976" cy="1389313"/>
              <a:chOff x="5044431" y="2056566"/>
              <a:chExt cx="1824763" cy="2010480"/>
            </a:xfrm>
          </p:grpSpPr>
          <p:pic>
            <p:nvPicPr>
              <p:cNvPr id="99" name="Picture 2" descr="PyTorch | Brands PJ - PZ">
                <a:extLst>
                  <a:ext uri="{FF2B5EF4-FFF2-40B4-BE49-F238E27FC236}">
                    <a16:creationId xmlns:a16="http://schemas.microsoft.com/office/drawing/2014/main" id="{16508F70-8252-6299-D371-C92480D2CEAF}"/>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l="29356"/>
              <a:stretch/>
            </p:blipFill>
            <p:spPr bwMode="auto">
              <a:xfrm>
                <a:off x="5448911" y="2056566"/>
                <a:ext cx="1420283" cy="2010480"/>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2" descr="PyTorch | Brands PJ - PZ">
                <a:extLst>
                  <a:ext uri="{FF2B5EF4-FFF2-40B4-BE49-F238E27FC236}">
                    <a16:creationId xmlns:a16="http://schemas.microsoft.com/office/drawing/2014/main" id="{B33FE040-AD9F-F883-FD39-30DD72095CB2}"/>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68555"/>
              <a:stretch/>
            </p:blipFill>
            <p:spPr bwMode="auto">
              <a:xfrm>
                <a:off x="5044431" y="2357121"/>
                <a:ext cx="431558" cy="13724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2" name="Group 71">
              <a:extLst>
                <a:ext uri="{FF2B5EF4-FFF2-40B4-BE49-F238E27FC236}">
                  <a16:creationId xmlns:a16="http://schemas.microsoft.com/office/drawing/2014/main" id="{B89C0353-5885-5BA0-891F-BFFCFFAF89B5}"/>
                </a:ext>
                <a:ext uri="{C183D7F6-B498-43B3-948B-1728B52AA6E4}">
                  <adec:decorative xmlns:adec="http://schemas.microsoft.com/office/drawing/2017/decorative" val="1"/>
                </a:ext>
              </a:extLst>
            </p:cNvPr>
            <p:cNvGrpSpPr/>
            <p:nvPr/>
          </p:nvGrpSpPr>
          <p:grpSpPr>
            <a:xfrm>
              <a:off x="5175202" y="4500400"/>
              <a:ext cx="1881157" cy="355333"/>
              <a:chOff x="4804977" y="4986947"/>
              <a:chExt cx="2137444" cy="403744"/>
            </a:xfrm>
          </p:grpSpPr>
          <p:pic>
            <p:nvPicPr>
              <p:cNvPr id="97" name="Picture 6" descr="Nvidia – Logos Download">
                <a:extLst>
                  <a:ext uri="{FF2B5EF4-FFF2-40B4-BE49-F238E27FC236}">
                    <a16:creationId xmlns:a16="http://schemas.microsoft.com/office/drawing/2014/main" id="{29C044D0-F6C0-E3BA-AAF0-A34F29BFE95A}"/>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r="70192"/>
              <a:stretch/>
            </p:blipFill>
            <p:spPr bwMode="auto">
              <a:xfrm>
                <a:off x="4804977" y="4986947"/>
                <a:ext cx="632190" cy="403744"/>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6" descr="Nvidia – Logos Download">
                <a:extLst>
                  <a:ext uri="{FF2B5EF4-FFF2-40B4-BE49-F238E27FC236}">
                    <a16:creationId xmlns:a16="http://schemas.microsoft.com/office/drawing/2014/main" id="{9253212E-01C8-EA4B-9C13-516E4937F531}"/>
                  </a:ext>
                </a:extLst>
              </p:cNvPr>
              <p:cNvPicPr>
                <a:picLocks noChangeAspect="1" noChangeArrowheads="1"/>
              </p:cNvPicPr>
              <p:nvPr/>
            </p:nvPicPr>
            <p:blipFill rotWithShape="1">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l="29028"/>
              <a:stretch/>
            </p:blipFill>
            <p:spPr bwMode="auto">
              <a:xfrm>
                <a:off x="5437167" y="4986947"/>
                <a:ext cx="1505254" cy="40374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1" name="Group 90">
              <a:extLst>
                <a:ext uri="{FF2B5EF4-FFF2-40B4-BE49-F238E27FC236}">
                  <a16:creationId xmlns:a16="http://schemas.microsoft.com/office/drawing/2014/main" id="{097E0C51-3C52-C832-85C3-B319AFDFD3D6}"/>
                </a:ext>
                <a:ext uri="{C183D7F6-B498-43B3-948B-1728B52AA6E4}">
                  <adec:decorative xmlns:adec="http://schemas.microsoft.com/office/drawing/2017/decorative" val="1"/>
                </a:ext>
              </a:extLst>
            </p:cNvPr>
            <p:cNvGrpSpPr/>
            <p:nvPr/>
          </p:nvGrpSpPr>
          <p:grpSpPr>
            <a:xfrm>
              <a:off x="4629224" y="3400778"/>
              <a:ext cx="1625334" cy="856416"/>
              <a:chOff x="3512293" y="3605505"/>
              <a:chExt cx="1799108" cy="947981"/>
            </a:xfrm>
          </p:grpSpPr>
          <p:pic>
            <p:nvPicPr>
              <p:cNvPr id="95" name="Graphic 94">
                <a:extLst>
                  <a:ext uri="{FF2B5EF4-FFF2-40B4-BE49-F238E27FC236}">
                    <a16:creationId xmlns:a16="http://schemas.microsoft.com/office/drawing/2014/main" id="{7FA55D21-0717-C80A-B8A8-852135623D4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208991" y="3605505"/>
                <a:ext cx="424762" cy="424762"/>
              </a:xfrm>
              <a:prstGeom prst="rect">
                <a:avLst/>
              </a:prstGeom>
            </p:spPr>
          </p:pic>
          <p:sp>
            <p:nvSpPr>
              <p:cNvPr id="96" name="TextBox 95">
                <a:extLst>
                  <a:ext uri="{FF2B5EF4-FFF2-40B4-BE49-F238E27FC236}">
                    <a16:creationId xmlns:a16="http://schemas.microsoft.com/office/drawing/2014/main" id="{7D613D48-11FE-054F-0857-D734B2371B9A}"/>
                  </a:ext>
                </a:extLst>
              </p:cNvPr>
              <p:cNvSpPr txBox="1"/>
              <p:nvPr/>
            </p:nvSpPr>
            <p:spPr>
              <a:xfrm>
                <a:off x="3512293" y="4030266"/>
                <a:ext cx="179910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achine Learning</a:t>
                </a:r>
              </a:p>
            </p:txBody>
          </p:sp>
        </p:grpSp>
        <p:grpSp>
          <p:nvGrpSpPr>
            <p:cNvPr id="92" name="Group 91">
              <a:extLst>
                <a:ext uri="{FF2B5EF4-FFF2-40B4-BE49-F238E27FC236}">
                  <a16:creationId xmlns:a16="http://schemas.microsoft.com/office/drawing/2014/main" id="{0F3C6B7D-595A-8EA8-859F-1DAC2384E8B5}"/>
                </a:ext>
                <a:ext uri="{C183D7F6-B498-43B3-948B-1728B52AA6E4}">
                  <adec:decorative xmlns:adec="http://schemas.microsoft.com/office/drawing/2017/decorative" val="1"/>
                </a:ext>
              </a:extLst>
            </p:cNvPr>
            <p:cNvGrpSpPr/>
            <p:nvPr/>
          </p:nvGrpSpPr>
          <p:grpSpPr>
            <a:xfrm>
              <a:off x="6148371" y="3378743"/>
              <a:ext cx="1625334" cy="893556"/>
              <a:chOff x="5003808" y="3564395"/>
              <a:chExt cx="1799108" cy="989091"/>
            </a:xfrm>
          </p:grpSpPr>
          <p:pic>
            <p:nvPicPr>
              <p:cNvPr id="93" name="Graphic 92">
                <a:extLst>
                  <a:ext uri="{FF2B5EF4-FFF2-40B4-BE49-F238E27FC236}">
                    <a16:creationId xmlns:a16="http://schemas.microsoft.com/office/drawing/2014/main" id="{05D3328E-9B5E-3549-95F4-6B74A4BC755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645537" y="3564395"/>
                <a:ext cx="536710" cy="542859"/>
              </a:xfrm>
              <a:prstGeom prst="rect">
                <a:avLst/>
              </a:prstGeom>
            </p:spPr>
          </p:pic>
          <p:sp>
            <p:nvSpPr>
              <p:cNvPr id="94" name="TextBox 93">
                <a:extLst>
                  <a:ext uri="{FF2B5EF4-FFF2-40B4-BE49-F238E27FC236}">
                    <a16:creationId xmlns:a16="http://schemas.microsoft.com/office/drawing/2014/main" id="{625AA456-7AB4-E5AD-C8D9-2839685FD5EC}"/>
                  </a:ext>
                </a:extLst>
              </p:cNvPr>
              <p:cNvSpPr txBox="1"/>
              <p:nvPr/>
            </p:nvSpPr>
            <p:spPr>
              <a:xfrm>
                <a:off x="5003808" y="4030266"/>
                <a:ext cx="179910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Cognitive Services</a:t>
                </a:r>
              </a:p>
            </p:txBody>
          </p:sp>
        </p:grpSp>
      </p:grpSp>
    </p:spTree>
    <p:extLst>
      <p:ext uri="{BB962C8B-B14F-4D97-AF65-F5344CB8AC3E}">
        <p14:creationId xmlns:p14="http://schemas.microsoft.com/office/powerpoint/2010/main" val="3873767750"/>
      </p:ext>
    </p:extLst>
  </p:cSld>
  <p:clrMapOvr>
    <a:masterClrMapping/>
  </p:clrMapOvr>
  <mc:AlternateContent xmlns:mc="http://schemas.openxmlformats.org/markup-compatibility/2006" xmlns:p14="http://schemas.microsoft.com/office/powerpoint/2010/main">
    <mc:Choice Requires="p14">
      <p:transition p14:dur="0" advClick="0" advTm="6000"/>
    </mc:Choice>
    <mc:Fallback xmlns="">
      <p:transition advClick="0" advTm="600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191" name="TextBox 190">
            <a:extLst>
              <a:ext uri="{FF2B5EF4-FFF2-40B4-BE49-F238E27FC236}">
                <a16:creationId xmlns:a16="http://schemas.microsoft.com/office/drawing/2014/main" id="{A052D95C-9C8D-49EA-AEED-AC6488B691CF}"/>
              </a:ext>
            </a:extLst>
          </p:cNvPr>
          <p:cNvSpPr txBox="1"/>
          <p:nvPr/>
        </p:nvSpPr>
        <p:spPr>
          <a:xfrm>
            <a:off x="519596" y="3374671"/>
            <a:ext cx="2192544" cy="1397947"/>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Calibri" panose="020F0502020204030204" pitchFamily="34" charset="0"/>
                <a:cs typeface="Segoe UI Semibold" panose="020B0702040204020203" pitchFamily="34" charset="0"/>
              </a:rPr>
              <a:t>Seven of the top ten </a:t>
            </a:r>
            <a:r>
              <a:rPr kumimoji="0" lang="en-US" sz="1400" b="0" i="0" u="none" strike="noStrike" kern="1200" cap="none" spc="0" normalizeH="0" baseline="0" noProof="0">
                <a:ln>
                  <a:noFill/>
                </a:ln>
                <a:solidFill>
                  <a:prstClr val="white"/>
                </a:solidFill>
                <a:effectLst/>
                <a:uLnTx/>
                <a:uFillTx/>
                <a:latin typeface="Segoe UI "/>
                <a:ea typeface="Calibri" panose="020F0502020204030204" pitchFamily="34" charset="0"/>
                <a:cs typeface="Times New Roman" panose="02020603050405020304" pitchFamily="18" charset="0"/>
              </a:rPr>
              <a:t>ranked supercomputers worldwide align to the HPC scale up/out infrastructure model</a:t>
            </a:r>
          </a:p>
        </p:txBody>
      </p:sp>
      <p:sp>
        <p:nvSpPr>
          <p:cNvPr id="193" name="TextBox 192">
            <a:extLst>
              <a:ext uri="{FF2B5EF4-FFF2-40B4-BE49-F238E27FC236}">
                <a16:creationId xmlns:a16="http://schemas.microsoft.com/office/drawing/2014/main" id="{AC0E5766-1954-4C22-B71C-3844E1251054}"/>
              </a:ext>
            </a:extLst>
          </p:cNvPr>
          <p:cNvSpPr txBox="1"/>
          <p:nvPr/>
        </p:nvSpPr>
        <p:spPr>
          <a:xfrm>
            <a:off x="0" y="5299947"/>
            <a:ext cx="1219200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effectLst/>
                <a:uLnTx/>
                <a:uFillTx/>
                <a:latin typeface="Segoe UI "/>
              </a:rPr>
              <a:t>Source: </a:t>
            </a:r>
            <a:r>
              <a:rPr kumimoji="0" lang="en-US" sz="1200" b="0" i="1" u="none" strike="noStrike" kern="1200" cap="none" spc="0" normalizeH="0" baseline="0" noProof="0">
                <a:ln>
                  <a:noFill/>
                </a:ln>
                <a:effectLst/>
                <a:uLnTx/>
                <a:uFillTx/>
                <a:latin typeface="Segoe UI "/>
                <a:hlinkClick r:id="rId3">
                  <a:extLst>
                    <a:ext uri="{A12FA001-AC4F-418D-AE19-62706E023703}">
                      <ahyp:hlinkClr xmlns:ahyp="http://schemas.microsoft.com/office/drawing/2018/hyperlinkcolor" val="tx"/>
                    </a:ext>
                  </a:extLst>
                </a:hlinkClick>
              </a:rPr>
              <a:t>https://top500.org/lists/top500/2021/11/</a:t>
            </a:r>
            <a:r>
              <a:rPr kumimoji="0" lang="en-US" sz="1200" b="0" i="1" u="none" strike="noStrike" kern="1200" cap="none" spc="0" normalizeH="0" baseline="0" noProof="0">
                <a:ln>
                  <a:noFill/>
                </a:ln>
                <a:effectLst/>
                <a:uLnTx/>
                <a:uFillTx/>
                <a:latin typeface="Segoe UI "/>
              </a:rPr>
              <a:t> </a:t>
            </a:r>
          </a:p>
        </p:txBody>
      </p:sp>
      <p:graphicFrame>
        <p:nvGraphicFramePr>
          <p:cNvPr id="6" name="Chart 5">
            <a:extLst>
              <a:ext uri="{FF2B5EF4-FFF2-40B4-BE49-F238E27FC236}">
                <a16:creationId xmlns:a16="http://schemas.microsoft.com/office/drawing/2014/main" id="{159CE178-6CB8-4B5B-876B-EC5693096562}"/>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51808081"/>
              </p:ext>
            </p:extLst>
          </p:nvPr>
        </p:nvGraphicFramePr>
        <p:xfrm>
          <a:off x="2480803" y="3344657"/>
          <a:ext cx="1491002" cy="994001"/>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Box 18">
            <a:extLst>
              <a:ext uri="{FF2B5EF4-FFF2-40B4-BE49-F238E27FC236}">
                <a16:creationId xmlns:a16="http://schemas.microsoft.com/office/drawing/2014/main" id="{45BE0DC7-95EF-419B-A3CB-981E0572008A}"/>
              </a:ext>
            </a:extLst>
          </p:cNvPr>
          <p:cNvSpPr txBox="1"/>
          <p:nvPr/>
        </p:nvSpPr>
        <p:spPr>
          <a:xfrm>
            <a:off x="2712140" y="4142868"/>
            <a:ext cx="1067292"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9027"/>
                </a:solidFill>
                <a:effectLst/>
                <a:uLnTx/>
                <a:uFillTx/>
                <a:latin typeface="Segoe UI Semibold" panose="020B0702040204020203" pitchFamily="34" charset="0"/>
                <a:ea typeface="Calibri" panose="020F0502020204030204" pitchFamily="34" charset="0"/>
                <a:cs typeface="Segoe UI Semibold" panose="020B0702040204020203" pitchFamily="34" charset="0"/>
              </a:rPr>
              <a:t>7</a:t>
            </a:r>
            <a:r>
              <a:rPr kumimoji="0" lang="en-US" sz="3600" b="0" i="0" u="none" strike="noStrike" kern="1200" cap="none" spc="0" normalizeH="0" baseline="0" noProof="0">
                <a:ln>
                  <a:noFill/>
                </a:ln>
                <a:solidFill>
                  <a:prstClr val="black">
                    <a:lumMod val="50000"/>
                    <a:lumOff val="50000"/>
                  </a:prstClr>
                </a:solidFill>
                <a:effectLst/>
                <a:uLnTx/>
                <a:uFillTx/>
                <a:latin typeface="Segoe UI Semibold" panose="020B0702040204020203" pitchFamily="34" charset="0"/>
                <a:ea typeface="Calibri" panose="020F0502020204030204" pitchFamily="34" charset="0"/>
                <a:cs typeface="Segoe UI Semibold" panose="020B0702040204020203" pitchFamily="34" charset="0"/>
              </a:rPr>
              <a:t>/10</a:t>
            </a:r>
          </a:p>
        </p:txBody>
      </p:sp>
      <p:grpSp>
        <p:nvGrpSpPr>
          <p:cNvPr id="2" name="Group 1">
            <a:extLst>
              <a:ext uri="{FF2B5EF4-FFF2-40B4-BE49-F238E27FC236}">
                <a16:creationId xmlns:a16="http://schemas.microsoft.com/office/drawing/2014/main" id="{7C1061D1-3EFF-427B-9696-C8E6304FD53F}"/>
              </a:ext>
              <a:ext uri="{C183D7F6-B498-43B3-948B-1728B52AA6E4}">
                <adec:decorative xmlns:adec="http://schemas.microsoft.com/office/drawing/2017/decorative" val="1"/>
              </a:ext>
            </a:extLst>
          </p:cNvPr>
          <p:cNvGrpSpPr/>
          <p:nvPr/>
        </p:nvGrpSpPr>
        <p:grpSpPr>
          <a:xfrm>
            <a:off x="9552616" y="1764375"/>
            <a:ext cx="1493989" cy="1108541"/>
            <a:chOff x="7151831" y="1737305"/>
            <a:chExt cx="5224737" cy="3876761"/>
          </a:xfrm>
        </p:grpSpPr>
        <p:pic>
          <p:nvPicPr>
            <p:cNvPr id="4102" name="Picture 6" descr="DGX SATURNV Supercomputer for AI &amp;amp; Deep Learning | NVIDIA">
              <a:extLst>
                <a:ext uri="{FF2B5EF4-FFF2-40B4-BE49-F238E27FC236}">
                  <a16:creationId xmlns:a16="http://schemas.microsoft.com/office/drawing/2014/main" id="{F9B64642-C8D8-4BE7-9F57-556ABE53E8A9}"/>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brightnessContrast bright="18000"/>
                      </a14:imgEffect>
                    </a14:imgLayer>
                  </a14:imgProps>
                </a:ext>
                <a:ext uri="{28A0092B-C50C-407E-A947-70E740481C1C}">
                  <a14:useLocalDpi xmlns:a14="http://schemas.microsoft.com/office/drawing/2010/main" val="0"/>
                </a:ext>
              </a:extLst>
            </a:blip>
            <a:srcRect b="57097"/>
            <a:stretch/>
          </p:blipFill>
          <p:spPr bwMode="auto">
            <a:xfrm>
              <a:off x="7151831" y="1742617"/>
              <a:ext cx="5144003" cy="168638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DGX SATURNV Supercomputer for AI &amp;amp; Deep Learning | NVIDIA">
              <a:extLst>
                <a:ext uri="{FF2B5EF4-FFF2-40B4-BE49-F238E27FC236}">
                  <a16:creationId xmlns:a16="http://schemas.microsoft.com/office/drawing/2014/main" id="{D54B461C-FE2A-4A29-B333-7C3D0B615D2E}"/>
                </a:ext>
              </a:extLst>
            </p:cNvPr>
            <p:cNvPicPr>
              <a:picLocks noChangeAspect="1" noChangeArrowheads="1"/>
            </p:cNvPicPr>
            <p:nvPr/>
          </p:nvPicPr>
          <p:blipFill rotWithShape="1">
            <a:blip r:embed="rId7">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b="80937"/>
            <a:stretch/>
          </p:blipFill>
          <p:spPr bwMode="auto">
            <a:xfrm>
              <a:off x="7151831" y="1737305"/>
              <a:ext cx="5144003" cy="74928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DGX SATURNV Supercomputer for AI &amp;amp; Deep Learning | NVIDIA">
              <a:extLst>
                <a:ext uri="{FF2B5EF4-FFF2-40B4-BE49-F238E27FC236}">
                  <a16:creationId xmlns:a16="http://schemas.microsoft.com/office/drawing/2014/main" id="{80A88B07-305D-4887-8E8C-67C0F7D16FFD}"/>
                </a:ext>
              </a:extLst>
            </p:cNvPr>
            <p:cNvPicPr>
              <a:picLocks noChangeAspect="1" noChangeArrowheads="1"/>
            </p:cNvPicPr>
            <p:nvPr/>
          </p:nvPicPr>
          <p:blipFill rotWithShape="1">
            <a:blip r:embed="rId7">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t="45427"/>
            <a:stretch/>
          </p:blipFill>
          <p:spPr bwMode="auto">
            <a:xfrm>
              <a:off x="7151831" y="3459466"/>
              <a:ext cx="5144003" cy="21450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DGX SATURNV Supercomputer for AI &amp;amp; Deep Learning | NVIDIA">
              <a:extLst>
                <a:ext uri="{FF2B5EF4-FFF2-40B4-BE49-F238E27FC236}">
                  <a16:creationId xmlns:a16="http://schemas.microsoft.com/office/drawing/2014/main" id="{9354F5F7-68D3-412F-A822-277FEFFC160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72058" t="85809"/>
            <a:stretch/>
          </p:blipFill>
          <p:spPr bwMode="auto">
            <a:xfrm>
              <a:off x="10850879" y="5043253"/>
              <a:ext cx="1525689" cy="570813"/>
            </a:xfrm>
            <a:prstGeom prst="rect">
              <a:avLst/>
            </a:prstGeom>
            <a:noFill/>
            <a:extLst>
              <a:ext uri="{909E8E84-426E-40DD-AFC4-6F175D3DCCD1}">
                <a14:hiddenFill xmlns:a14="http://schemas.microsoft.com/office/drawing/2010/main">
                  <a:solidFill>
                    <a:srgbClr val="FFFFFF"/>
                  </a:solidFill>
                </a14:hiddenFill>
              </a:ext>
            </a:extLst>
          </p:spPr>
        </p:pic>
      </p:grpSp>
      <p:sp>
        <p:nvSpPr>
          <p:cNvPr id="192" name="TextBox 191">
            <a:extLst>
              <a:ext uri="{FF2B5EF4-FFF2-40B4-BE49-F238E27FC236}">
                <a16:creationId xmlns:a16="http://schemas.microsoft.com/office/drawing/2014/main" id="{4149B70E-53F2-4FE1-9822-69A3EF7F3E8D}"/>
              </a:ext>
            </a:extLst>
          </p:cNvPr>
          <p:cNvSpPr txBox="1"/>
          <p:nvPr/>
        </p:nvSpPr>
        <p:spPr>
          <a:xfrm>
            <a:off x="8418525" y="3398000"/>
            <a:ext cx="2080737" cy="1397947"/>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80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Calibri" panose="020F0502020204030204" pitchFamily="34" charset="0"/>
                <a:cs typeface="Segoe UI Semibold" panose="020B0702040204020203" pitchFamily="34" charset="0"/>
              </a:rPr>
              <a:t>Nine of the top ten </a:t>
            </a: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Calibri" panose="020F0502020204030204" pitchFamily="34" charset="0"/>
                <a:cs typeface="Segoe UI" panose="020B0502040204020203" pitchFamily="34" charset="0"/>
              </a:rPr>
              <a:t>ranked supercomputers worldwide use NVIDIA Ampere A100 GPU accelerators</a:t>
            </a:r>
          </a:p>
        </p:txBody>
      </p:sp>
      <p:graphicFrame>
        <p:nvGraphicFramePr>
          <p:cNvPr id="29" name="Chart 28">
            <a:extLst>
              <a:ext uri="{FF2B5EF4-FFF2-40B4-BE49-F238E27FC236}">
                <a16:creationId xmlns:a16="http://schemas.microsoft.com/office/drawing/2014/main" id="{C55524A3-C90B-4FFD-80AD-42DAC9BD92D3}"/>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719766265"/>
              </p:ext>
            </p:extLst>
          </p:nvPr>
        </p:nvGraphicFramePr>
        <p:xfrm>
          <a:off x="6397489" y="3348458"/>
          <a:ext cx="1491002" cy="994001"/>
        </p:xfrm>
        <a:graphic>
          <a:graphicData uri="http://schemas.openxmlformats.org/drawingml/2006/chart">
            <c:chart xmlns:c="http://schemas.openxmlformats.org/drawingml/2006/chart" xmlns:r="http://schemas.openxmlformats.org/officeDocument/2006/relationships" r:id="rId9"/>
          </a:graphicData>
        </a:graphic>
      </p:graphicFrame>
      <p:sp>
        <p:nvSpPr>
          <p:cNvPr id="30" name="TextBox 29">
            <a:extLst>
              <a:ext uri="{FF2B5EF4-FFF2-40B4-BE49-F238E27FC236}">
                <a16:creationId xmlns:a16="http://schemas.microsoft.com/office/drawing/2014/main" id="{8B419238-0FD1-42CA-8B08-6E1CB66701CB}"/>
              </a:ext>
            </a:extLst>
          </p:cNvPr>
          <p:cNvSpPr txBox="1"/>
          <p:nvPr/>
        </p:nvSpPr>
        <p:spPr>
          <a:xfrm>
            <a:off x="6509517" y="4146669"/>
            <a:ext cx="1174295"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9027"/>
                </a:solidFill>
                <a:effectLst/>
                <a:uLnTx/>
                <a:uFillTx/>
                <a:latin typeface="Segoe UI Semibold" panose="020B0702040204020203" pitchFamily="34" charset="0"/>
                <a:ea typeface="Calibri" panose="020F0502020204030204" pitchFamily="34" charset="0"/>
                <a:cs typeface="Segoe UI Semibold" panose="020B0702040204020203" pitchFamily="34" charset="0"/>
              </a:rPr>
              <a:t>5</a:t>
            </a:r>
            <a:r>
              <a:rPr kumimoji="0" lang="en-US" sz="3600" b="0" i="0" u="none" strike="noStrike" kern="1200" cap="none" spc="0" normalizeH="0" baseline="0" noProof="0">
                <a:ln>
                  <a:noFill/>
                </a:ln>
                <a:solidFill>
                  <a:prstClr val="black">
                    <a:lumMod val="50000"/>
                    <a:lumOff val="50000"/>
                  </a:prstClr>
                </a:solidFill>
                <a:effectLst/>
                <a:uLnTx/>
                <a:uFillTx/>
                <a:latin typeface="Segoe UI Semibold" panose="020B0702040204020203" pitchFamily="34" charset="0"/>
                <a:ea typeface="Calibri" panose="020F0502020204030204" pitchFamily="34" charset="0"/>
                <a:cs typeface="Segoe UI Semibold" panose="020B0702040204020203" pitchFamily="34" charset="0"/>
              </a:rPr>
              <a:t>/35</a:t>
            </a:r>
          </a:p>
        </p:txBody>
      </p:sp>
      <p:sp>
        <p:nvSpPr>
          <p:cNvPr id="31" name="TextBox 30">
            <a:extLst>
              <a:ext uri="{FF2B5EF4-FFF2-40B4-BE49-F238E27FC236}">
                <a16:creationId xmlns:a16="http://schemas.microsoft.com/office/drawing/2014/main" id="{CBEFC9B1-331C-4145-8ECB-233ECA7DC582}"/>
              </a:ext>
            </a:extLst>
          </p:cNvPr>
          <p:cNvSpPr txBox="1"/>
          <p:nvPr/>
        </p:nvSpPr>
        <p:spPr>
          <a:xfrm>
            <a:off x="4370527" y="3373377"/>
            <a:ext cx="2231640" cy="1397947"/>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Calibri" panose="020F0502020204030204" pitchFamily="34" charset="0"/>
                <a:cs typeface="Segoe UI Semibold" panose="020B0702040204020203" pitchFamily="34" charset="0"/>
              </a:rPr>
              <a:t>Five of the top </a:t>
            </a:r>
            <a:r>
              <a:rPr kumimoji="0" lang="en-US" sz="1600" b="1" i="0" u="none" strike="noStrike" kern="1200" cap="none" spc="0" normalizeH="0" baseline="0" noProof="0">
                <a:ln>
                  <a:noFill/>
                </a:ln>
                <a:solidFill>
                  <a:prstClr val="white"/>
                </a:solidFill>
                <a:effectLst/>
                <a:uLnTx/>
                <a:uFillTx/>
                <a:latin typeface="Segoe UI Semibold" panose="020B0702040204020203" pitchFamily="34" charset="0"/>
                <a:ea typeface="Calibri" panose="020F0502020204030204" pitchFamily="34" charset="0"/>
                <a:cs typeface="Segoe UI Semibold" panose="020B0702040204020203" pitchFamily="34" charset="0"/>
              </a:rPr>
              <a:t>35</a:t>
            </a: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Calibri" panose="020F0502020204030204" pitchFamily="34" charset="0"/>
                <a:cs typeface="Segoe UI Semibold" panose="020B0702040204020203" pitchFamily="34" charset="0"/>
              </a:rPr>
              <a:t> </a:t>
            </a:r>
            <a:r>
              <a:rPr kumimoji="0" lang="en-US" sz="1400" b="0" i="0" u="none" strike="noStrike" kern="1200" cap="none" spc="0" normalizeH="0" baseline="0" noProof="0">
                <a:ln>
                  <a:noFill/>
                </a:ln>
                <a:solidFill>
                  <a:prstClr val="white"/>
                </a:solidFill>
                <a:effectLst/>
                <a:uLnTx/>
                <a:uFillTx/>
                <a:latin typeface="Segoe UI "/>
                <a:ea typeface="Calibri" panose="020F0502020204030204" pitchFamily="34" charset="0"/>
                <a:cs typeface="Times New Roman" panose="02020603050405020304" pitchFamily="18" charset="0"/>
              </a:rPr>
              <a:t>ranked supercomputers worldwide are running on Microsoft Azure – includes a Top-10 ranking</a:t>
            </a:r>
          </a:p>
        </p:txBody>
      </p:sp>
      <p:graphicFrame>
        <p:nvGraphicFramePr>
          <p:cNvPr id="37" name="Chart 36">
            <a:extLst>
              <a:ext uri="{FF2B5EF4-FFF2-40B4-BE49-F238E27FC236}">
                <a16:creationId xmlns:a16="http://schemas.microsoft.com/office/drawing/2014/main" id="{7EB7CECC-5620-4706-A4B2-CC1204E7906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507989787"/>
              </p:ext>
            </p:extLst>
          </p:nvPr>
        </p:nvGraphicFramePr>
        <p:xfrm>
          <a:off x="10387833" y="3348458"/>
          <a:ext cx="1491002" cy="994001"/>
        </p:xfrm>
        <a:graphic>
          <a:graphicData uri="http://schemas.openxmlformats.org/drawingml/2006/chart">
            <c:chart xmlns:c="http://schemas.openxmlformats.org/drawingml/2006/chart" xmlns:r="http://schemas.openxmlformats.org/officeDocument/2006/relationships" r:id="rId10"/>
          </a:graphicData>
        </a:graphic>
      </p:graphicFrame>
      <p:sp>
        <p:nvSpPr>
          <p:cNvPr id="38" name="TextBox 37">
            <a:extLst>
              <a:ext uri="{FF2B5EF4-FFF2-40B4-BE49-F238E27FC236}">
                <a16:creationId xmlns:a16="http://schemas.microsoft.com/office/drawing/2014/main" id="{9548439B-5518-4FBC-8E13-B755AE28E634}"/>
              </a:ext>
            </a:extLst>
          </p:cNvPr>
          <p:cNvSpPr txBox="1"/>
          <p:nvPr/>
        </p:nvSpPr>
        <p:spPr>
          <a:xfrm>
            <a:off x="10619170" y="4146669"/>
            <a:ext cx="1067292"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9AE145"/>
                </a:solidFill>
                <a:effectLst/>
                <a:uLnTx/>
                <a:uFillTx/>
                <a:latin typeface="Segoe UI Semibold" panose="020B0702040204020203" pitchFamily="34" charset="0"/>
                <a:ea typeface="Calibri" panose="020F0502020204030204" pitchFamily="34" charset="0"/>
                <a:cs typeface="Segoe UI Semibold" panose="020B0702040204020203" pitchFamily="34" charset="0"/>
              </a:rPr>
              <a:t>9</a:t>
            </a:r>
            <a:r>
              <a:rPr kumimoji="0" lang="en-US" sz="3600" b="0" i="0" u="none" strike="noStrike" kern="1200" cap="none" spc="0" normalizeH="0" baseline="0" noProof="0">
                <a:ln>
                  <a:noFill/>
                </a:ln>
                <a:solidFill>
                  <a:prstClr val="black">
                    <a:lumMod val="50000"/>
                    <a:lumOff val="50000"/>
                  </a:prstClr>
                </a:solidFill>
                <a:effectLst/>
                <a:uLnTx/>
                <a:uFillTx/>
                <a:latin typeface="Segoe UI Semibold" panose="020B0702040204020203" pitchFamily="34" charset="0"/>
                <a:ea typeface="Calibri" panose="020F0502020204030204" pitchFamily="34" charset="0"/>
                <a:cs typeface="Segoe UI Semibold" panose="020B0702040204020203" pitchFamily="34" charset="0"/>
              </a:rPr>
              <a:t>/10</a:t>
            </a:r>
          </a:p>
        </p:txBody>
      </p:sp>
      <p:pic>
        <p:nvPicPr>
          <p:cNvPr id="47" name="Picture 4" descr="Resource-Saving Architecture | Supermicro">
            <a:extLst>
              <a:ext uri="{FF2B5EF4-FFF2-40B4-BE49-F238E27FC236}">
                <a16:creationId xmlns:a16="http://schemas.microsoft.com/office/drawing/2014/main" id="{87E5DD31-F748-4771-9DC0-1FAFD8276FF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226304" y="1804234"/>
            <a:ext cx="1755054" cy="996419"/>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Straight Connector 20">
            <a:extLst>
              <a:ext uri="{FF2B5EF4-FFF2-40B4-BE49-F238E27FC236}">
                <a16:creationId xmlns:a16="http://schemas.microsoft.com/office/drawing/2014/main" id="{73D4366F-08DB-49BC-B993-2FEB60DAAD11}"/>
              </a:ext>
              <a:ext uri="{C183D7F6-B498-43B3-948B-1728B52AA6E4}">
                <adec:decorative xmlns:adec="http://schemas.microsoft.com/office/drawing/2017/decorative" val="1"/>
              </a:ext>
            </a:extLst>
          </p:cNvPr>
          <p:cNvCxnSpPr>
            <a:cxnSpLocks/>
          </p:cNvCxnSpPr>
          <p:nvPr/>
        </p:nvCxnSpPr>
        <p:spPr>
          <a:xfrm>
            <a:off x="568576" y="3039735"/>
            <a:ext cx="7198826" cy="0"/>
          </a:xfrm>
          <a:prstGeom prst="line">
            <a:avLst/>
          </a:prstGeom>
          <a:ln w="38100">
            <a:solidFill>
              <a:srgbClr val="FF9027"/>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162A5FA-7ADC-4F38-B358-D8E9E4BED325}"/>
              </a:ext>
              <a:ext uri="{C183D7F6-B498-43B3-948B-1728B52AA6E4}">
                <adec:decorative xmlns:adec="http://schemas.microsoft.com/office/drawing/2017/decorative" val="1"/>
              </a:ext>
            </a:extLst>
          </p:cNvPr>
          <p:cNvCxnSpPr>
            <a:cxnSpLocks/>
          </p:cNvCxnSpPr>
          <p:nvPr/>
        </p:nvCxnSpPr>
        <p:spPr>
          <a:xfrm>
            <a:off x="8462067" y="3039735"/>
            <a:ext cx="3255996" cy="0"/>
          </a:xfrm>
          <a:prstGeom prst="line">
            <a:avLst/>
          </a:prstGeom>
          <a:ln w="38100">
            <a:solidFill>
              <a:srgbClr val="9AE245"/>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C865C888-D9B9-8B8A-7554-8E011ED6A4AB}"/>
              </a:ext>
            </a:extLst>
          </p:cNvPr>
          <p:cNvSpPr>
            <a:spLocks noGrp="1"/>
          </p:cNvSpPr>
          <p:nvPr>
            <p:ph type="title"/>
          </p:nvPr>
        </p:nvSpPr>
        <p:spPr/>
        <p:txBody>
          <a:bodyPr/>
          <a:lstStyle/>
          <a:p>
            <a:r>
              <a:rPr lang="en-US" sz="2800">
                <a:latin typeface="Segoe UI Semibold" panose="020B0702040204020203" pitchFamily="34" charset="0"/>
                <a:ea typeface="+mn-ea"/>
                <a:cs typeface="Segoe UI Semibold" panose="020B0702040204020203" pitchFamily="34" charset="0"/>
              </a:rPr>
              <a:t>State of affairs</a:t>
            </a:r>
            <a:endParaRPr lang="en-IN"/>
          </a:p>
        </p:txBody>
      </p:sp>
    </p:spTree>
    <p:extLst>
      <p:ext uri="{BB962C8B-B14F-4D97-AF65-F5344CB8AC3E}">
        <p14:creationId xmlns:p14="http://schemas.microsoft.com/office/powerpoint/2010/main" val="22050240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F0B9B6-2B1A-E3C1-76E8-E8F7D31297F6}"/>
              </a:ext>
            </a:extLst>
          </p:cNvPr>
          <p:cNvSpPr>
            <a:spLocks noGrp="1"/>
          </p:cNvSpPr>
          <p:nvPr>
            <p:ph type="title"/>
          </p:nvPr>
        </p:nvSpPr>
        <p:spPr/>
        <p:txBody>
          <a:bodyPr/>
          <a:lstStyle/>
          <a:p>
            <a:r>
              <a:rPr lang="en-CA"/>
              <a:t>Solution Components </a:t>
            </a:r>
          </a:p>
        </p:txBody>
      </p:sp>
    </p:spTree>
    <p:extLst>
      <p:ext uri="{BB962C8B-B14F-4D97-AF65-F5344CB8AC3E}">
        <p14:creationId xmlns:p14="http://schemas.microsoft.com/office/powerpoint/2010/main" val="14477585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267D44F3-B999-48B8-956C-02371B2FFA63}"/>
              </a:ext>
            </a:extLst>
          </p:cNvPr>
          <p:cNvGrpSpPr/>
          <p:nvPr/>
        </p:nvGrpSpPr>
        <p:grpSpPr>
          <a:xfrm>
            <a:off x="1932372" y="5342601"/>
            <a:ext cx="595472" cy="438908"/>
            <a:chOff x="1289855" y="5585222"/>
            <a:chExt cx="426534" cy="314388"/>
          </a:xfrm>
        </p:grpSpPr>
        <p:grpSp>
          <p:nvGrpSpPr>
            <p:cNvPr id="31" name="desktop" descr="desktop">
              <a:extLst>
                <a:ext uri="{FF2B5EF4-FFF2-40B4-BE49-F238E27FC236}">
                  <a16:creationId xmlns:a16="http://schemas.microsoft.com/office/drawing/2014/main" id="{66F68AE3-B525-40EC-B215-6351EDBD2EEC}"/>
                </a:ext>
              </a:extLst>
            </p:cNvPr>
            <p:cNvGrpSpPr/>
            <p:nvPr/>
          </p:nvGrpSpPr>
          <p:grpSpPr>
            <a:xfrm>
              <a:off x="1378578" y="5585222"/>
              <a:ext cx="337811" cy="314388"/>
              <a:chOff x="5419125" y="3953316"/>
              <a:chExt cx="391539" cy="364391"/>
            </a:xfrm>
          </p:grpSpPr>
          <p:sp>
            <p:nvSpPr>
              <p:cNvPr id="47" name="Freeform: Shape 46">
                <a:extLst>
                  <a:ext uri="{FF2B5EF4-FFF2-40B4-BE49-F238E27FC236}">
                    <a16:creationId xmlns:a16="http://schemas.microsoft.com/office/drawing/2014/main" id="{1177EED0-6815-4F8B-814E-BCE63DAFA20D}"/>
                  </a:ext>
                </a:extLst>
              </p:cNvPr>
              <p:cNvSpPr/>
              <p:nvPr/>
            </p:nvSpPr>
            <p:spPr>
              <a:xfrm>
                <a:off x="5487735" y="4241952"/>
                <a:ext cx="252869" cy="73414"/>
              </a:xfrm>
              <a:custGeom>
                <a:avLst/>
                <a:gdLst>
                  <a:gd name="connsiteX0" fmla="*/ 185628 w 252869"/>
                  <a:gd name="connsiteY0" fmla="*/ 1293 h 73413"/>
                  <a:gd name="connsiteX1" fmla="*/ 176356 w 252869"/>
                  <a:gd name="connsiteY1" fmla="*/ 1293 h 73413"/>
                  <a:gd name="connsiteX2" fmla="*/ 84944 w 252869"/>
                  <a:gd name="connsiteY2" fmla="*/ 1293 h 73413"/>
                  <a:gd name="connsiteX3" fmla="*/ 80205 w 252869"/>
                  <a:gd name="connsiteY3" fmla="*/ 1293 h 73413"/>
                  <a:gd name="connsiteX4" fmla="*/ 1293 w 252869"/>
                  <a:gd name="connsiteY4" fmla="*/ 52504 h 73413"/>
                  <a:gd name="connsiteX5" fmla="*/ 1293 w 252869"/>
                  <a:gd name="connsiteY5" fmla="*/ 75944 h 73413"/>
                  <a:gd name="connsiteX6" fmla="*/ 96139 w 252869"/>
                  <a:gd name="connsiteY6" fmla="*/ 75944 h 73413"/>
                  <a:gd name="connsiteX7" fmla="*/ 165368 w 252869"/>
                  <a:gd name="connsiteY7" fmla="*/ 75944 h 73413"/>
                  <a:gd name="connsiteX8" fmla="*/ 254856 w 252869"/>
                  <a:gd name="connsiteY8" fmla="*/ 75944 h 73413"/>
                  <a:gd name="connsiteX9" fmla="*/ 254856 w 252869"/>
                  <a:gd name="connsiteY9" fmla="*/ 52504 h 73413"/>
                  <a:gd name="connsiteX10" fmla="*/ 185628 w 252869"/>
                  <a:gd name="connsiteY10" fmla="*/ 1293 h 73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2869" h="73413">
                    <a:moveTo>
                      <a:pt x="185628" y="1293"/>
                    </a:moveTo>
                    <a:lnTo>
                      <a:pt x="176356" y="1293"/>
                    </a:lnTo>
                    <a:lnTo>
                      <a:pt x="84944" y="1293"/>
                    </a:lnTo>
                    <a:lnTo>
                      <a:pt x="80205" y="1293"/>
                    </a:lnTo>
                    <a:cubicBezTo>
                      <a:pt x="92911" y="46111"/>
                      <a:pt x="75879" y="52504"/>
                      <a:pt x="1293" y="52504"/>
                    </a:cubicBezTo>
                    <a:lnTo>
                      <a:pt x="1293" y="75944"/>
                    </a:lnTo>
                    <a:lnTo>
                      <a:pt x="96139" y="75944"/>
                    </a:lnTo>
                    <a:lnTo>
                      <a:pt x="165368" y="75944"/>
                    </a:lnTo>
                    <a:lnTo>
                      <a:pt x="254856" y="75944"/>
                    </a:lnTo>
                    <a:lnTo>
                      <a:pt x="254856" y="52504"/>
                    </a:lnTo>
                    <a:cubicBezTo>
                      <a:pt x="180271" y="52573"/>
                      <a:pt x="172991" y="46180"/>
                      <a:pt x="185628" y="1293"/>
                    </a:cubicBezTo>
                    <a:close/>
                  </a:path>
                </a:pathLst>
              </a:custGeom>
              <a:solidFill>
                <a:schemeClr val="accent1"/>
              </a:solidFill>
              <a:ln w="40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4A1E3665-2CDD-45A9-B6BF-8ABFD6B91689}"/>
                  </a:ext>
                </a:extLst>
              </p:cNvPr>
              <p:cNvSpPr/>
              <p:nvPr/>
            </p:nvSpPr>
            <p:spPr>
              <a:xfrm>
                <a:off x="5487667" y="4293236"/>
                <a:ext cx="252869" cy="24471"/>
              </a:xfrm>
              <a:custGeom>
                <a:avLst/>
                <a:gdLst>
                  <a:gd name="connsiteX0" fmla="*/ 1293 w 252869"/>
                  <a:gd name="connsiteY0" fmla="*/ 24733 h 24471"/>
                  <a:gd name="connsiteX1" fmla="*/ 254925 w 252869"/>
                  <a:gd name="connsiteY1" fmla="*/ 24733 h 24471"/>
                  <a:gd name="connsiteX2" fmla="*/ 254925 w 252869"/>
                  <a:gd name="connsiteY2" fmla="*/ 1293 h 24471"/>
                  <a:gd name="connsiteX3" fmla="*/ 1293 w 252869"/>
                  <a:gd name="connsiteY3" fmla="*/ 1293 h 24471"/>
                  <a:gd name="connsiteX4" fmla="*/ 1293 w 252869"/>
                  <a:gd name="connsiteY4" fmla="*/ 24733 h 24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869" h="24471">
                    <a:moveTo>
                      <a:pt x="1293" y="24733"/>
                    </a:moveTo>
                    <a:lnTo>
                      <a:pt x="254925" y="24733"/>
                    </a:lnTo>
                    <a:lnTo>
                      <a:pt x="254925" y="1293"/>
                    </a:lnTo>
                    <a:lnTo>
                      <a:pt x="1293" y="1293"/>
                    </a:lnTo>
                    <a:lnTo>
                      <a:pt x="1293" y="24733"/>
                    </a:lnTo>
                    <a:close/>
                  </a:path>
                </a:pathLst>
              </a:custGeom>
              <a:solidFill>
                <a:srgbClr val="0078D4"/>
              </a:solidFill>
              <a:ln w="40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12F61744-F23F-42F8-AB24-2C1F81C6A97B}"/>
                  </a:ext>
                </a:extLst>
              </p:cNvPr>
              <p:cNvSpPr/>
              <p:nvPr/>
            </p:nvSpPr>
            <p:spPr>
              <a:xfrm>
                <a:off x="5419125" y="3953316"/>
                <a:ext cx="391539" cy="289576"/>
              </a:xfrm>
              <a:custGeom>
                <a:avLst/>
                <a:gdLst>
                  <a:gd name="connsiteX0" fmla="*/ 392833 w 391539"/>
                  <a:gd name="connsiteY0" fmla="*/ 1293 h 289576"/>
                  <a:gd name="connsiteX1" fmla="*/ 1293 w 391539"/>
                  <a:gd name="connsiteY1" fmla="*/ 1293 h 289576"/>
                  <a:gd name="connsiteX2" fmla="*/ 1293 w 391539"/>
                  <a:gd name="connsiteY2" fmla="*/ 290548 h 289576"/>
                  <a:gd name="connsiteX3" fmla="*/ 392833 w 391539"/>
                  <a:gd name="connsiteY3" fmla="*/ 290548 h 289576"/>
                  <a:gd name="connsiteX4" fmla="*/ 392833 w 391539"/>
                  <a:gd name="connsiteY4" fmla="*/ 1293 h 289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39" h="289576">
                    <a:moveTo>
                      <a:pt x="392833" y="1293"/>
                    </a:moveTo>
                    <a:lnTo>
                      <a:pt x="1293" y="1293"/>
                    </a:lnTo>
                    <a:lnTo>
                      <a:pt x="1293" y="290548"/>
                    </a:lnTo>
                    <a:lnTo>
                      <a:pt x="392833" y="290548"/>
                    </a:lnTo>
                    <a:lnTo>
                      <a:pt x="392833" y="1293"/>
                    </a:lnTo>
                    <a:close/>
                  </a:path>
                </a:pathLst>
              </a:custGeom>
              <a:solidFill>
                <a:srgbClr val="0078D4"/>
              </a:solidFill>
              <a:ln w="40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9355B747-43D4-4671-9BDF-10421398C65D}"/>
                  </a:ext>
                </a:extLst>
              </p:cNvPr>
              <p:cNvSpPr/>
              <p:nvPr/>
            </p:nvSpPr>
            <p:spPr>
              <a:xfrm>
                <a:off x="5439868" y="3974011"/>
                <a:ext cx="350754" cy="248791"/>
              </a:xfrm>
              <a:custGeom>
                <a:avLst/>
                <a:gdLst>
                  <a:gd name="connsiteX0" fmla="*/ 351007 w 350754"/>
                  <a:gd name="connsiteY0" fmla="*/ 1293 h 248790"/>
                  <a:gd name="connsiteX1" fmla="*/ 1293 w 350754"/>
                  <a:gd name="connsiteY1" fmla="*/ 1293 h 248790"/>
                  <a:gd name="connsiteX2" fmla="*/ 1293 w 350754"/>
                  <a:gd name="connsiteY2" fmla="*/ 248686 h 248790"/>
                  <a:gd name="connsiteX3" fmla="*/ 351007 w 350754"/>
                  <a:gd name="connsiteY3" fmla="*/ 248686 h 248790"/>
                  <a:gd name="connsiteX4" fmla="*/ 351007 w 350754"/>
                  <a:gd name="connsiteY4" fmla="*/ 1293 h 248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754" h="248790">
                    <a:moveTo>
                      <a:pt x="351007" y="1293"/>
                    </a:moveTo>
                    <a:lnTo>
                      <a:pt x="1293" y="1293"/>
                    </a:lnTo>
                    <a:lnTo>
                      <a:pt x="1293" y="248686"/>
                    </a:lnTo>
                    <a:lnTo>
                      <a:pt x="351007" y="248686"/>
                    </a:lnTo>
                    <a:lnTo>
                      <a:pt x="351007" y="1293"/>
                    </a:lnTo>
                    <a:close/>
                  </a:path>
                </a:pathLst>
              </a:custGeom>
              <a:solidFill>
                <a:srgbClr val="50E6FF"/>
              </a:solidFill>
              <a:ln w="40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2" name="Group 31" descr="chip">
              <a:extLst>
                <a:ext uri="{FF2B5EF4-FFF2-40B4-BE49-F238E27FC236}">
                  <a16:creationId xmlns:a16="http://schemas.microsoft.com/office/drawing/2014/main" id="{4290D2FD-7588-4F18-926F-5818FFDE63BE}"/>
                </a:ext>
              </a:extLst>
            </p:cNvPr>
            <p:cNvGrpSpPr/>
            <p:nvPr/>
          </p:nvGrpSpPr>
          <p:grpSpPr>
            <a:xfrm>
              <a:off x="1289855" y="5691188"/>
              <a:ext cx="196327" cy="197359"/>
              <a:chOff x="3149601" y="2824164"/>
              <a:chExt cx="301626" cy="303212"/>
            </a:xfrm>
          </p:grpSpPr>
          <p:sp>
            <p:nvSpPr>
              <p:cNvPr id="33" name="Freeform 67">
                <a:extLst>
                  <a:ext uri="{FF2B5EF4-FFF2-40B4-BE49-F238E27FC236}">
                    <a16:creationId xmlns:a16="http://schemas.microsoft.com/office/drawing/2014/main" id="{B357F2D9-0689-4626-9B80-438072D84F8F}"/>
                  </a:ext>
                </a:extLst>
              </p:cNvPr>
              <p:cNvSpPr>
                <a:spLocks/>
              </p:cNvSpPr>
              <p:nvPr/>
            </p:nvSpPr>
            <p:spPr bwMode="auto">
              <a:xfrm>
                <a:off x="3187701" y="2862264"/>
                <a:ext cx="225425" cy="225425"/>
              </a:xfrm>
              <a:custGeom>
                <a:avLst/>
                <a:gdLst>
                  <a:gd name="T0" fmla="*/ 109 w 134"/>
                  <a:gd name="T1" fmla="*/ 0 h 134"/>
                  <a:gd name="T2" fmla="*/ 25 w 134"/>
                  <a:gd name="T3" fmla="*/ 0 h 134"/>
                  <a:gd name="T4" fmla="*/ 0 w 134"/>
                  <a:gd name="T5" fmla="*/ 25 h 134"/>
                  <a:gd name="T6" fmla="*/ 0 w 134"/>
                  <a:gd name="T7" fmla="*/ 109 h 134"/>
                  <a:gd name="T8" fmla="*/ 25 w 134"/>
                  <a:gd name="T9" fmla="*/ 134 h 134"/>
                  <a:gd name="T10" fmla="*/ 109 w 134"/>
                  <a:gd name="T11" fmla="*/ 134 h 134"/>
                  <a:gd name="T12" fmla="*/ 134 w 134"/>
                  <a:gd name="T13" fmla="*/ 109 h 134"/>
                  <a:gd name="T14" fmla="*/ 134 w 134"/>
                  <a:gd name="T15" fmla="*/ 25 h 134"/>
                  <a:gd name="T16" fmla="*/ 109 w 134"/>
                  <a:gd name="T17"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34">
                    <a:moveTo>
                      <a:pt x="109" y="0"/>
                    </a:moveTo>
                    <a:cubicBezTo>
                      <a:pt x="25" y="0"/>
                      <a:pt x="25" y="0"/>
                      <a:pt x="25" y="0"/>
                    </a:cubicBezTo>
                    <a:cubicBezTo>
                      <a:pt x="11" y="0"/>
                      <a:pt x="0" y="11"/>
                      <a:pt x="0" y="25"/>
                    </a:cubicBezTo>
                    <a:cubicBezTo>
                      <a:pt x="0" y="109"/>
                      <a:pt x="0" y="109"/>
                      <a:pt x="0" y="109"/>
                    </a:cubicBezTo>
                    <a:cubicBezTo>
                      <a:pt x="0" y="123"/>
                      <a:pt x="11" y="134"/>
                      <a:pt x="25" y="134"/>
                    </a:cubicBezTo>
                    <a:cubicBezTo>
                      <a:pt x="109" y="134"/>
                      <a:pt x="109" y="134"/>
                      <a:pt x="109" y="134"/>
                    </a:cubicBezTo>
                    <a:cubicBezTo>
                      <a:pt x="123" y="134"/>
                      <a:pt x="134" y="123"/>
                      <a:pt x="134" y="109"/>
                    </a:cubicBezTo>
                    <a:cubicBezTo>
                      <a:pt x="134" y="25"/>
                      <a:pt x="134" y="25"/>
                      <a:pt x="134" y="25"/>
                    </a:cubicBezTo>
                    <a:cubicBezTo>
                      <a:pt x="134" y="11"/>
                      <a:pt x="123" y="0"/>
                      <a:pt x="109"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4" name="Line 68">
                <a:extLst>
                  <a:ext uri="{FF2B5EF4-FFF2-40B4-BE49-F238E27FC236}">
                    <a16:creationId xmlns:a16="http://schemas.microsoft.com/office/drawing/2014/main" id="{8BE4F176-F2EA-42FD-8865-324793C16BD3}"/>
                  </a:ext>
                </a:extLst>
              </p:cNvPr>
              <p:cNvSpPr>
                <a:spLocks noChangeShapeType="1"/>
              </p:cNvSpPr>
              <p:nvPr/>
            </p:nvSpPr>
            <p:spPr bwMode="auto">
              <a:xfrm>
                <a:off x="3300414" y="2824164"/>
                <a:ext cx="0" cy="73025"/>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5" name="Line 69">
                <a:extLst>
                  <a:ext uri="{FF2B5EF4-FFF2-40B4-BE49-F238E27FC236}">
                    <a16:creationId xmlns:a16="http://schemas.microsoft.com/office/drawing/2014/main" id="{24CB38DB-48E2-42C2-AE9E-9AB886C73D4E}"/>
                  </a:ext>
                </a:extLst>
              </p:cNvPr>
              <p:cNvSpPr>
                <a:spLocks noChangeShapeType="1"/>
              </p:cNvSpPr>
              <p:nvPr/>
            </p:nvSpPr>
            <p:spPr bwMode="auto">
              <a:xfrm>
                <a:off x="3248026" y="2824164"/>
                <a:ext cx="0" cy="73025"/>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6" name="Line 70">
                <a:extLst>
                  <a:ext uri="{FF2B5EF4-FFF2-40B4-BE49-F238E27FC236}">
                    <a16:creationId xmlns:a16="http://schemas.microsoft.com/office/drawing/2014/main" id="{BD6C3323-CDB9-4DAD-B94F-5330C9D1D84A}"/>
                  </a:ext>
                </a:extLst>
              </p:cNvPr>
              <p:cNvSpPr>
                <a:spLocks noChangeShapeType="1"/>
              </p:cNvSpPr>
              <p:nvPr/>
            </p:nvSpPr>
            <p:spPr bwMode="auto">
              <a:xfrm>
                <a:off x="3352801" y="2824164"/>
                <a:ext cx="0" cy="73025"/>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7" name="Line 71">
                <a:extLst>
                  <a:ext uri="{FF2B5EF4-FFF2-40B4-BE49-F238E27FC236}">
                    <a16:creationId xmlns:a16="http://schemas.microsoft.com/office/drawing/2014/main" id="{5AAEC45D-B87F-4582-95E6-BC974D9F83A3}"/>
                  </a:ext>
                </a:extLst>
              </p:cNvPr>
              <p:cNvSpPr>
                <a:spLocks noChangeShapeType="1"/>
              </p:cNvSpPr>
              <p:nvPr/>
            </p:nvSpPr>
            <p:spPr bwMode="auto">
              <a:xfrm>
                <a:off x="3300414" y="3054351"/>
                <a:ext cx="0" cy="73025"/>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8" name="Line 72">
                <a:extLst>
                  <a:ext uri="{FF2B5EF4-FFF2-40B4-BE49-F238E27FC236}">
                    <a16:creationId xmlns:a16="http://schemas.microsoft.com/office/drawing/2014/main" id="{763D7D02-C27A-4D13-9C62-B58558EFDFD6}"/>
                  </a:ext>
                </a:extLst>
              </p:cNvPr>
              <p:cNvSpPr>
                <a:spLocks noChangeShapeType="1"/>
              </p:cNvSpPr>
              <p:nvPr/>
            </p:nvSpPr>
            <p:spPr bwMode="auto">
              <a:xfrm>
                <a:off x="3248026" y="3054351"/>
                <a:ext cx="0" cy="73025"/>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9" name="Line 73">
                <a:extLst>
                  <a:ext uri="{FF2B5EF4-FFF2-40B4-BE49-F238E27FC236}">
                    <a16:creationId xmlns:a16="http://schemas.microsoft.com/office/drawing/2014/main" id="{6D916755-157F-499B-BA29-0A6BB55C70C4}"/>
                  </a:ext>
                </a:extLst>
              </p:cNvPr>
              <p:cNvSpPr>
                <a:spLocks noChangeShapeType="1"/>
              </p:cNvSpPr>
              <p:nvPr/>
            </p:nvSpPr>
            <p:spPr bwMode="auto">
              <a:xfrm>
                <a:off x="3352801" y="3054351"/>
                <a:ext cx="0" cy="73025"/>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0" name="Line 74">
                <a:extLst>
                  <a:ext uri="{FF2B5EF4-FFF2-40B4-BE49-F238E27FC236}">
                    <a16:creationId xmlns:a16="http://schemas.microsoft.com/office/drawing/2014/main" id="{17C0F283-5DCB-4EE6-8C55-769EBA5D804B}"/>
                  </a:ext>
                </a:extLst>
              </p:cNvPr>
              <p:cNvSpPr>
                <a:spLocks noChangeShapeType="1"/>
              </p:cNvSpPr>
              <p:nvPr/>
            </p:nvSpPr>
            <p:spPr bwMode="auto">
              <a:xfrm>
                <a:off x="3149601" y="2974976"/>
                <a:ext cx="73025" cy="0"/>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1" name="Line 75">
                <a:extLst>
                  <a:ext uri="{FF2B5EF4-FFF2-40B4-BE49-F238E27FC236}">
                    <a16:creationId xmlns:a16="http://schemas.microsoft.com/office/drawing/2014/main" id="{F457EF37-D121-4FC7-8B2C-38F743C78049}"/>
                  </a:ext>
                </a:extLst>
              </p:cNvPr>
              <p:cNvSpPr>
                <a:spLocks noChangeShapeType="1"/>
              </p:cNvSpPr>
              <p:nvPr/>
            </p:nvSpPr>
            <p:spPr bwMode="auto">
              <a:xfrm>
                <a:off x="3149601" y="3027364"/>
                <a:ext cx="73025" cy="0"/>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2" name="Line 76">
                <a:extLst>
                  <a:ext uri="{FF2B5EF4-FFF2-40B4-BE49-F238E27FC236}">
                    <a16:creationId xmlns:a16="http://schemas.microsoft.com/office/drawing/2014/main" id="{838A8C92-D305-4883-9F9B-E9E27497C07B}"/>
                  </a:ext>
                </a:extLst>
              </p:cNvPr>
              <p:cNvSpPr>
                <a:spLocks noChangeShapeType="1"/>
              </p:cNvSpPr>
              <p:nvPr/>
            </p:nvSpPr>
            <p:spPr bwMode="auto">
              <a:xfrm>
                <a:off x="3149601" y="2925764"/>
                <a:ext cx="73025" cy="0"/>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3" name="Line 77">
                <a:extLst>
                  <a:ext uri="{FF2B5EF4-FFF2-40B4-BE49-F238E27FC236}">
                    <a16:creationId xmlns:a16="http://schemas.microsoft.com/office/drawing/2014/main" id="{EAF8FABB-EEAE-411C-A6F0-EC9D8F8AB3B9}"/>
                  </a:ext>
                </a:extLst>
              </p:cNvPr>
              <p:cNvSpPr>
                <a:spLocks noChangeShapeType="1"/>
              </p:cNvSpPr>
              <p:nvPr/>
            </p:nvSpPr>
            <p:spPr bwMode="auto">
              <a:xfrm>
                <a:off x="3379789" y="2974976"/>
                <a:ext cx="71438" cy="0"/>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4" name="Line 78">
                <a:extLst>
                  <a:ext uri="{FF2B5EF4-FFF2-40B4-BE49-F238E27FC236}">
                    <a16:creationId xmlns:a16="http://schemas.microsoft.com/office/drawing/2014/main" id="{F9994F4E-71B8-49DE-8967-F867ED17C703}"/>
                  </a:ext>
                </a:extLst>
              </p:cNvPr>
              <p:cNvSpPr>
                <a:spLocks noChangeShapeType="1"/>
              </p:cNvSpPr>
              <p:nvPr/>
            </p:nvSpPr>
            <p:spPr bwMode="auto">
              <a:xfrm>
                <a:off x="3379789" y="3027364"/>
                <a:ext cx="71438" cy="0"/>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5" name="Line 79">
                <a:extLst>
                  <a:ext uri="{FF2B5EF4-FFF2-40B4-BE49-F238E27FC236}">
                    <a16:creationId xmlns:a16="http://schemas.microsoft.com/office/drawing/2014/main" id="{ED10B28A-A153-4927-9360-487E89A8EB7C}"/>
                  </a:ext>
                </a:extLst>
              </p:cNvPr>
              <p:cNvSpPr>
                <a:spLocks noChangeShapeType="1"/>
              </p:cNvSpPr>
              <p:nvPr/>
            </p:nvSpPr>
            <p:spPr bwMode="auto">
              <a:xfrm>
                <a:off x="3379789" y="2925764"/>
                <a:ext cx="71438" cy="0"/>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6" name="Rectangle 45">
                <a:extLst>
                  <a:ext uri="{FF2B5EF4-FFF2-40B4-BE49-F238E27FC236}">
                    <a16:creationId xmlns:a16="http://schemas.microsoft.com/office/drawing/2014/main" id="{671E396D-7F2F-4A6D-86E9-2D6113DA433C}"/>
                  </a:ext>
                </a:extLst>
              </p:cNvPr>
              <p:cNvSpPr>
                <a:spLocks noChangeArrowheads="1"/>
              </p:cNvSpPr>
              <p:nvPr/>
            </p:nvSpPr>
            <p:spPr bwMode="auto">
              <a:xfrm>
                <a:off x="3238501" y="2913064"/>
                <a:ext cx="123825" cy="125413"/>
              </a:xfrm>
              <a:prstGeom prst="rect">
                <a:avLst/>
              </a:prstGeom>
              <a:solidFill>
                <a:srgbClr val="4FE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11" name="Rectangle 10">
            <a:extLst>
              <a:ext uri="{FF2B5EF4-FFF2-40B4-BE49-F238E27FC236}">
                <a16:creationId xmlns:a16="http://schemas.microsoft.com/office/drawing/2014/main" id="{B7A38689-7833-4EA5-BC2E-1C4B1B465592}"/>
              </a:ext>
            </a:extLst>
          </p:cNvPr>
          <p:cNvSpPr/>
          <p:nvPr/>
        </p:nvSpPr>
        <p:spPr bwMode="auto">
          <a:xfrm>
            <a:off x="2765497" y="5220416"/>
            <a:ext cx="5463525" cy="3186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5" tIns="91415" rIns="91415" bIns="91415" numCol="1" spcCol="0" rtlCol="0" fromWordArt="0" anchor="ctr" anchorCtr="0" forceAA="0" compatLnSpc="1">
            <a:prstTxWarp prst="textNoShape">
              <a:avLst/>
            </a:prstTxWarp>
            <a:noAutofit/>
          </a:bodyPr>
          <a:lstStyle/>
          <a:p>
            <a:pPr marL="0" marR="0" lvl="0" indent="0" algn="l" defTabSz="932198"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30" normalizeH="0" baseline="0" noProof="0">
                <a:ln>
                  <a:noFill/>
                </a:ln>
                <a:solidFill>
                  <a:srgbClr val="EF87ED"/>
                </a:solidFill>
                <a:effectLst/>
                <a:uLnTx/>
                <a:uFillTx/>
                <a:latin typeface="Segoe UI Semibold"/>
                <a:ea typeface="Segoe UI" pitchFamily="34" charset="0"/>
                <a:cs typeface="Segoe UI" pitchFamily="34" charset="0"/>
              </a:rPr>
              <a:t>Optimized Compute</a:t>
            </a:r>
          </a:p>
        </p:txBody>
      </p:sp>
      <p:sp>
        <p:nvSpPr>
          <p:cNvPr id="5" name="TextBox 4">
            <a:extLst>
              <a:ext uri="{FF2B5EF4-FFF2-40B4-BE49-F238E27FC236}">
                <a16:creationId xmlns:a16="http://schemas.microsoft.com/office/drawing/2014/main" id="{0923BA6E-EAF2-43E9-809E-A59B9CC5D37B}"/>
              </a:ext>
            </a:extLst>
          </p:cNvPr>
          <p:cNvSpPr txBox="1"/>
          <p:nvPr/>
        </p:nvSpPr>
        <p:spPr>
          <a:xfrm>
            <a:off x="2895588" y="5688250"/>
            <a:ext cx="2163244"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H-Series</a:t>
            </a:r>
          </a:p>
        </p:txBody>
      </p:sp>
      <p:sp>
        <p:nvSpPr>
          <p:cNvPr id="77" name="TextBox 76">
            <a:extLst>
              <a:ext uri="{FF2B5EF4-FFF2-40B4-BE49-F238E27FC236}">
                <a16:creationId xmlns:a16="http://schemas.microsoft.com/office/drawing/2014/main" id="{1EA11DE6-5307-4463-9241-A5489DFD16BB}"/>
              </a:ext>
            </a:extLst>
          </p:cNvPr>
          <p:cNvSpPr txBox="1"/>
          <p:nvPr/>
        </p:nvSpPr>
        <p:spPr>
          <a:xfrm>
            <a:off x="5253831" y="5688250"/>
            <a:ext cx="216324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N-Series</a:t>
            </a:r>
          </a:p>
        </p:txBody>
      </p:sp>
      <p:sp>
        <p:nvSpPr>
          <p:cNvPr id="168" name="TextBox 167">
            <a:extLst>
              <a:ext uri="{FF2B5EF4-FFF2-40B4-BE49-F238E27FC236}">
                <a16:creationId xmlns:a16="http://schemas.microsoft.com/office/drawing/2014/main" id="{D947991A-2382-4A72-B3CF-33F64767DEB4}"/>
              </a:ext>
            </a:extLst>
          </p:cNvPr>
          <p:cNvSpPr txBox="1"/>
          <p:nvPr/>
        </p:nvSpPr>
        <p:spPr>
          <a:xfrm>
            <a:off x="7437998" y="5688250"/>
            <a:ext cx="2163244"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Cray</a:t>
            </a:r>
          </a:p>
        </p:txBody>
      </p:sp>
      <p:cxnSp>
        <p:nvCxnSpPr>
          <p:cNvPr id="7" name="Straight Connector 6">
            <a:extLst>
              <a:ext uri="{FF2B5EF4-FFF2-40B4-BE49-F238E27FC236}">
                <a16:creationId xmlns:a16="http://schemas.microsoft.com/office/drawing/2014/main" id="{C1D26BD6-4D66-42E1-B3CC-9F1A9EAFA065}"/>
              </a:ext>
            </a:extLst>
          </p:cNvPr>
          <p:cNvCxnSpPr>
            <a:cxnSpLocks/>
          </p:cNvCxnSpPr>
          <p:nvPr/>
        </p:nvCxnSpPr>
        <p:spPr>
          <a:xfrm>
            <a:off x="2871281" y="5621188"/>
            <a:ext cx="6696000" cy="0"/>
          </a:xfrm>
          <a:prstGeom prst="line">
            <a:avLst/>
          </a:prstGeom>
          <a:solidFill>
            <a:schemeClr val="bg1"/>
          </a:solidFill>
          <a:ln w="22225">
            <a:solidFill>
              <a:srgbClr val="F89AF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50" name="storage 1" descr="storage">
            <a:extLst>
              <a:ext uri="{FF2B5EF4-FFF2-40B4-BE49-F238E27FC236}">
                <a16:creationId xmlns:a16="http://schemas.microsoft.com/office/drawing/2014/main" id="{2117EADF-5ABC-4DB1-A96F-CA93BB7F751E}"/>
              </a:ext>
            </a:extLst>
          </p:cNvPr>
          <p:cNvGrpSpPr/>
          <p:nvPr/>
        </p:nvGrpSpPr>
        <p:grpSpPr>
          <a:xfrm>
            <a:off x="2006733" y="4314534"/>
            <a:ext cx="446751" cy="485967"/>
            <a:chOff x="4501240" y="2176494"/>
            <a:chExt cx="344605" cy="374856"/>
          </a:xfrm>
        </p:grpSpPr>
        <p:sp>
          <p:nvSpPr>
            <p:cNvPr id="151" name="Freeform 5">
              <a:extLst>
                <a:ext uri="{FF2B5EF4-FFF2-40B4-BE49-F238E27FC236}">
                  <a16:creationId xmlns:a16="http://schemas.microsoft.com/office/drawing/2014/main" id="{120E153B-7C45-4B8B-87CD-EEED03858D80}"/>
                </a:ext>
              </a:extLst>
            </p:cNvPr>
            <p:cNvSpPr>
              <a:spLocks/>
            </p:cNvSpPr>
            <p:nvPr/>
          </p:nvSpPr>
          <p:spPr bwMode="auto">
            <a:xfrm>
              <a:off x="4507816" y="2180440"/>
              <a:ext cx="328821" cy="118376"/>
            </a:xfrm>
            <a:custGeom>
              <a:avLst/>
              <a:gdLst>
                <a:gd name="T0" fmla="*/ 335 w 335"/>
                <a:gd name="T1" fmla="*/ 120 h 120"/>
                <a:gd name="T2" fmla="*/ 5 w 335"/>
                <a:gd name="T3" fmla="*/ 120 h 120"/>
                <a:gd name="T4" fmla="*/ 5 w 335"/>
                <a:gd name="T5" fmla="*/ 46 h 120"/>
                <a:gd name="T6" fmla="*/ 166 w 335"/>
                <a:gd name="T7" fmla="*/ 5 h 120"/>
                <a:gd name="T8" fmla="*/ 335 w 335"/>
                <a:gd name="T9" fmla="*/ 46 h 120"/>
                <a:gd name="T10" fmla="*/ 335 w 335"/>
                <a:gd name="T11" fmla="*/ 120 h 120"/>
              </a:gdLst>
              <a:ahLst/>
              <a:cxnLst>
                <a:cxn ang="0">
                  <a:pos x="T0" y="T1"/>
                </a:cxn>
                <a:cxn ang="0">
                  <a:pos x="T2" y="T3"/>
                </a:cxn>
                <a:cxn ang="0">
                  <a:pos x="T4" y="T5"/>
                </a:cxn>
                <a:cxn ang="0">
                  <a:pos x="T6" y="T7"/>
                </a:cxn>
                <a:cxn ang="0">
                  <a:pos x="T8" y="T9"/>
                </a:cxn>
                <a:cxn ang="0">
                  <a:pos x="T10" y="T11"/>
                </a:cxn>
              </a:cxnLst>
              <a:rect l="0" t="0" r="r" b="b"/>
              <a:pathLst>
                <a:path w="335" h="120">
                  <a:moveTo>
                    <a:pt x="335" y="120"/>
                  </a:moveTo>
                  <a:cubicBezTo>
                    <a:pt x="5" y="120"/>
                    <a:pt x="5" y="120"/>
                    <a:pt x="5" y="120"/>
                  </a:cubicBezTo>
                  <a:cubicBezTo>
                    <a:pt x="5" y="46"/>
                    <a:pt x="5" y="46"/>
                    <a:pt x="5" y="46"/>
                  </a:cubicBezTo>
                  <a:cubicBezTo>
                    <a:pt x="5" y="46"/>
                    <a:pt x="0" y="10"/>
                    <a:pt x="166" y="5"/>
                  </a:cubicBezTo>
                  <a:cubicBezTo>
                    <a:pt x="331" y="0"/>
                    <a:pt x="335" y="46"/>
                    <a:pt x="335" y="46"/>
                  </a:cubicBezTo>
                  <a:lnTo>
                    <a:pt x="335" y="12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6">
              <a:extLst>
                <a:ext uri="{FF2B5EF4-FFF2-40B4-BE49-F238E27FC236}">
                  <a16:creationId xmlns:a16="http://schemas.microsoft.com/office/drawing/2014/main" id="{E25EA278-EC64-4A5F-AD6B-465BDE78E52D}"/>
                </a:ext>
              </a:extLst>
            </p:cNvPr>
            <p:cNvSpPr>
              <a:spLocks noEditPoints="1"/>
            </p:cNvSpPr>
            <p:nvPr/>
          </p:nvSpPr>
          <p:spPr bwMode="auto">
            <a:xfrm>
              <a:off x="4501240" y="2176494"/>
              <a:ext cx="344605" cy="172302"/>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53" name="Freeform 7">
              <a:extLst>
                <a:ext uri="{FF2B5EF4-FFF2-40B4-BE49-F238E27FC236}">
                  <a16:creationId xmlns:a16="http://schemas.microsoft.com/office/drawing/2014/main" id="{8FAD3E48-CB2F-47F0-8659-EAD660F18397}"/>
                </a:ext>
              </a:extLst>
            </p:cNvPr>
            <p:cNvSpPr>
              <a:spLocks/>
            </p:cNvSpPr>
            <p:nvPr/>
          </p:nvSpPr>
          <p:spPr bwMode="auto">
            <a:xfrm>
              <a:off x="4501240" y="2329066"/>
              <a:ext cx="344605" cy="123637"/>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54" name="Freeform 8">
              <a:extLst>
                <a:ext uri="{FF2B5EF4-FFF2-40B4-BE49-F238E27FC236}">
                  <a16:creationId xmlns:a16="http://schemas.microsoft.com/office/drawing/2014/main" id="{B3ECA1E7-5EF4-40BB-9BF5-B849EA0D6D56}"/>
                </a:ext>
              </a:extLst>
            </p:cNvPr>
            <p:cNvSpPr>
              <a:spLocks/>
            </p:cNvSpPr>
            <p:nvPr/>
          </p:nvSpPr>
          <p:spPr bwMode="auto">
            <a:xfrm>
              <a:off x="4501240" y="2432974"/>
              <a:ext cx="344605" cy="118376"/>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9" name="Rectangle 148">
            <a:extLst>
              <a:ext uri="{FF2B5EF4-FFF2-40B4-BE49-F238E27FC236}">
                <a16:creationId xmlns:a16="http://schemas.microsoft.com/office/drawing/2014/main" id="{A6002F62-EE1B-4229-B84E-6E7A0544B89D}"/>
              </a:ext>
            </a:extLst>
          </p:cNvPr>
          <p:cNvSpPr/>
          <p:nvPr/>
        </p:nvSpPr>
        <p:spPr bwMode="auto">
          <a:xfrm>
            <a:off x="2765497" y="4207083"/>
            <a:ext cx="5463525" cy="3186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5" tIns="91415" rIns="91415" bIns="91415" numCol="1" spcCol="0" rtlCol="0" fromWordArt="0" anchor="ctr" anchorCtr="0" forceAA="0" compatLnSpc="1">
            <a:prstTxWarp prst="textNoShape">
              <a:avLst/>
            </a:prstTxWarp>
            <a:noAutofit/>
          </a:bodyPr>
          <a:lstStyle/>
          <a:p>
            <a:pPr marL="0" marR="0" lvl="0" indent="0" algn="l" defTabSz="932198"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30" normalizeH="0" baseline="0" noProof="0">
                <a:ln>
                  <a:noFill/>
                </a:ln>
                <a:solidFill>
                  <a:srgbClr val="EF87ED"/>
                </a:solidFill>
                <a:effectLst/>
                <a:uLnTx/>
                <a:uFillTx/>
                <a:latin typeface="Segoe UI Semibold"/>
                <a:ea typeface="Segoe UI" pitchFamily="34" charset="0"/>
                <a:cs typeface="Segoe UI" pitchFamily="34" charset="0"/>
              </a:rPr>
              <a:t>High Performing Storage</a:t>
            </a:r>
          </a:p>
        </p:txBody>
      </p:sp>
      <p:sp>
        <p:nvSpPr>
          <p:cNvPr id="169" name="TextBox 168">
            <a:extLst>
              <a:ext uri="{FF2B5EF4-FFF2-40B4-BE49-F238E27FC236}">
                <a16:creationId xmlns:a16="http://schemas.microsoft.com/office/drawing/2014/main" id="{736AFF61-E8CD-4D0B-9595-F4BF1800E3F2}"/>
              </a:ext>
            </a:extLst>
          </p:cNvPr>
          <p:cNvSpPr txBox="1"/>
          <p:nvPr/>
        </p:nvSpPr>
        <p:spPr>
          <a:xfrm>
            <a:off x="2895588" y="4692507"/>
            <a:ext cx="2163244"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zure HPC Cache</a:t>
            </a:r>
          </a:p>
        </p:txBody>
      </p:sp>
      <p:sp>
        <p:nvSpPr>
          <p:cNvPr id="170" name="TextBox 169">
            <a:extLst>
              <a:ext uri="{FF2B5EF4-FFF2-40B4-BE49-F238E27FC236}">
                <a16:creationId xmlns:a16="http://schemas.microsoft.com/office/drawing/2014/main" id="{7F63C23B-1E87-4DD5-BF69-68203C510A44}"/>
              </a:ext>
            </a:extLst>
          </p:cNvPr>
          <p:cNvSpPr txBox="1"/>
          <p:nvPr/>
        </p:nvSpPr>
        <p:spPr>
          <a:xfrm>
            <a:off x="5253831" y="4692507"/>
            <a:ext cx="216324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zure NetApp Files</a:t>
            </a:r>
          </a:p>
        </p:txBody>
      </p:sp>
      <p:sp>
        <p:nvSpPr>
          <p:cNvPr id="224" name="TextBox 223">
            <a:extLst>
              <a:ext uri="{FF2B5EF4-FFF2-40B4-BE49-F238E27FC236}">
                <a16:creationId xmlns:a16="http://schemas.microsoft.com/office/drawing/2014/main" id="{C8E91E92-E03D-4B40-A2BC-9556CA881101}"/>
              </a:ext>
            </a:extLst>
          </p:cNvPr>
          <p:cNvSpPr txBox="1"/>
          <p:nvPr/>
        </p:nvSpPr>
        <p:spPr>
          <a:xfrm>
            <a:off x="7437998" y="4692507"/>
            <a:ext cx="2163244"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gradFill>
                  <a:gsLst>
                    <a:gs pos="2917">
                      <a:srgbClr val="FFFFFF"/>
                    </a:gs>
                    <a:gs pos="30000">
                      <a:srgbClr val="FFFFFF"/>
                    </a:gs>
                  </a:gsLst>
                  <a:lin ang="5400000" scaled="0"/>
                </a:gradFill>
                <a:effectLst/>
                <a:uLnTx/>
                <a:uFillTx/>
                <a:latin typeface="Segoe UI"/>
                <a:ea typeface="+mn-ea"/>
                <a:cs typeface="+mn-cs"/>
              </a:rPr>
              <a:t>Clusterstore</a:t>
            </a:r>
            <a:endPar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endParaRPr>
          </a:p>
        </p:txBody>
      </p:sp>
      <p:cxnSp>
        <p:nvCxnSpPr>
          <p:cNvPr id="148" name="Straight Connector 147">
            <a:extLst>
              <a:ext uri="{FF2B5EF4-FFF2-40B4-BE49-F238E27FC236}">
                <a16:creationId xmlns:a16="http://schemas.microsoft.com/office/drawing/2014/main" id="{C04655BA-B96A-4E97-990E-F6BA0D94540B}"/>
              </a:ext>
            </a:extLst>
          </p:cNvPr>
          <p:cNvCxnSpPr>
            <a:cxnSpLocks/>
          </p:cNvCxnSpPr>
          <p:nvPr/>
        </p:nvCxnSpPr>
        <p:spPr>
          <a:xfrm>
            <a:off x="2862015" y="4602295"/>
            <a:ext cx="6696000" cy="0"/>
          </a:xfrm>
          <a:prstGeom prst="line">
            <a:avLst/>
          </a:prstGeom>
          <a:solidFill>
            <a:schemeClr val="bg1"/>
          </a:solidFill>
          <a:ln w="22225">
            <a:solidFill>
              <a:srgbClr val="F89AF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55" name="reservations" descr="reservations, get started">
            <a:extLst>
              <a:ext uri="{FF2B5EF4-FFF2-40B4-BE49-F238E27FC236}">
                <a16:creationId xmlns:a16="http://schemas.microsoft.com/office/drawing/2014/main" id="{44979F38-7AE5-4CDB-A26A-09CD0444D0C9}"/>
              </a:ext>
            </a:extLst>
          </p:cNvPr>
          <p:cNvGrpSpPr/>
          <p:nvPr/>
        </p:nvGrpSpPr>
        <p:grpSpPr>
          <a:xfrm>
            <a:off x="1898317" y="2242159"/>
            <a:ext cx="663582" cy="663582"/>
            <a:chOff x="7288760" y="3860995"/>
            <a:chExt cx="476020" cy="476020"/>
          </a:xfrm>
        </p:grpSpPr>
        <p:sp>
          <p:nvSpPr>
            <p:cNvPr id="156" name="Freeform: Shape 155">
              <a:extLst>
                <a:ext uri="{FF2B5EF4-FFF2-40B4-BE49-F238E27FC236}">
                  <a16:creationId xmlns:a16="http://schemas.microsoft.com/office/drawing/2014/main" id="{6C68042B-9AEC-4376-AB71-08B8DA02B914}"/>
                </a:ext>
              </a:extLst>
            </p:cNvPr>
            <p:cNvSpPr/>
            <p:nvPr/>
          </p:nvSpPr>
          <p:spPr>
            <a:xfrm>
              <a:off x="7537125" y="3986818"/>
              <a:ext cx="99171" cy="99171"/>
            </a:xfrm>
            <a:custGeom>
              <a:avLst/>
              <a:gdLst>
                <a:gd name="connsiteX0" fmla="*/ 99924 w 99170"/>
                <a:gd name="connsiteY0" fmla="*/ 99925 h 99170"/>
                <a:gd name="connsiteX1" fmla="*/ 99924 w 99170"/>
                <a:gd name="connsiteY1" fmla="*/ 1898 h 99170"/>
                <a:gd name="connsiteX2" fmla="*/ 1898 w 99170"/>
                <a:gd name="connsiteY2" fmla="*/ 1898 h 99170"/>
                <a:gd name="connsiteX3" fmla="*/ 1898 w 99170"/>
                <a:gd name="connsiteY3" fmla="*/ 99925 h 99170"/>
                <a:gd name="connsiteX4" fmla="*/ 99924 w 99170"/>
                <a:gd name="connsiteY4" fmla="*/ 99925 h 99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70" h="99170">
                  <a:moveTo>
                    <a:pt x="99924" y="99925"/>
                  </a:moveTo>
                  <a:lnTo>
                    <a:pt x="99924" y="1898"/>
                  </a:lnTo>
                  <a:lnTo>
                    <a:pt x="1898" y="1898"/>
                  </a:lnTo>
                  <a:lnTo>
                    <a:pt x="1898" y="99925"/>
                  </a:lnTo>
                  <a:lnTo>
                    <a:pt x="99924" y="99925"/>
                  </a:lnTo>
                  <a:close/>
                </a:path>
              </a:pathLst>
            </a:custGeom>
            <a:solidFill>
              <a:srgbClr val="0078D4"/>
            </a:solidFill>
            <a:ln w="48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F074D67A-D200-4AC1-AFCB-0A9E613CEE36}"/>
                </a:ext>
              </a:extLst>
            </p:cNvPr>
            <p:cNvSpPr/>
            <p:nvPr/>
          </p:nvSpPr>
          <p:spPr>
            <a:xfrm>
              <a:off x="7537125" y="4109368"/>
              <a:ext cx="99171" cy="99171"/>
            </a:xfrm>
            <a:custGeom>
              <a:avLst/>
              <a:gdLst>
                <a:gd name="connsiteX0" fmla="*/ 99924 w 99170"/>
                <a:gd name="connsiteY0" fmla="*/ 99924 h 99170"/>
                <a:gd name="connsiteX1" fmla="*/ 99924 w 99170"/>
                <a:gd name="connsiteY1" fmla="*/ 1898 h 99170"/>
                <a:gd name="connsiteX2" fmla="*/ 1898 w 99170"/>
                <a:gd name="connsiteY2" fmla="*/ 1898 h 99170"/>
                <a:gd name="connsiteX3" fmla="*/ 1898 w 99170"/>
                <a:gd name="connsiteY3" fmla="*/ 99924 h 99170"/>
                <a:gd name="connsiteX4" fmla="*/ 99924 w 99170"/>
                <a:gd name="connsiteY4" fmla="*/ 99924 h 99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70" h="99170">
                  <a:moveTo>
                    <a:pt x="99924" y="99924"/>
                  </a:moveTo>
                  <a:lnTo>
                    <a:pt x="99924" y="1898"/>
                  </a:lnTo>
                  <a:lnTo>
                    <a:pt x="1898" y="1898"/>
                  </a:lnTo>
                  <a:lnTo>
                    <a:pt x="1898" y="99924"/>
                  </a:lnTo>
                  <a:lnTo>
                    <a:pt x="99924" y="99924"/>
                  </a:lnTo>
                  <a:close/>
                </a:path>
              </a:pathLst>
            </a:custGeom>
            <a:solidFill>
              <a:srgbClr val="0078D4"/>
            </a:solidFill>
            <a:ln w="48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8" name="Freeform: Shape 157">
              <a:extLst>
                <a:ext uri="{FF2B5EF4-FFF2-40B4-BE49-F238E27FC236}">
                  <a16:creationId xmlns:a16="http://schemas.microsoft.com/office/drawing/2014/main" id="{7E58B27B-91BC-4DAE-BECC-B0217B169650}"/>
                </a:ext>
              </a:extLst>
            </p:cNvPr>
            <p:cNvSpPr/>
            <p:nvPr/>
          </p:nvSpPr>
          <p:spPr>
            <a:xfrm>
              <a:off x="7586140" y="4035842"/>
              <a:ext cx="173549" cy="198342"/>
            </a:xfrm>
            <a:custGeom>
              <a:avLst/>
              <a:gdLst>
                <a:gd name="connsiteX0" fmla="*/ 173117 w 173548"/>
                <a:gd name="connsiteY0" fmla="*/ 1898 h 198341"/>
                <a:gd name="connsiteX1" fmla="*/ 1898 w 173548"/>
                <a:gd name="connsiteY1" fmla="*/ 1898 h 198341"/>
                <a:gd name="connsiteX2" fmla="*/ 1898 w 173548"/>
                <a:gd name="connsiteY2" fmla="*/ 124431 h 198341"/>
                <a:gd name="connsiteX3" fmla="*/ 83750 w 173548"/>
                <a:gd name="connsiteY3" fmla="*/ 124431 h 198341"/>
                <a:gd name="connsiteX4" fmla="*/ 83750 w 173548"/>
                <a:gd name="connsiteY4" fmla="*/ 197951 h 198341"/>
                <a:gd name="connsiteX5" fmla="*/ 108256 w 173548"/>
                <a:gd name="connsiteY5" fmla="*/ 197951 h 198341"/>
                <a:gd name="connsiteX6" fmla="*/ 108256 w 173548"/>
                <a:gd name="connsiteY6" fmla="*/ 124431 h 198341"/>
                <a:gd name="connsiteX7" fmla="*/ 173117 w 173548"/>
                <a:gd name="connsiteY7" fmla="*/ 124431 h 198341"/>
                <a:gd name="connsiteX8" fmla="*/ 173117 w 173548"/>
                <a:gd name="connsiteY8" fmla="*/ 1898 h 198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548" h="198341">
                  <a:moveTo>
                    <a:pt x="173117" y="1898"/>
                  </a:moveTo>
                  <a:lnTo>
                    <a:pt x="1898" y="1898"/>
                  </a:lnTo>
                  <a:lnTo>
                    <a:pt x="1898" y="124431"/>
                  </a:lnTo>
                  <a:lnTo>
                    <a:pt x="83750" y="124431"/>
                  </a:lnTo>
                  <a:lnTo>
                    <a:pt x="83750" y="197951"/>
                  </a:lnTo>
                  <a:lnTo>
                    <a:pt x="108256" y="197951"/>
                  </a:lnTo>
                  <a:lnTo>
                    <a:pt x="108256" y="124431"/>
                  </a:lnTo>
                  <a:lnTo>
                    <a:pt x="173117" y="124431"/>
                  </a:lnTo>
                  <a:lnTo>
                    <a:pt x="173117" y="1898"/>
                  </a:lnTo>
                  <a:close/>
                </a:path>
              </a:pathLst>
            </a:custGeom>
            <a:solidFill>
              <a:srgbClr val="50E6FF"/>
            </a:solidFill>
            <a:ln w="48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9" name="Freeform: Shape 158">
              <a:extLst>
                <a:ext uri="{FF2B5EF4-FFF2-40B4-BE49-F238E27FC236}">
                  <a16:creationId xmlns:a16="http://schemas.microsoft.com/office/drawing/2014/main" id="{1829D817-87C9-4EC2-8BDF-FFA5518CD967}"/>
                </a:ext>
              </a:extLst>
            </p:cNvPr>
            <p:cNvSpPr/>
            <p:nvPr/>
          </p:nvSpPr>
          <p:spPr>
            <a:xfrm>
              <a:off x="7292060" y="3986818"/>
              <a:ext cx="99171" cy="99171"/>
            </a:xfrm>
            <a:custGeom>
              <a:avLst/>
              <a:gdLst>
                <a:gd name="connsiteX0" fmla="*/ 99924 w 99170"/>
                <a:gd name="connsiteY0" fmla="*/ 99925 h 99170"/>
                <a:gd name="connsiteX1" fmla="*/ 99924 w 99170"/>
                <a:gd name="connsiteY1" fmla="*/ 1898 h 99170"/>
                <a:gd name="connsiteX2" fmla="*/ 1898 w 99170"/>
                <a:gd name="connsiteY2" fmla="*/ 1898 h 99170"/>
                <a:gd name="connsiteX3" fmla="*/ 1898 w 99170"/>
                <a:gd name="connsiteY3" fmla="*/ 99925 h 99170"/>
                <a:gd name="connsiteX4" fmla="*/ 99924 w 99170"/>
                <a:gd name="connsiteY4" fmla="*/ 99925 h 99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70" h="99170">
                  <a:moveTo>
                    <a:pt x="99924" y="99925"/>
                  </a:moveTo>
                  <a:lnTo>
                    <a:pt x="99924" y="1898"/>
                  </a:lnTo>
                  <a:lnTo>
                    <a:pt x="1898" y="1898"/>
                  </a:lnTo>
                  <a:lnTo>
                    <a:pt x="1898" y="99925"/>
                  </a:lnTo>
                  <a:lnTo>
                    <a:pt x="99924" y="99925"/>
                  </a:lnTo>
                  <a:close/>
                </a:path>
              </a:pathLst>
            </a:custGeom>
            <a:solidFill>
              <a:srgbClr val="0078D4"/>
            </a:solidFill>
            <a:ln w="48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0" name="Freeform: Shape 159">
              <a:extLst>
                <a:ext uri="{FF2B5EF4-FFF2-40B4-BE49-F238E27FC236}">
                  <a16:creationId xmlns:a16="http://schemas.microsoft.com/office/drawing/2014/main" id="{74E74AB7-1D7C-47B2-83C1-A50E56475A4E}"/>
                </a:ext>
              </a:extLst>
            </p:cNvPr>
            <p:cNvSpPr/>
            <p:nvPr/>
          </p:nvSpPr>
          <p:spPr>
            <a:xfrm>
              <a:off x="7414592" y="3986818"/>
              <a:ext cx="99171" cy="99171"/>
            </a:xfrm>
            <a:custGeom>
              <a:avLst/>
              <a:gdLst>
                <a:gd name="connsiteX0" fmla="*/ 99924 w 99170"/>
                <a:gd name="connsiteY0" fmla="*/ 99925 h 99170"/>
                <a:gd name="connsiteX1" fmla="*/ 99924 w 99170"/>
                <a:gd name="connsiteY1" fmla="*/ 1898 h 99170"/>
                <a:gd name="connsiteX2" fmla="*/ 1898 w 99170"/>
                <a:gd name="connsiteY2" fmla="*/ 1898 h 99170"/>
                <a:gd name="connsiteX3" fmla="*/ 1898 w 99170"/>
                <a:gd name="connsiteY3" fmla="*/ 99925 h 99170"/>
                <a:gd name="connsiteX4" fmla="*/ 99924 w 99170"/>
                <a:gd name="connsiteY4" fmla="*/ 99925 h 99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70" h="99170">
                  <a:moveTo>
                    <a:pt x="99924" y="99925"/>
                  </a:moveTo>
                  <a:lnTo>
                    <a:pt x="99924" y="1898"/>
                  </a:lnTo>
                  <a:lnTo>
                    <a:pt x="1898" y="1898"/>
                  </a:lnTo>
                  <a:lnTo>
                    <a:pt x="1898" y="99925"/>
                  </a:lnTo>
                  <a:lnTo>
                    <a:pt x="99924" y="99925"/>
                  </a:lnTo>
                  <a:close/>
                </a:path>
              </a:pathLst>
            </a:custGeom>
            <a:solidFill>
              <a:srgbClr val="0078D4"/>
            </a:solidFill>
            <a:ln w="48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1" name="Freeform: Shape 160">
              <a:extLst>
                <a:ext uri="{FF2B5EF4-FFF2-40B4-BE49-F238E27FC236}">
                  <a16:creationId xmlns:a16="http://schemas.microsoft.com/office/drawing/2014/main" id="{D2D4305F-9447-479D-94B5-24021FDC998B}"/>
                </a:ext>
              </a:extLst>
            </p:cNvPr>
            <p:cNvSpPr/>
            <p:nvPr/>
          </p:nvSpPr>
          <p:spPr>
            <a:xfrm>
              <a:off x="7292060" y="4109368"/>
              <a:ext cx="99171" cy="99171"/>
            </a:xfrm>
            <a:custGeom>
              <a:avLst/>
              <a:gdLst>
                <a:gd name="connsiteX0" fmla="*/ 99924 w 99170"/>
                <a:gd name="connsiteY0" fmla="*/ 99924 h 99170"/>
                <a:gd name="connsiteX1" fmla="*/ 99924 w 99170"/>
                <a:gd name="connsiteY1" fmla="*/ 1898 h 99170"/>
                <a:gd name="connsiteX2" fmla="*/ 1898 w 99170"/>
                <a:gd name="connsiteY2" fmla="*/ 1898 h 99170"/>
                <a:gd name="connsiteX3" fmla="*/ 1898 w 99170"/>
                <a:gd name="connsiteY3" fmla="*/ 99924 h 99170"/>
                <a:gd name="connsiteX4" fmla="*/ 99924 w 99170"/>
                <a:gd name="connsiteY4" fmla="*/ 99924 h 99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70" h="99170">
                  <a:moveTo>
                    <a:pt x="99924" y="99924"/>
                  </a:moveTo>
                  <a:lnTo>
                    <a:pt x="99924" y="1898"/>
                  </a:lnTo>
                  <a:lnTo>
                    <a:pt x="1898" y="1898"/>
                  </a:lnTo>
                  <a:lnTo>
                    <a:pt x="1898" y="99924"/>
                  </a:lnTo>
                  <a:lnTo>
                    <a:pt x="99924" y="99924"/>
                  </a:lnTo>
                  <a:close/>
                </a:path>
              </a:pathLst>
            </a:custGeom>
            <a:solidFill>
              <a:srgbClr val="0078D4"/>
            </a:solidFill>
            <a:ln w="48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2" name="Freeform: Shape 161">
              <a:extLst>
                <a:ext uri="{FF2B5EF4-FFF2-40B4-BE49-F238E27FC236}">
                  <a16:creationId xmlns:a16="http://schemas.microsoft.com/office/drawing/2014/main" id="{FB83F5F7-CDAB-43CC-8292-D197313DC3D3}"/>
                </a:ext>
              </a:extLst>
            </p:cNvPr>
            <p:cNvSpPr/>
            <p:nvPr/>
          </p:nvSpPr>
          <p:spPr>
            <a:xfrm>
              <a:off x="7414592" y="4109368"/>
              <a:ext cx="99171" cy="99171"/>
            </a:xfrm>
            <a:custGeom>
              <a:avLst/>
              <a:gdLst>
                <a:gd name="connsiteX0" fmla="*/ 99924 w 99170"/>
                <a:gd name="connsiteY0" fmla="*/ 99924 h 99170"/>
                <a:gd name="connsiteX1" fmla="*/ 99924 w 99170"/>
                <a:gd name="connsiteY1" fmla="*/ 1898 h 99170"/>
                <a:gd name="connsiteX2" fmla="*/ 1898 w 99170"/>
                <a:gd name="connsiteY2" fmla="*/ 1898 h 99170"/>
                <a:gd name="connsiteX3" fmla="*/ 1898 w 99170"/>
                <a:gd name="connsiteY3" fmla="*/ 99924 h 99170"/>
                <a:gd name="connsiteX4" fmla="*/ 99924 w 99170"/>
                <a:gd name="connsiteY4" fmla="*/ 99924 h 99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70" h="99170">
                  <a:moveTo>
                    <a:pt x="99924" y="99924"/>
                  </a:moveTo>
                  <a:lnTo>
                    <a:pt x="99924" y="1898"/>
                  </a:lnTo>
                  <a:lnTo>
                    <a:pt x="1898" y="1898"/>
                  </a:lnTo>
                  <a:lnTo>
                    <a:pt x="1898" y="99924"/>
                  </a:lnTo>
                  <a:lnTo>
                    <a:pt x="99924" y="99924"/>
                  </a:lnTo>
                  <a:close/>
                </a:path>
              </a:pathLst>
            </a:custGeom>
            <a:solidFill>
              <a:srgbClr val="0078D4"/>
            </a:solidFill>
            <a:ln w="48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3D37AFA2-1386-444B-8D5C-9518793B5071}"/>
                </a:ext>
              </a:extLst>
            </p:cNvPr>
            <p:cNvSpPr/>
            <p:nvPr/>
          </p:nvSpPr>
          <p:spPr>
            <a:xfrm>
              <a:off x="7619387" y="4051608"/>
              <a:ext cx="104129" cy="89254"/>
            </a:xfrm>
            <a:custGeom>
              <a:avLst/>
              <a:gdLst>
                <a:gd name="connsiteX0" fmla="*/ 88978 w 104129"/>
                <a:gd name="connsiteY0" fmla="*/ 1898 h 89253"/>
                <a:gd name="connsiteX1" fmla="*/ 36616 w 104129"/>
                <a:gd name="connsiteY1" fmla="*/ 54260 h 89253"/>
                <a:gd name="connsiteX2" fmla="*/ 19216 w 104129"/>
                <a:gd name="connsiteY2" fmla="*/ 36861 h 89253"/>
                <a:gd name="connsiteX3" fmla="*/ 1898 w 104129"/>
                <a:gd name="connsiteY3" fmla="*/ 54179 h 89253"/>
                <a:gd name="connsiteX4" fmla="*/ 36534 w 104129"/>
                <a:gd name="connsiteY4" fmla="*/ 89060 h 89253"/>
                <a:gd name="connsiteX5" fmla="*/ 106378 w 104129"/>
                <a:gd name="connsiteY5" fmla="*/ 19216 h 89253"/>
                <a:gd name="connsiteX6" fmla="*/ 88978 w 104129"/>
                <a:gd name="connsiteY6" fmla="*/ 1898 h 89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129" h="89253">
                  <a:moveTo>
                    <a:pt x="88978" y="1898"/>
                  </a:moveTo>
                  <a:lnTo>
                    <a:pt x="36616" y="54260"/>
                  </a:lnTo>
                  <a:lnTo>
                    <a:pt x="19216" y="36861"/>
                  </a:lnTo>
                  <a:lnTo>
                    <a:pt x="1898" y="54179"/>
                  </a:lnTo>
                  <a:lnTo>
                    <a:pt x="36534" y="89060"/>
                  </a:lnTo>
                  <a:lnTo>
                    <a:pt x="106378" y="19216"/>
                  </a:lnTo>
                  <a:lnTo>
                    <a:pt x="88978" y="1898"/>
                  </a:lnTo>
                  <a:close/>
                </a:path>
              </a:pathLst>
            </a:custGeom>
            <a:solidFill>
              <a:srgbClr val="0078D4"/>
            </a:solidFill>
            <a:ln w="48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4" name="Freeform: Shape 163">
              <a:extLst>
                <a:ext uri="{FF2B5EF4-FFF2-40B4-BE49-F238E27FC236}">
                  <a16:creationId xmlns:a16="http://schemas.microsoft.com/office/drawing/2014/main" id="{3DB85FDC-D3E6-457A-90D1-7D2CBED9D3EF}"/>
                </a:ext>
              </a:extLst>
            </p:cNvPr>
            <p:cNvSpPr/>
            <p:nvPr/>
          </p:nvSpPr>
          <p:spPr>
            <a:xfrm>
              <a:off x="7292060" y="4231898"/>
              <a:ext cx="466103" cy="49585"/>
            </a:xfrm>
            <a:custGeom>
              <a:avLst/>
              <a:gdLst>
                <a:gd name="connsiteX0" fmla="*/ 467522 w 466102"/>
                <a:gd name="connsiteY0" fmla="*/ 1898 h 49585"/>
                <a:gd name="connsiteX1" fmla="*/ 1898 w 466102"/>
                <a:gd name="connsiteY1" fmla="*/ 1898 h 49585"/>
                <a:gd name="connsiteX2" fmla="*/ 1898 w 466102"/>
                <a:gd name="connsiteY2" fmla="*/ 50911 h 49585"/>
                <a:gd name="connsiteX3" fmla="*/ 467522 w 466102"/>
                <a:gd name="connsiteY3" fmla="*/ 50911 h 49585"/>
                <a:gd name="connsiteX4" fmla="*/ 467522 w 466102"/>
                <a:gd name="connsiteY4" fmla="*/ 1898 h 49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102" h="49585">
                  <a:moveTo>
                    <a:pt x="467522" y="1898"/>
                  </a:moveTo>
                  <a:lnTo>
                    <a:pt x="1898" y="1898"/>
                  </a:lnTo>
                  <a:lnTo>
                    <a:pt x="1898" y="50911"/>
                  </a:lnTo>
                  <a:lnTo>
                    <a:pt x="467522" y="50911"/>
                  </a:lnTo>
                  <a:lnTo>
                    <a:pt x="467522" y="1898"/>
                  </a:lnTo>
                  <a:close/>
                </a:path>
              </a:pathLst>
            </a:custGeom>
            <a:solidFill>
              <a:srgbClr val="0078D7"/>
            </a:solidFill>
            <a:ln w="48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26" name="Rectangle 225">
            <a:extLst>
              <a:ext uri="{FF2B5EF4-FFF2-40B4-BE49-F238E27FC236}">
                <a16:creationId xmlns:a16="http://schemas.microsoft.com/office/drawing/2014/main" id="{4731CB41-4B8F-4A19-9734-5DC49B09A0FB}"/>
              </a:ext>
            </a:extLst>
          </p:cNvPr>
          <p:cNvSpPr/>
          <p:nvPr/>
        </p:nvSpPr>
        <p:spPr bwMode="auto">
          <a:xfrm>
            <a:off x="2765497" y="2241740"/>
            <a:ext cx="5463525" cy="3186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5" tIns="91415" rIns="91415" bIns="91415" numCol="1" spcCol="0" rtlCol="0" fromWordArt="0" anchor="ctr" anchorCtr="0" forceAA="0" compatLnSpc="1">
            <a:prstTxWarp prst="textNoShape">
              <a:avLst/>
            </a:prstTxWarp>
            <a:noAutofit/>
          </a:bodyPr>
          <a:lstStyle/>
          <a:p>
            <a:pPr marL="0" marR="0" lvl="0" indent="0" algn="l" defTabSz="932198"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30" normalizeH="0" baseline="0" noProof="0">
                <a:ln>
                  <a:noFill/>
                </a:ln>
                <a:solidFill>
                  <a:srgbClr val="EF87ED"/>
                </a:solidFill>
                <a:effectLst/>
                <a:uLnTx/>
                <a:uFillTx/>
                <a:latin typeface="Segoe UI Semibold"/>
                <a:ea typeface="Segoe UI" pitchFamily="34" charset="0"/>
                <a:cs typeface="Segoe UI" pitchFamily="34" charset="0"/>
              </a:rPr>
              <a:t>Workload Orchestration</a:t>
            </a:r>
          </a:p>
        </p:txBody>
      </p:sp>
      <p:sp>
        <p:nvSpPr>
          <p:cNvPr id="227" name="TextBox 226">
            <a:extLst>
              <a:ext uri="{FF2B5EF4-FFF2-40B4-BE49-F238E27FC236}">
                <a16:creationId xmlns:a16="http://schemas.microsoft.com/office/drawing/2014/main" id="{6A64EF66-E71A-47EB-BB12-759AFC926640}"/>
              </a:ext>
            </a:extLst>
          </p:cNvPr>
          <p:cNvSpPr txBox="1"/>
          <p:nvPr/>
        </p:nvSpPr>
        <p:spPr>
          <a:xfrm>
            <a:off x="2916511" y="2690717"/>
            <a:ext cx="2163244"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VM Scale Sets</a:t>
            </a:r>
          </a:p>
        </p:txBody>
      </p:sp>
      <p:sp>
        <p:nvSpPr>
          <p:cNvPr id="228" name="TextBox 227">
            <a:extLst>
              <a:ext uri="{FF2B5EF4-FFF2-40B4-BE49-F238E27FC236}">
                <a16:creationId xmlns:a16="http://schemas.microsoft.com/office/drawing/2014/main" id="{732E6F8C-E26B-4543-9526-D194C06D5AB7}"/>
              </a:ext>
            </a:extLst>
          </p:cNvPr>
          <p:cNvSpPr txBox="1"/>
          <p:nvPr/>
        </p:nvSpPr>
        <p:spPr>
          <a:xfrm>
            <a:off x="5253831" y="2690717"/>
            <a:ext cx="216324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zure Batch</a:t>
            </a:r>
          </a:p>
        </p:txBody>
      </p:sp>
      <p:sp>
        <p:nvSpPr>
          <p:cNvPr id="239" name="TextBox 238">
            <a:extLst>
              <a:ext uri="{FF2B5EF4-FFF2-40B4-BE49-F238E27FC236}">
                <a16:creationId xmlns:a16="http://schemas.microsoft.com/office/drawing/2014/main" id="{F28224DA-AB93-4895-90DE-30DDECDA3838}"/>
              </a:ext>
            </a:extLst>
          </p:cNvPr>
          <p:cNvSpPr txBox="1"/>
          <p:nvPr/>
        </p:nvSpPr>
        <p:spPr>
          <a:xfrm>
            <a:off x="7437998" y="2690717"/>
            <a:ext cx="2163244"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zure CycleCloud</a:t>
            </a:r>
          </a:p>
        </p:txBody>
      </p:sp>
      <p:cxnSp>
        <p:nvCxnSpPr>
          <p:cNvPr id="225" name="Straight Connector 224">
            <a:extLst>
              <a:ext uri="{FF2B5EF4-FFF2-40B4-BE49-F238E27FC236}">
                <a16:creationId xmlns:a16="http://schemas.microsoft.com/office/drawing/2014/main" id="{502F4A9D-32E4-4689-983E-0B43304085AB}"/>
              </a:ext>
            </a:extLst>
          </p:cNvPr>
          <p:cNvCxnSpPr>
            <a:cxnSpLocks/>
          </p:cNvCxnSpPr>
          <p:nvPr/>
        </p:nvCxnSpPr>
        <p:spPr>
          <a:xfrm>
            <a:off x="2866233" y="2625377"/>
            <a:ext cx="6696000" cy="0"/>
          </a:xfrm>
          <a:prstGeom prst="line">
            <a:avLst/>
          </a:prstGeom>
          <a:solidFill>
            <a:schemeClr val="bg1"/>
          </a:solidFill>
          <a:ln w="22225">
            <a:solidFill>
              <a:srgbClr val="F89AF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255" name="Graphic 254" descr="Icon of connected dots ">
            <a:extLst>
              <a:ext uri="{FF2B5EF4-FFF2-40B4-BE49-F238E27FC236}">
                <a16:creationId xmlns:a16="http://schemas.microsoft.com/office/drawing/2014/main" id="{F73F8B37-4E63-47F1-9D01-6BAB1177FBC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912732" y="1311487"/>
            <a:ext cx="634752" cy="559585"/>
          </a:xfrm>
          <a:prstGeom prst="rect">
            <a:avLst/>
          </a:prstGeom>
        </p:spPr>
      </p:pic>
      <p:sp>
        <p:nvSpPr>
          <p:cNvPr id="241" name="Rectangle 240">
            <a:extLst>
              <a:ext uri="{FF2B5EF4-FFF2-40B4-BE49-F238E27FC236}">
                <a16:creationId xmlns:a16="http://schemas.microsoft.com/office/drawing/2014/main" id="{363E9EB2-1158-4A55-AC58-670FA1DCBAA2}"/>
              </a:ext>
            </a:extLst>
          </p:cNvPr>
          <p:cNvSpPr/>
          <p:nvPr/>
        </p:nvSpPr>
        <p:spPr bwMode="auto">
          <a:xfrm>
            <a:off x="2765497" y="1253281"/>
            <a:ext cx="5463525" cy="3186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5" tIns="91415" rIns="91415" bIns="91415" numCol="1" spcCol="0" rtlCol="0" fromWordArt="0" anchor="ctr" anchorCtr="0" forceAA="0" compatLnSpc="1">
            <a:prstTxWarp prst="textNoShape">
              <a:avLst/>
            </a:prstTxWarp>
            <a:noAutofit/>
          </a:bodyPr>
          <a:lstStyle/>
          <a:p>
            <a:pPr marL="0" marR="0" lvl="0" indent="0" algn="l" defTabSz="932198"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30" normalizeH="0" baseline="0" noProof="0">
                <a:ln>
                  <a:noFill/>
                </a:ln>
                <a:solidFill>
                  <a:srgbClr val="EF87ED"/>
                </a:solidFill>
                <a:effectLst/>
                <a:uLnTx/>
                <a:uFillTx/>
                <a:latin typeface="Segoe UI Semibold"/>
                <a:ea typeface="Segoe UI" pitchFamily="34" charset="0"/>
                <a:cs typeface="Segoe UI" pitchFamily="34" charset="0"/>
              </a:rPr>
              <a:t>Transformative Services</a:t>
            </a:r>
          </a:p>
        </p:txBody>
      </p:sp>
      <p:sp>
        <p:nvSpPr>
          <p:cNvPr id="242" name="TextBox 241">
            <a:extLst>
              <a:ext uri="{FF2B5EF4-FFF2-40B4-BE49-F238E27FC236}">
                <a16:creationId xmlns:a16="http://schemas.microsoft.com/office/drawing/2014/main" id="{C9BCEB5B-32B0-4C91-A461-B1A3E6DA8BB2}"/>
              </a:ext>
            </a:extLst>
          </p:cNvPr>
          <p:cNvSpPr txBox="1"/>
          <p:nvPr/>
        </p:nvSpPr>
        <p:spPr>
          <a:xfrm>
            <a:off x="2916511" y="1713833"/>
            <a:ext cx="2163244"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zure Machine Learning</a:t>
            </a:r>
          </a:p>
        </p:txBody>
      </p:sp>
      <p:sp>
        <p:nvSpPr>
          <p:cNvPr id="243" name="TextBox 242">
            <a:extLst>
              <a:ext uri="{FF2B5EF4-FFF2-40B4-BE49-F238E27FC236}">
                <a16:creationId xmlns:a16="http://schemas.microsoft.com/office/drawing/2014/main" id="{61C5DC41-D42A-47C7-AB8B-62A2189393DB}"/>
              </a:ext>
            </a:extLst>
          </p:cNvPr>
          <p:cNvSpPr txBox="1"/>
          <p:nvPr/>
        </p:nvSpPr>
        <p:spPr>
          <a:xfrm>
            <a:off x="5253831" y="1713833"/>
            <a:ext cx="216324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zure Data Lake</a:t>
            </a:r>
          </a:p>
        </p:txBody>
      </p:sp>
      <p:sp>
        <p:nvSpPr>
          <p:cNvPr id="254" name="TextBox 253">
            <a:extLst>
              <a:ext uri="{FF2B5EF4-FFF2-40B4-BE49-F238E27FC236}">
                <a16:creationId xmlns:a16="http://schemas.microsoft.com/office/drawing/2014/main" id="{E3EED83A-696A-4714-8A5A-1B346BA9C977}"/>
              </a:ext>
            </a:extLst>
          </p:cNvPr>
          <p:cNvSpPr txBox="1"/>
          <p:nvPr/>
        </p:nvSpPr>
        <p:spPr>
          <a:xfrm>
            <a:off x="7437998" y="1713833"/>
            <a:ext cx="2163244"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zure ML Compute</a:t>
            </a:r>
          </a:p>
        </p:txBody>
      </p:sp>
      <p:cxnSp>
        <p:nvCxnSpPr>
          <p:cNvPr id="240" name="Straight Connector 239">
            <a:extLst>
              <a:ext uri="{FF2B5EF4-FFF2-40B4-BE49-F238E27FC236}">
                <a16:creationId xmlns:a16="http://schemas.microsoft.com/office/drawing/2014/main" id="{1F9EB1C3-6FAE-48BD-97F8-A4D32CA3A4B8}"/>
              </a:ext>
            </a:extLst>
          </p:cNvPr>
          <p:cNvCxnSpPr>
            <a:cxnSpLocks/>
          </p:cNvCxnSpPr>
          <p:nvPr/>
        </p:nvCxnSpPr>
        <p:spPr>
          <a:xfrm>
            <a:off x="2866233" y="1648493"/>
            <a:ext cx="6696000" cy="0"/>
          </a:xfrm>
          <a:prstGeom prst="line">
            <a:avLst/>
          </a:prstGeom>
          <a:solidFill>
            <a:schemeClr val="bg1"/>
          </a:solidFill>
          <a:ln w="22225">
            <a:solidFill>
              <a:srgbClr val="F89AF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9" name="Straight Connector 18">
            <a:extLst>
              <a:ext uri="{FF2B5EF4-FFF2-40B4-BE49-F238E27FC236}">
                <a16:creationId xmlns:a16="http://schemas.microsoft.com/office/drawing/2014/main" id="{F4D9441C-731E-4A7C-831B-ED61267DB9A7}"/>
              </a:ext>
            </a:extLst>
          </p:cNvPr>
          <p:cNvCxnSpPr>
            <a:cxnSpLocks/>
          </p:cNvCxnSpPr>
          <p:nvPr/>
        </p:nvCxnSpPr>
        <p:spPr>
          <a:xfrm>
            <a:off x="2866233" y="3613836"/>
            <a:ext cx="6696000" cy="0"/>
          </a:xfrm>
          <a:prstGeom prst="line">
            <a:avLst/>
          </a:prstGeom>
          <a:solidFill>
            <a:schemeClr val="bg1"/>
          </a:solidFill>
          <a:ln w="22225">
            <a:solidFill>
              <a:srgbClr val="F89AF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44" name="Rectangle 143">
            <a:extLst>
              <a:ext uri="{FF2B5EF4-FFF2-40B4-BE49-F238E27FC236}">
                <a16:creationId xmlns:a16="http://schemas.microsoft.com/office/drawing/2014/main" id="{426A63D5-0CDF-45AA-9438-00C389888760}"/>
              </a:ext>
            </a:extLst>
          </p:cNvPr>
          <p:cNvSpPr/>
          <p:nvPr/>
        </p:nvSpPr>
        <p:spPr bwMode="auto">
          <a:xfrm>
            <a:off x="2765497" y="3218624"/>
            <a:ext cx="5463525" cy="3186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5" tIns="91415" rIns="91415" bIns="91415" numCol="1" spcCol="0" rtlCol="0" fromWordArt="0" anchor="ctr" anchorCtr="0" forceAA="0" compatLnSpc="1">
            <a:prstTxWarp prst="textNoShape">
              <a:avLst/>
            </a:prstTxWarp>
            <a:noAutofit/>
          </a:bodyPr>
          <a:lstStyle/>
          <a:p>
            <a:pPr marL="0" marR="0" lvl="0" indent="0" algn="l" defTabSz="932198"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30" normalizeH="0" baseline="0" noProof="0">
                <a:ln>
                  <a:noFill/>
                </a:ln>
                <a:solidFill>
                  <a:srgbClr val="EF87ED"/>
                </a:solidFill>
                <a:effectLst/>
                <a:uLnTx/>
                <a:uFillTx/>
                <a:latin typeface="Segoe UI Semibold"/>
                <a:ea typeface="Segoe UI" pitchFamily="34" charset="0"/>
                <a:cs typeface="Segoe UI" pitchFamily="34" charset="0"/>
              </a:rPr>
              <a:t>Fast, Secure Networking</a:t>
            </a:r>
          </a:p>
        </p:txBody>
      </p:sp>
      <p:sp>
        <p:nvSpPr>
          <p:cNvPr id="145" name="TextBox 144">
            <a:extLst>
              <a:ext uri="{FF2B5EF4-FFF2-40B4-BE49-F238E27FC236}">
                <a16:creationId xmlns:a16="http://schemas.microsoft.com/office/drawing/2014/main" id="{B0541D98-0B2B-4B7E-B608-3973A256EEF5}"/>
              </a:ext>
            </a:extLst>
          </p:cNvPr>
          <p:cNvSpPr txBox="1"/>
          <p:nvPr/>
        </p:nvSpPr>
        <p:spPr>
          <a:xfrm>
            <a:off x="2916511" y="3679176"/>
            <a:ext cx="2163244"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ExpressRoute</a:t>
            </a:r>
          </a:p>
        </p:txBody>
      </p:sp>
      <p:sp>
        <p:nvSpPr>
          <p:cNvPr id="146" name="TextBox 145">
            <a:extLst>
              <a:ext uri="{FF2B5EF4-FFF2-40B4-BE49-F238E27FC236}">
                <a16:creationId xmlns:a16="http://schemas.microsoft.com/office/drawing/2014/main" id="{93F21893-2A78-4BA5-8C7D-5B4A12198776}"/>
              </a:ext>
            </a:extLst>
          </p:cNvPr>
          <p:cNvSpPr txBox="1"/>
          <p:nvPr/>
        </p:nvSpPr>
        <p:spPr>
          <a:xfrm>
            <a:off x="5253831" y="3679176"/>
            <a:ext cx="216324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InfiniBand</a:t>
            </a:r>
          </a:p>
        </p:txBody>
      </p:sp>
      <p:grpSp>
        <p:nvGrpSpPr>
          <p:cNvPr id="256" name="virtual network 1" descr="virtual network, Azure portal">
            <a:extLst>
              <a:ext uri="{FF2B5EF4-FFF2-40B4-BE49-F238E27FC236}">
                <a16:creationId xmlns:a16="http://schemas.microsoft.com/office/drawing/2014/main" id="{B9CCEAA1-8E64-41F1-B240-F95589EB99F9}"/>
              </a:ext>
            </a:extLst>
          </p:cNvPr>
          <p:cNvGrpSpPr>
            <a:grpSpLocks noChangeAspect="1"/>
          </p:cNvGrpSpPr>
          <p:nvPr/>
        </p:nvGrpSpPr>
        <p:grpSpPr bwMode="auto">
          <a:xfrm>
            <a:off x="1994304" y="3320818"/>
            <a:ext cx="471608" cy="471609"/>
            <a:chOff x="5201" y="1382"/>
            <a:chExt cx="207" cy="207"/>
          </a:xfrm>
        </p:grpSpPr>
        <p:sp>
          <p:nvSpPr>
            <p:cNvPr id="257" name="AutoShape 129">
              <a:extLst>
                <a:ext uri="{FF2B5EF4-FFF2-40B4-BE49-F238E27FC236}">
                  <a16:creationId xmlns:a16="http://schemas.microsoft.com/office/drawing/2014/main" id="{B7211997-098B-4EAB-857F-448AC1EBEC58}"/>
                </a:ext>
              </a:extLst>
            </p:cNvPr>
            <p:cNvSpPr>
              <a:spLocks noChangeAspect="1" noChangeArrowheads="1" noTextEdit="1"/>
            </p:cNvSpPr>
            <p:nvPr/>
          </p:nvSpPr>
          <p:spPr bwMode="auto">
            <a:xfrm>
              <a:off x="5201" y="1382"/>
              <a:ext cx="207" cy="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8" name="Freeform 131">
              <a:extLst>
                <a:ext uri="{FF2B5EF4-FFF2-40B4-BE49-F238E27FC236}">
                  <a16:creationId xmlns:a16="http://schemas.microsoft.com/office/drawing/2014/main" id="{0F7C99C3-68A5-4990-8061-256F02C5285F}"/>
                </a:ext>
              </a:extLst>
            </p:cNvPr>
            <p:cNvSpPr>
              <a:spLocks/>
            </p:cNvSpPr>
            <p:nvPr/>
          </p:nvSpPr>
          <p:spPr bwMode="auto">
            <a:xfrm>
              <a:off x="5219" y="1520"/>
              <a:ext cx="170" cy="60"/>
            </a:xfrm>
            <a:custGeom>
              <a:avLst/>
              <a:gdLst>
                <a:gd name="T0" fmla="*/ 87 w 170"/>
                <a:gd name="T1" fmla="*/ 60 h 60"/>
                <a:gd name="T2" fmla="*/ 0 w 170"/>
                <a:gd name="T3" fmla="*/ 10 h 60"/>
                <a:gd name="T4" fmla="*/ 6 w 170"/>
                <a:gd name="T5" fmla="*/ 0 h 60"/>
                <a:gd name="T6" fmla="*/ 87 w 170"/>
                <a:gd name="T7" fmla="*/ 48 h 60"/>
                <a:gd name="T8" fmla="*/ 165 w 170"/>
                <a:gd name="T9" fmla="*/ 1 h 60"/>
                <a:gd name="T10" fmla="*/ 170 w 170"/>
                <a:gd name="T11" fmla="*/ 11 h 60"/>
                <a:gd name="T12" fmla="*/ 87 w 170"/>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70" h="60">
                  <a:moveTo>
                    <a:pt x="87" y="60"/>
                  </a:moveTo>
                  <a:lnTo>
                    <a:pt x="0" y="10"/>
                  </a:lnTo>
                  <a:lnTo>
                    <a:pt x="6" y="0"/>
                  </a:lnTo>
                  <a:lnTo>
                    <a:pt x="87" y="48"/>
                  </a:lnTo>
                  <a:lnTo>
                    <a:pt x="165" y="1"/>
                  </a:lnTo>
                  <a:lnTo>
                    <a:pt x="170" y="11"/>
                  </a:lnTo>
                  <a:lnTo>
                    <a:pt x="87" y="6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9" name="Freeform 132">
              <a:extLst>
                <a:ext uri="{FF2B5EF4-FFF2-40B4-BE49-F238E27FC236}">
                  <a16:creationId xmlns:a16="http://schemas.microsoft.com/office/drawing/2014/main" id="{A137A600-3BFD-43A0-AD29-EA66AE8494CE}"/>
                </a:ext>
              </a:extLst>
            </p:cNvPr>
            <p:cNvSpPr>
              <a:spLocks/>
            </p:cNvSpPr>
            <p:nvPr/>
          </p:nvSpPr>
          <p:spPr bwMode="auto">
            <a:xfrm>
              <a:off x="5219" y="1472"/>
              <a:ext cx="170" cy="61"/>
            </a:xfrm>
            <a:custGeom>
              <a:avLst/>
              <a:gdLst>
                <a:gd name="T0" fmla="*/ 87 w 170"/>
                <a:gd name="T1" fmla="*/ 61 h 61"/>
                <a:gd name="T2" fmla="*/ 0 w 170"/>
                <a:gd name="T3" fmla="*/ 10 h 61"/>
                <a:gd name="T4" fmla="*/ 6 w 170"/>
                <a:gd name="T5" fmla="*/ 0 h 61"/>
                <a:gd name="T6" fmla="*/ 87 w 170"/>
                <a:gd name="T7" fmla="*/ 48 h 61"/>
                <a:gd name="T8" fmla="*/ 165 w 170"/>
                <a:gd name="T9" fmla="*/ 3 h 61"/>
                <a:gd name="T10" fmla="*/ 170 w 170"/>
                <a:gd name="T11" fmla="*/ 12 h 61"/>
                <a:gd name="T12" fmla="*/ 87 w 17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70" h="61">
                  <a:moveTo>
                    <a:pt x="87" y="61"/>
                  </a:moveTo>
                  <a:lnTo>
                    <a:pt x="0" y="10"/>
                  </a:lnTo>
                  <a:lnTo>
                    <a:pt x="6" y="0"/>
                  </a:lnTo>
                  <a:lnTo>
                    <a:pt x="87" y="48"/>
                  </a:lnTo>
                  <a:lnTo>
                    <a:pt x="165" y="3"/>
                  </a:lnTo>
                  <a:lnTo>
                    <a:pt x="170" y="12"/>
                  </a:lnTo>
                  <a:lnTo>
                    <a:pt x="87" y="61"/>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0" name="Freeform 133">
              <a:extLst>
                <a:ext uri="{FF2B5EF4-FFF2-40B4-BE49-F238E27FC236}">
                  <a16:creationId xmlns:a16="http://schemas.microsoft.com/office/drawing/2014/main" id="{9629529D-E584-4506-A676-7DB6C5F9D7B4}"/>
                </a:ext>
              </a:extLst>
            </p:cNvPr>
            <p:cNvSpPr>
              <a:spLocks/>
            </p:cNvSpPr>
            <p:nvPr/>
          </p:nvSpPr>
          <p:spPr bwMode="auto">
            <a:xfrm>
              <a:off x="5219" y="1432"/>
              <a:ext cx="170" cy="59"/>
            </a:xfrm>
            <a:custGeom>
              <a:avLst/>
              <a:gdLst>
                <a:gd name="T0" fmla="*/ 87 w 170"/>
                <a:gd name="T1" fmla="*/ 59 h 59"/>
                <a:gd name="T2" fmla="*/ 0 w 170"/>
                <a:gd name="T3" fmla="*/ 10 h 59"/>
                <a:gd name="T4" fmla="*/ 6 w 170"/>
                <a:gd name="T5" fmla="*/ 0 h 59"/>
                <a:gd name="T6" fmla="*/ 87 w 170"/>
                <a:gd name="T7" fmla="*/ 48 h 59"/>
                <a:gd name="T8" fmla="*/ 165 w 170"/>
                <a:gd name="T9" fmla="*/ 1 h 59"/>
                <a:gd name="T10" fmla="*/ 170 w 170"/>
                <a:gd name="T11" fmla="*/ 11 h 59"/>
                <a:gd name="T12" fmla="*/ 87 w 170"/>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170" h="59">
                  <a:moveTo>
                    <a:pt x="87" y="59"/>
                  </a:moveTo>
                  <a:lnTo>
                    <a:pt x="0" y="10"/>
                  </a:lnTo>
                  <a:lnTo>
                    <a:pt x="6" y="0"/>
                  </a:lnTo>
                  <a:lnTo>
                    <a:pt x="87" y="48"/>
                  </a:lnTo>
                  <a:lnTo>
                    <a:pt x="165" y="1"/>
                  </a:lnTo>
                  <a:lnTo>
                    <a:pt x="170" y="11"/>
                  </a:lnTo>
                  <a:lnTo>
                    <a:pt x="87" y="59"/>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1" name="Freeform 134">
              <a:extLst>
                <a:ext uri="{FF2B5EF4-FFF2-40B4-BE49-F238E27FC236}">
                  <a16:creationId xmlns:a16="http://schemas.microsoft.com/office/drawing/2014/main" id="{4027CC95-2A94-4BE4-823E-0C281DCFEAED}"/>
                </a:ext>
              </a:extLst>
            </p:cNvPr>
            <p:cNvSpPr>
              <a:spLocks/>
            </p:cNvSpPr>
            <p:nvPr/>
          </p:nvSpPr>
          <p:spPr bwMode="auto">
            <a:xfrm>
              <a:off x="5219" y="1389"/>
              <a:ext cx="170" cy="61"/>
            </a:xfrm>
            <a:custGeom>
              <a:avLst/>
              <a:gdLst>
                <a:gd name="T0" fmla="*/ 87 w 170"/>
                <a:gd name="T1" fmla="*/ 61 h 61"/>
                <a:gd name="T2" fmla="*/ 0 w 170"/>
                <a:gd name="T3" fmla="*/ 10 h 61"/>
                <a:gd name="T4" fmla="*/ 6 w 170"/>
                <a:gd name="T5" fmla="*/ 0 h 61"/>
                <a:gd name="T6" fmla="*/ 87 w 170"/>
                <a:gd name="T7" fmla="*/ 48 h 61"/>
                <a:gd name="T8" fmla="*/ 165 w 170"/>
                <a:gd name="T9" fmla="*/ 3 h 61"/>
                <a:gd name="T10" fmla="*/ 170 w 170"/>
                <a:gd name="T11" fmla="*/ 12 h 61"/>
                <a:gd name="T12" fmla="*/ 87 w 17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70" h="61">
                  <a:moveTo>
                    <a:pt x="87" y="61"/>
                  </a:moveTo>
                  <a:lnTo>
                    <a:pt x="0" y="10"/>
                  </a:lnTo>
                  <a:lnTo>
                    <a:pt x="6" y="0"/>
                  </a:lnTo>
                  <a:lnTo>
                    <a:pt x="87" y="48"/>
                  </a:lnTo>
                  <a:lnTo>
                    <a:pt x="165" y="3"/>
                  </a:lnTo>
                  <a:lnTo>
                    <a:pt x="170" y="12"/>
                  </a:lnTo>
                  <a:lnTo>
                    <a:pt x="87" y="61"/>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2" name="Rectangle 135">
              <a:extLst>
                <a:ext uri="{FF2B5EF4-FFF2-40B4-BE49-F238E27FC236}">
                  <a16:creationId xmlns:a16="http://schemas.microsoft.com/office/drawing/2014/main" id="{C0EDB9EC-1FA2-4CB3-BD4D-37CC5CA10457}"/>
                </a:ext>
              </a:extLst>
            </p:cNvPr>
            <p:cNvSpPr>
              <a:spLocks noChangeArrowheads="1"/>
            </p:cNvSpPr>
            <p:nvPr/>
          </p:nvSpPr>
          <p:spPr bwMode="auto">
            <a:xfrm>
              <a:off x="5202" y="1382"/>
              <a:ext cx="31" cy="3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3" name="Rectangle 136">
              <a:extLst>
                <a:ext uri="{FF2B5EF4-FFF2-40B4-BE49-F238E27FC236}">
                  <a16:creationId xmlns:a16="http://schemas.microsoft.com/office/drawing/2014/main" id="{0178DCCF-1938-483D-BEBC-8A857F6F6178}"/>
                </a:ext>
              </a:extLst>
            </p:cNvPr>
            <p:cNvSpPr>
              <a:spLocks noChangeArrowheads="1"/>
            </p:cNvSpPr>
            <p:nvPr/>
          </p:nvSpPr>
          <p:spPr bwMode="auto">
            <a:xfrm>
              <a:off x="5289" y="1382"/>
              <a:ext cx="31" cy="3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4" name="Rectangle 137">
              <a:extLst>
                <a:ext uri="{FF2B5EF4-FFF2-40B4-BE49-F238E27FC236}">
                  <a16:creationId xmlns:a16="http://schemas.microsoft.com/office/drawing/2014/main" id="{B03E0950-EB3E-4DD5-9720-AF280DC6CC0F}"/>
                </a:ext>
              </a:extLst>
            </p:cNvPr>
            <p:cNvSpPr>
              <a:spLocks noChangeArrowheads="1"/>
            </p:cNvSpPr>
            <p:nvPr/>
          </p:nvSpPr>
          <p:spPr bwMode="auto">
            <a:xfrm>
              <a:off x="5377" y="1382"/>
              <a:ext cx="31" cy="3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5" name="Rectangle 138">
              <a:extLst>
                <a:ext uri="{FF2B5EF4-FFF2-40B4-BE49-F238E27FC236}">
                  <a16:creationId xmlns:a16="http://schemas.microsoft.com/office/drawing/2014/main" id="{38EE0A36-7007-4E8F-873D-B31B9ECD92E3}"/>
                </a:ext>
              </a:extLst>
            </p:cNvPr>
            <p:cNvSpPr>
              <a:spLocks noChangeArrowheads="1"/>
            </p:cNvSpPr>
            <p:nvPr/>
          </p:nvSpPr>
          <p:spPr bwMode="auto">
            <a:xfrm>
              <a:off x="5202" y="1426"/>
              <a:ext cx="31" cy="3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6" name="Rectangle 139">
              <a:extLst>
                <a:ext uri="{FF2B5EF4-FFF2-40B4-BE49-F238E27FC236}">
                  <a16:creationId xmlns:a16="http://schemas.microsoft.com/office/drawing/2014/main" id="{B9E5E9F3-3627-47A8-A1E9-C3F177F481F5}"/>
                </a:ext>
              </a:extLst>
            </p:cNvPr>
            <p:cNvSpPr>
              <a:spLocks noChangeArrowheads="1"/>
            </p:cNvSpPr>
            <p:nvPr/>
          </p:nvSpPr>
          <p:spPr bwMode="auto">
            <a:xfrm>
              <a:off x="5289" y="1426"/>
              <a:ext cx="31" cy="3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7" name="Rectangle 140">
              <a:extLst>
                <a:ext uri="{FF2B5EF4-FFF2-40B4-BE49-F238E27FC236}">
                  <a16:creationId xmlns:a16="http://schemas.microsoft.com/office/drawing/2014/main" id="{F3D91458-17C2-4464-86CA-02B4F12DCF31}"/>
                </a:ext>
              </a:extLst>
            </p:cNvPr>
            <p:cNvSpPr>
              <a:spLocks noChangeArrowheads="1"/>
            </p:cNvSpPr>
            <p:nvPr/>
          </p:nvSpPr>
          <p:spPr bwMode="auto">
            <a:xfrm>
              <a:off x="5377" y="1426"/>
              <a:ext cx="31" cy="3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8" name="Rectangle 141">
              <a:extLst>
                <a:ext uri="{FF2B5EF4-FFF2-40B4-BE49-F238E27FC236}">
                  <a16:creationId xmlns:a16="http://schemas.microsoft.com/office/drawing/2014/main" id="{DE89633D-6205-4096-801D-07887BA94B3D}"/>
                </a:ext>
              </a:extLst>
            </p:cNvPr>
            <p:cNvSpPr>
              <a:spLocks noChangeArrowheads="1"/>
            </p:cNvSpPr>
            <p:nvPr/>
          </p:nvSpPr>
          <p:spPr bwMode="auto">
            <a:xfrm>
              <a:off x="5202" y="1469"/>
              <a:ext cx="31" cy="3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9" name="Rectangle 142">
              <a:extLst>
                <a:ext uri="{FF2B5EF4-FFF2-40B4-BE49-F238E27FC236}">
                  <a16:creationId xmlns:a16="http://schemas.microsoft.com/office/drawing/2014/main" id="{0FA860FF-CBE8-4B91-824E-409F1F093E27}"/>
                </a:ext>
              </a:extLst>
            </p:cNvPr>
            <p:cNvSpPr>
              <a:spLocks noChangeArrowheads="1"/>
            </p:cNvSpPr>
            <p:nvPr/>
          </p:nvSpPr>
          <p:spPr bwMode="auto">
            <a:xfrm>
              <a:off x="5377" y="1469"/>
              <a:ext cx="31" cy="3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0" name="Rectangle 143">
              <a:extLst>
                <a:ext uri="{FF2B5EF4-FFF2-40B4-BE49-F238E27FC236}">
                  <a16:creationId xmlns:a16="http://schemas.microsoft.com/office/drawing/2014/main" id="{17BEC931-9E30-4240-B0F3-2C43AE3012CD}"/>
                </a:ext>
              </a:extLst>
            </p:cNvPr>
            <p:cNvSpPr>
              <a:spLocks noChangeArrowheads="1"/>
            </p:cNvSpPr>
            <p:nvPr/>
          </p:nvSpPr>
          <p:spPr bwMode="auto">
            <a:xfrm>
              <a:off x="5202" y="1513"/>
              <a:ext cx="31" cy="3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1" name="Rectangle 144">
              <a:extLst>
                <a:ext uri="{FF2B5EF4-FFF2-40B4-BE49-F238E27FC236}">
                  <a16:creationId xmlns:a16="http://schemas.microsoft.com/office/drawing/2014/main" id="{43A7D49B-0B73-40CC-ADA3-E676E3F6160E}"/>
                </a:ext>
              </a:extLst>
            </p:cNvPr>
            <p:cNvSpPr>
              <a:spLocks noChangeArrowheads="1"/>
            </p:cNvSpPr>
            <p:nvPr/>
          </p:nvSpPr>
          <p:spPr bwMode="auto">
            <a:xfrm>
              <a:off x="5289" y="1513"/>
              <a:ext cx="31" cy="3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2" name="Rectangle 145">
              <a:extLst>
                <a:ext uri="{FF2B5EF4-FFF2-40B4-BE49-F238E27FC236}">
                  <a16:creationId xmlns:a16="http://schemas.microsoft.com/office/drawing/2014/main" id="{BA0B351D-DF8C-46B3-815A-A59DA567AA3A}"/>
                </a:ext>
              </a:extLst>
            </p:cNvPr>
            <p:cNvSpPr>
              <a:spLocks noChangeArrowheads="1"/>
            </p:cNvSpPr>
            <p:nvPr/>
          </p:nvSpPr>
          <p:spPr bwMode="auto">
            <a:xfrm>
              <a:off x="5377" y="1513"/>
              <a:ext cx="31" cy="3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3" name="Rectangle 146">
              <a:extLst>
                <a:ext uri="{FF2B5EF4-FFF2-40B4-BE49-F238E27FC236}">
                  <a16:creationId xmlns:a16="http://schemas.microsoft.com/office/drawing/2014/main" id="{5D0F43DD-295C-46CD-A76F-1321E859F61C}"/>
                </a:ext>
              </a:extLst>
            </p:cNvPr>
            <p:cNvSpPr>
              <a:spLocks noChangeArrowheads="1"/>
            </p:cNvSpPr>
            <p:nvPr/>
          </p:nvSpPr>
          <p:spPr bwMode="auto">
            <a:xfrm>
              <a:off x="5202" y="1557"/>
              <a:ext cx="31" cy="3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4" name="Rectangle 147">
              <a:extLst>
                <a:ext uri="{FF2B5EF4-FFF2-40B4-BE49-F238E27FC236}">
                  <a16:creationId xmlns:a16="http://schemas.microsoft.com/office/drawing/2014/main" id="{E0A9DA75-DD58-4A23-8730-EFEBB979BF2D}"/>
                </a:ext>
              </a:extLst>
            </p:cNvPr>
            <p:cNvSpPr>
              <a:spLocks noChangeArrowheads="1"/>
            </p:cNvSpPr>
            <p:nvPr/>
          </p:nvSpPr>
          <p:spPr bwMode="auto">
            <a:xfrm>
              <a:off x="5289" y="1557"/>
              <a:ext cx="31" cy="3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5" name="Rectangle 148">
              <a:extLst>
                <a:ext uri="{FF2B5EF4-FFF2-40B4-BE49-F238E27FC236}">
                  <a16:creationId xmlns:a16="http://schemas.microsoft.com/office/drawing/2014/main" id="{F7A71DC9-2C1A-41A7-8852-F43D8B3A5673}"/>
                </a:ext>
              </a:extLst>
            </p:cNvPr>
            <p:cNvSpPr>
              <a:spLocks noChangeArrowheads="1"/>
            </p:cNvSpPr>
            <p:nvPr/>
          </p:nvSpPr>
          <p:spPr bwMode="auto">
            <a:xfrm>
              <a:off x="5377" y="1557"/>
              <a:ext cx="31" cy="3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6" name="Rectangle 149">
              <a:extLst>
                <a:ext uri="{FF2B5EF4-FFF2-40B4-BE49-F238E27FC236}">
                  <a16:creationId xmlns:a16="http://schemas.microsoft.com/office/drawing/2014/main" id="{4E2403A0-1350-4D07-939C-1A5836E230EC}"/>
                </a:ext>
              </a:extLst>
            </p:cNvPr>
            <p:cNvSpPr>
              <a:spLocks noChangeArrowheads="1"/>
            </p:cNvSpPr>
            <p:nvPr/>
          </p:nvSpPr>
          <p:spPr bwMode="auto">
            <a:xfrm>
              <a:off x="5289" y="1469"/>
              <a:ext cx="31" cy="3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3" name="Title 2">
            <a:extLst>
              <a:ext uri="{FF2B5EF4-FFF2-40B4-BE49-F238E27FC236}">
                <a16:creationId xmlns:a16="http://schemas.microsoft.com/office/drawing/2014/main" id="{27F81762-B65D-1E1F-7BB0-E69FE7E3703C}"/>
              </a:ext>
            </a:extLst>
          </p:cNvPr>
          <p:cNvSpPr>
            <a:spLocks noGrp="1"/>
          </p:cNvSpPr>
          <p:nvPr>
            <p:ph type="title"/>
          </p:nvPr>
        </p:nvSpPr>
        <p:spPr/>
        <p:txBody>
          <a:bodyPr/>
          <a:lstStyle/>
          <a:p>
            <a:r>
              <a:rPr kumimoji="0" lang="en-US" sz="2800" b="0" i="0" u="none" strike="noStrike" kern="1200" cap="none" spc="-50" normalizeH="0" baseline="0" noProof="0">
                <a:ln w="3175">
                  <a:noFill/>
                </a:ln>
                <a:gradFill>
                  <a:gsLst>
                    <a:gs pos="0">
                      <a:srgbClr val="FFFFFF"/>
                    </a:gs>
                    <a:gs pos="100000">
                      <a:srgbClr val="FFFFFF"/>
                    </a:gs>
                  </a:gsLst>
                  <a:lin ang="5400000" scaled="0"/>
                </a:gradFill>
                <a:effectLst/>
                <a:uLnTx/>
                <a:uFillTx/>
                <a:latin typeface="Segoe UI Semibold"/>
                <a:ea typeface="+mn-ea"/>
                <a:cs typeface="Segoe UI" pitchFamily="34" charset="0"/>
              </a:rPr>
              <a:t>HPC Resource Stack on Azure</a:t>
            </a:r>
            <a:endParaRPr lang="en-IN"/>
          </a:p>
        </p:txBody>
      </p:sp>
    </p:spTree>
    <p:custDataLst>
      <p:tags r:id="rId1"/>
    </p:custDataLst>
    <p:extLst>
      <p:ext uri="{BB962C8B-B14F-4D97-AF65-F5344CB8AC3E}">
        <p14:creationId xmlns:p14="http://schemas.microsoft.com/office/powerpoint/2010/main" val="2201566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55"/>
                                        </p:tgtEl>
                                        <p:attrNameLst>
                                          <p:attrName>style.visibility</p:attrName>
                                        </p:attrNameLst>
                                      </p:cBhvr>
                                      <p:to>
                                        <p:strVal val="visible"/>
                                      </p:to>
                                    </p:set>
                                    <p:animEffect transition="in" filter="fade">
                                      <p:cBhvr>
                                        <p:cTn id="11" dur="500"/>
                                        <p:tgtEl>
                                          <p:spTgt spid="255"/>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41"/>
                                        </p:tgtEl>
                                        <p:attrNameLst>
                                          <p:attrName>style.visibility</p:attrName>
                                        </p:attrNameLst>
                                      </p:cBhvr>
                                      <p:to>
                                        <p:strVal val="visible"/>
                                      </p:to>
                                    </p:set>
                                    <p:animEffect transition="in" filter="fade">
                                      <p:cBhvr>
                                        <p:cTn id="14" dur="500"/>
                                        <p:tgtEl>
                                          <p:spTgt spid="241"/>
                                        </p:tgtEl>
                                      </p:cBhvr>
                                    </p:animEffect>
                                  </p:childTnLst>
                                </p:cTn>
                              </p:par>
                              <p:par>
                                <p:cTn id="15" presetID="16" presetClass="entr" presetSubtype="21" fill="hold" nodeType="withEffect">
                                  <p:stCondLst>
                                    <p:cond delay="0"/>
                                  </p:stCondLst>
                                  <p:childTnLst>
                                    <p:set>
                                      <p:cBhvr>
                                        <p:cTn id="16" dur="1" fill="hold">
                                          <p:stCondLst>
                                            <p:cond delay="0"/>
                                          </p:stCondLst>
                                        </p:cTn>
                                        <p:tgtEl>
                                          <p:spTgt spid="240"/>
                                        </p:tgtEl>
                                        <p:attrNameLst>
                                          <p:attrName>style.visibility</p:attrName>
                                        </p:attrNameLst>
                                      </p:cBhvr>
                                      <p:to>
                                        <p:strVal val="visible"/>
                                      </p:to>
                                    </p:set>
                                    <p:animEffect transition="in" filter="barn(inVertical)">
                                      <p:cBhvr>
                                        <p:cTn id="17" dur="250"/>
                                        <p:tgtEl>
                                          <p:spTgt spid="240"/>
                                        </p:tgtEl>
                                      </p:cBhvr>
                                    </p:animEffect>
                                  </p:childTnLst>
                                </p:cTn>
                              </p:par>
                            </p:childTnLst>
                          </p:cTn>
                        </p:par>
                        <p:par>
                          <p:cTn id="18" fill="hold">
                            <p:stCondLst>
                              <p:cond delay="1000"/>
                            </p:stCondLst>
                            <p:childTnLst>
                              <p:par>
                                <p:cTn id="19" presetID="22" presetClass="entr" presetSubtype="8" fill="hold" grpId="0" nodeType="afterEffect">
                                  <p:stCondLst>
                                    <p:cond delay="0"/>
                                  </p:stCondLst>
                                  <p:childTnLst>
                                    <p:set>
                                      <p:cBhvr>
                                        <p:cTn id="20" dur="1" fill="hold">
                                          <p:stCondLst>
                                            <p:cond delay="0"/>
                                          </p:stCondLst>
                                        </p:cTn>
                                        <p:tgtEl>
                                          <p:spTgt spid="242"/>
                                        </p:tgtEl>
                                        <p:attrNameLst>
                                          <p:attrName>style.visibility</p:attrName>
                                        </p:attrNameLst>
                                      </p:cBhvr>
                                      <p:to>
                                        <p:strVal val="visible"/>
                                      </p:to>
                                    </p:set>
                                    <p:animEffect transition="in" filter="wipe(left)">
                                      <p:cBhvr>
                                        <p:cTn id="21" dur="500"/>
                                        <p:tgtEl>
                                          <p:spTgt spid="242"/>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243"/>
                                        </p:tgtEl>
                                        <p:attrNameLst>
                                          <p:attrName>style.visibility</p:attrName>
                                        </p:attrNameLst>
                                      </p:cBhvr>
                                      <p:to>
                                        <p:strVal val="visible"/>
                                      </p:to>
                                    </p:set>
                                    <p:animEffect transition="in" filter="wipe(down)">
                                      <p:cBhvr>
                                        <p:cTn id="24" dur="500"/>
                                        <p:tgtEl>
                                          <p:spTgt spid="243"/>
                                        </p:tgtEl>
                                      </p:cBhvr>
                                    </p:animEffect>
                                  </p:childTnLst>
                                </p:cTn>
                              </p:par>
                              <p:par>
                                <p:cTn id="25" presetID="22" presetClass="entr" presetSubtype="2" fill="hold" grpId="0" nodeType="withEffect">
                                  <p:stCondLst>
                                    <p:cond delay="0"/>
                                  </p:stCondLst>
                                  <p:childTnLst>
                                    <p:set>
                                      <p:cBhvr>
                                        <p:cTn id="26" dur="1" fill="hold">
                                          <p:stCondLst>
                                            <p:cond delay="0"/>
                                          </p:stCondLst>
                                        </p:cTn>
                                        <p:tgtEl>
                                          <p:spTgt spid="254"/>
                                        </p:tgtEl>
                                        <p:attrNameLst>
                                          <p:attrName>style.visibility</p:attrName>
                                        </p:attrNameLst>
                                      </p:cBhvr>
                                      <p:to>
                                        <p:strVal val="visible"/>
                                      </p:to>
                                    </p:set>
                                    <p:animEffect transition="in" filter="wipe(right)">
                                      <p:cBhvr>
                                        <p:cTn id="27" dur="500"/>
                                        <p:tgtEl>
                                          <p:spTgt spid="254"/>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155"/>
                                        </p:tgtEl>
                                        <p:attrNameLst>
                                          <p:attrName>style.visibility</p:attrName>
                                        </p:attrNameLst>
                                      </p:cBhvr>
                                      <p:to>
                                        <p:strVal val="visible"/>
                                      </p:to>
                                    </p:set>
                                    <p:animEffect transition="in" filter="fade">
                                      <p:cBhvr>
                                        <p:cTn id="31" dur="500"/>
                                        <p:tgtEl>
                                          <p:spTgt spid="15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26"/>
                                        </p:tgtEl>
                                        <p:attrNameLst>
                                          <p:attrName>style.visibility</p:attrName>
                                        </p:attrNameLst>
                                      </p:cBhvr>
                                      <p:to>
                                        <p:strVal val="visible"/>
                                      </p:to>
                                    </p:set>
                                    <p:animEffect transition="in" filter="fade">
                                      <p:cBhvr>
                                        <p:cTn id="34" dur="500"/>
                                        <p:tgtEl>
                                          <p:spTgt spid="226"/>
                                        </p:tgtEl>
                                      </p:cBhvr>
                                    </p:animEffect>
                                  </p:childTnLst>
                                </p:cTn>
                              </p:par>
                              <p:par>
                                <p:cTn id="35" presetID="16" presetClass="entr" presetSubtype="21" fill="hold" nodeType="withEffect">
                                  <p:stCondLst>
                                    <p:cond delay="0"/>
                                  </p:stCondLst>
                                  <p:childTnLst>
                                    <p:set>
                                      <p:cBhvr>
                                        <p:cTn id="36" dur="1" fill="hold">
                                          <p:stCondLst>
                                            <p:cond delay="0"/>
                                          </p:stCondLst>
                                        </p:cTn>
                                        <p:tgtEl>
                                          <p:spTgt spid="225"/>
                                        </p:tgtEl>
                                        <p:attrNameLst>
                                          <p:attrName>style.visibility</p:attrName>
                                        </p:attrNameLst>
                                      </p:cBhvr>
                                      <p:to>
                                        <p:strVal val="visible"/>
                                      </p:to>
                                    </p:set>
                                    <p:animEffect transition="in" filter="barn(inVertical)">
                                      <p:cBhvr>
                                        <p:cTn id="37" dur="250"/>
                                        <p:tgtEl>
                                          <p:spTgt spid="225"/>
                                        </p:tgtEl>
                                      </p:cBhvr>
                                    </p:animEffect>
                                  </p:childTnLst>
                                </p:cTn>
                              </p:par>
                            </p:childTnLst>
                          </p:cTn>
                        </p:par>
                        <p:par>
                          <p:cTn id="38" fill="hold">
                            <p:stCondLst>
                              <p:cond delay="2000"/>
                            </p:stCondLst>
                            <p:childTnLst>
                              <p:par>
                                <p:cTn id="39" presetID="22" presetClass="entr" presetSubtype="8" fill="hold" grpId="0" nodeType="afterEffect">
                                  <p:stCondLst>
                                    <p:cond delay="0"/>
                                  </p:stCondLst>
                                  <p:childTnLst>
                                    <p:set>
                                      <p:cBhvr>
                                        <p:cTn id="40" dur="1" fill="hold">
                                          <p:stCondLst>
                                            <p:cond delay="0"/>
                                          </p:stCondLst>
                                        </p:cTn>
                                        <p:tgtEl>
                                          <p:spTgt spid="227"/>
                                        </p:tgtEl>
                                        <p:attrNameLst>
                                          <p:attrName>style.visibility</p:attrName>
                                        </p:attrNameLst>
                                      </p:cBhvr>
                                      <p:to>
                                        <p:strVal val="visible"/>
                                      </p:to>
                                    </p:set>
                                    <p:animEffect transition="in" filter="wipe(left)">
                                      <p:cBhvr>
                                        <p:cTn id="41" dur="500"/>
                                        <p:tgtEl>
                                          <p:spTgt spid="227"/>
                                        </p:tgtEl>
                                      </p:cBhvr>
                                    </p:animEffect>
                                  </p:childTnLst>
                                </p:cTn>
                              </p:par>
                              <p:par>
                                <p:cTn id="42" presetID="22" presetClass="entr" presetSubtype="4" fill="hold" grpId="0" nodeType="withEffect">
                                  <p:stCondLst>
                                    <p:cond delay="0"/>
                                  </p:stCondLst>
                                  <p:childTnLst>
                                    <p:set>
                                      <p:cBhvr>
                                        <p:cTn id="43" dur="1" fill="hold">
                                          <p:stCondLst>
                                            <p:cond delay="0"/>
                                          </p:stCondLst>
                                        </p:cTn>
                                        <p:tgtEl>
                                          <p:spTgt spid="228"/>
                                        </p:tgtEl>
                                        <p:attrNameLst>
                                          <p:attrName>style.visibility</p:attrName>
                                        </p:attrNameLst>
                                      </p:cBhvr>
                                      <p:to>
                                        <p:strVal val="visible"/>
                                      </p:to>
                                    </p:set>
                                    <p:animEffect transition="in" filter="wipe(down)">
                                      <p:cBhvr>
                                        <p:cTn id="44" dur="500"/>
                                        <p:tgtEl>
                                          <p:spTgt spid="228"/>
                                        </p:tgtEl>
                                      </p:cBhvr>
                                    </p:animEffect>
                                  </p:childTnLst>
                                </p:cTn>
                              </p:par>
                              <p:par>
                                <p:cTn id="45" presetID="22" presetClass="entr" presetSubtype="2" fill="hold" grpId="0" nodeType="withEffect">
                                  <p:stCondLst>
                                    <p:cond delay="0"/>
                                  </p:stCondLst>
                                  <p:childTnLst>
                                    <p:set>
                                      <p:cBhvr>
                                        <p:cTn id="46" dur="1" fill="hold">
                                          <p:stCondLst>
                                            <p:cond delay="0"/>
                                          </p:stCondLst>
                                        </p:cTn>
                                        <p:tgtEl>
                                          <p:spTgt spid="239"/>
                                        </p:tgtEl>
                                        <p:attrNameLst>
                                          <p:attrName>style.visibility</p:attrName>
                                        </p:attrNameLst>
                                      </p:cBhvr>
                                      <p:to>
                                        <p:strVal val="visible"/>
                                      </p:to>
                                    </p:set>
                                    <p:animEffect transition="in" filter="wipe(right)">
                                      <p:cBhvr>
                                        <p:cTn id="47" dur="500"/>
                                        <p:tgtEl>
                                          <p:spTgt spid="239"/>
                                        </p:tgtEl>
                                      </p:cBhvr>
                                    </p:animEffect>
                                  </p:childTnLst>
                                </p:cTn>
                              </p:par>
                            </p:childTnLst>
                          </p:cTn>
                        </p:par>
                        <p:par>
                          <p:cTn id="48" fill="hold">
                            <p:stCondLst>
                              <p:cond delay="2500"/>
                            </p:stCondLst>
                            <p:childTnLst>
                              <p:par>
                                <p:cTn id="49" presetID="10" presetClass="entr" presetSubtype="0" fill="hold" nodeType="afterEffect">
                                  <p:stCondLst>
                                    <p:cond delay="0"/>
                                  </p:stCondLst>
                                  <p:childTnLst>
                                    <p:set>
                                      <p:cBhvr>
                                        <p:cTn id="50" dur="1" fill="hold">
                                          <p:stCondLst>
                                            <p:cond delay="0"/>
                                          </p:stCondLst>
                                        </p:cTn>
                                        <p:tgtEl>
                                          <p:spTgt spid="256"/>
                                        </p:tgtEl>
                                        <p:attrNameLst>
                                          <p:attrName>style.visibility</p:attrName>
                                        </p:attrNameLst>
                                      </p:cBhvr>
                                      <p:to>
                                        <p:strVal val="visible"/>
                                      </p:to>
                                    </p:set>
                                    <p:animEffect transition="in" filter="fade">
                                      <p:cBhvr>
                                        <p:cTn id="51" dur="500"/>
                                        <p:tgtEl>
                                          <p:spTgt spid="25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44"/>
                                        </p:tgtEl>
                                        <p:attrNameLst>
                                          <p:attrName>style.visibility</p:attrName>
                                        </p:attrNameLst>
                                      </p:cBhvr>
                                      <p:to>
                                        <p:strVal val="visible"/>
                                      </p:to>
                                    </p:set>
                                    <p:animEffect transition="in" filter="fade">
                                      <p:cBhvr>
                                        <p:cTn id="54" dur="500"/>
                                        <p:tgtEl>
                                          <p:spTgt spid="144"/>
                                        </p:tgtEl>
                                      </p:cBhvr>
                                    </p:animEffect>
                                  </p:childTnLst>
                                </p:cTn>
                              </p:par>
                              <p:par>
                                <p:cTn id="55" presetID="16" presetClass="entr" presetSubtype="21" fill="hold" nodeType="withEffect">
                                  <p:stCondLst>
                                    <p:cond delay="0"/>
                                  </p:stCondLst>
                                  <p:childTnLst>
                                    <p:set>
                                      <p:cBhvr>
                                        <p:cTn id="56" dur="1" fill="hold">
                                          <p:stCondLst>
                                            <p:cond delay="0"/>
                                          </p:stCondLst>
                                        </p:cTn>
                                        <p:tgtEl>
                                          <p:spTgt spid="19"/>
                                        </p:tgtEl>
                                        <p:attrNameLst>
                                          <p:attrName>style.visibility</p:attrName>
                                        </p:attrNameLst>
                                      </p:cBhvr>
                                      <p:to>
                                        <p:strVal val="visible"/>
                                      </p:to>
                                    </p:set>
                                    <p:animEffect transition="in" filter="barn(inVertical)">
                                      <p:cBhvr>
                                        <p:cTn id="57" dur="250"/>
                                        <p:tgtEl>
                                          <p:spTgt spid="19"/>
                                        </p:tgtEl>
                                      </p:cBhvr>
                                    </p:animEffect>
                                  </p:childTnLst>
                                </p:cTn>
                              </p:par>
                            </p:childTnLst>
                          </p:cTn>
                        </p:par>
                        <p:par>
                          <p:cTn id="58" fill="hold">
                            <p:stCondLst>
                              <p:cond delay="3000"/>
                            </p:stCondLst>
                            <p:childTnLst>
                              <p:par>
                                <p:cTn id="59" presetID="22" presetClass="entr" presetSubtype="8" fill="hold" grpId="0" nodeType="afterEffect">
                                  <p:stCondLst>
                                    <p:cond delay="0"/>
                                  </p:stCondLst>
                                  <p:childTnLst>
                                    <p:set>
                                      <p:cBhvr>
                                        <p:cTn id="60" dur="1" fill="hold">
                                          <p:stCondLst>
                                            <p:cond delay="0"/>
                                          </p:stCondLst>
                                        </p:cTn>
                                        <p:tgtEl>
                                          <p:spTgt spid="145"/>
                                        </p:tgtEl>
                                        <p:attrNameLst>
                                          <p:attrName>style.visibility</p:attrName>
                                        </p:attrNameLst>
                                      </p:cBhvr>
                                      <p:to>
                                        <p:strVal val="visible"/>
                                      </p:to>
                                    </p:set>
                                    <p:animEffect transition="in" filter="wipe(left)">
                                      <p:cBhvr>
                                        <p:cTn id="61" dur="500"/>
                                        <p:tgtEl>
                                          <p:spTgt spid="145"/>
                                        </p:tgtEl>
                                      </p:cBhvr>
                                    </p:animEffect>
                                  </p:childTnLst>
                                </p:cTn>
                              </p:par>
                              <p:par>
                                <p:cTn id="62" presetID="22" presetClass="entr" presetSubtype="4" fill="hold" nodeType="withEffect">
                                  <p:stCondLst>
                                    <p:cond delay="0"/>
                                  </p:stCondLst>
                                  <p:childTnLst>
                                    <p:set>
                                      <p:cBhvr>
                                        <p:cTn id="63" dur="1" fill="hold">
                                          <p:stCondLst>
                                            <p:cond delay="0"/>
                                          </p:stCondLst>
                                        </p:cTn>
                                        <p:tgtEl>
                                          <p:spTgt spid="146">
                                            <p:txEl>
                                              <p:pRg st="0" end="0"/>
                                            </p:txEl>
                                          </p:spTgt>
                                        </p:tgtEl>
                                        <p:attrNameLst>
                                          <p:attrName>style.visibility</p:attrName>
                                        </p:attrNameLst>
                                      </p:cBhvr>
                                      <p:to>
                                        <p:strVal val="visible"/>
                                      </p:to>
                                    </p:set>
                                    <p:animEffect transition="in" filter="wipe(down)">
                                      <p:cBhvr>
                                        <p:cTn id="64" dur="500"/>
                                        <p:tgtEl>
                                          <p:spTgt spid="146">
                                            <p:txEl>
                                              <p:pRg st="0" end="0"/>
                                            </p:txEl>
                                          </p:spTgt>
                                        </p:tgtEl>
                                      </p:cBhvr>
                                    </p:animEffect>
                                  </p:childTnLst>
                                </p:cTn>
                              </p:par>
                            </p:childTnLst>
                          </p:cTn>
                        </p:par>
                        <p:par>
                          <p:cTn id="65" fill="hold">
                            <p:stCondLst>
                              <p:cond delay="3500"/>
                            </p:stCondLst>
                            <p:childTnLst>
                              <p:par>
                                <p:cTn id="66" presetID="10" presetClass="entr" presetSubtype="0" fill="hold" nodeType="afterEffect">
                                  <p:stCondLst>
                                    <p:cond delay="0"/>
                                  </p:stCondLst>
                                  <p:childTnLst>
                                    <p:set>
                                      <p:cBhvr>
                                        <p:cTn id="67" dur="1" fill="hold">
                                          <p:stCondLst>
                                            <p:cond delay="0"/>
                                          </p:stCondLst>
                                        </p:cTn>
                                        <p:tgtEl>
                                          <p:spTgt spid="150"/>
                                        </p:tgtEl>
                                        <p:attrNameLst>
                                          <p:attrName>style.visibility</p:attrName>
                                        </p:attrNameLst>
                                      </p:cBhvr>
                                      <p:to>
                                        <p:strVal val="visible"/>
                                      </p:to>
                                    </p:set>
                                    <p:animEffect transition="in" filter="fade">
                                      <p:cBhvr>
                                        <p:cTn id="68" dur="500"/>
                                        <p:tgtEl>
                                          <p:spTgt spid="150"/>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49"/>
                                        </p:tgtEl>
                                        <p:attrNameLst>
                                          <p:attrName>style.visibility</p:attrName>
                                        </p:attrNameLst>
                                      </p:cBhvr>
                                      <p:to>
                                        <p:strVal val="visible"/>
                                      </p:to>
                                    </p:set>
                                    <p:animEffect transition="in" filter="fade">
                                      <p:cBhvr>
                                        <p:cTn id="71" dur="500"/>
                                        <p:tgtEl>
                                          <p:spTgt spid="149"/>
                                        </p:tgtEl>
                                      </p:cBhvr>
                                    </p:animEffect>
                                  </p:childTnLst>
                                </p:cTn>
                              </p:par>
                              <p:par>
                                <p:cTn id="72" presetID="16" presetClass="entr" presetSubtype="21" fill="hold" nodeType="withEffect">
                                  <p:stCondLst>
                                    <p:cond delay="0"/>
                                  </p:stCondLst>
                                  <p:childTnLst>
                                    <p:set>
                                      <p:cBhvr>
                                        <p:cTn id="73" dur="1" fill="hold">
                                          <p:stCondLst>
                                            <p:cond delay="0"/>
                                          </p:stCondLst>
                                        </p:cTn>
                                        <p:tgtEl>
                                          <p:spTgt spid="148"/>
                                        </p:tgtEl>
                                        <p:attrNameLst>
                                          <p:attrName>style.visibility</p:attrName>
                                        </p:attrNameLst>
                                      </p:cBhvr>
                                      <p:to>
                                        <p:strVal val="visible"/>
                                      </p:to>
                                    </p:set>
                                    <p:animEffect transition="in" filter="barn(inVertical)">
                                      <p:cBhvr>
                                        <p:cTn id="74" dur="250"/>
                                        <p:tgtEl>
                                          <p:spTgt spid="148"/>
                                        </p:tgtEl>
                                      </p:cBhvr>
                                    </p:animEffect>
                                  </p:childTnLst>
                                </p:cTn>
                              </p:par>
                            </p:childTnLst>
                          </p:cTn>
                        </p:par>
                        <p:par>
                          <p:cTn id="75" fill="hold">
                            <p:stCondLst>
                              <p:cond delay="4000"/>
                            </p:stCondLst>
                            <p:childTnLst>
                              <p:par>
                                <p:cTn id="76" presetID="22" presetClass="entr" presetSubtype="4" fill="hold" grpId="0" nodeType="afterEffect">
                                  <p:stCondLst>
                                    <p:cond delay="0"/>
                                  </p:stCondLst>
                                  <p:childTnLst>
                                    <p:set>
                                      <p:cBhvr>
                                        <p:cTn id="77" dur="1" fill="hold">
                                          <p:stCondLst>
                                            <p:cond delay="0"/>
                                          </p:stCondLst>
                                        </p:cTn>
                                        <p:tgtEl>
                                          <p:spTgt spid="169"/>
                                        </p:tgtEl>
                                        <p:attrNameLst>
                                          <p:attrName>style.visibility</p:attrName>
                                        </p:attrNameLst>
                                      </p:cBhvr>
                                      <p:to>
                                        <p:strVal val="visible"/>
                                      </p:to>
                                    </p:set>
                                    <p:animEffect transition="in" filter="wipe(down)">
                                      <p:cBhvr>
                                        <p:cTn id="78" dur="500"/>
                                        <p:tgtEl>
                                          <p:spTgt spid="169"/>
                                        </p:tgtEl>
                                      </p:cBhvr>
                                    </p:animEffect>
                                  </p:childTnLst>
                                </p:cTn>
                              </p:par>
                              <p:par>
                                <p:cTn id="79" presetID="22" presetClass="entr" presetSubtype="4" fill="hold" grpId="0" nodeType="withEffect">
                                  <p:stCondLst>
                                    <p:cond delay="0"/>
                                  </p:stCondLst>
                                  <p:childTnLst>
                                    <p:set>
                                      <p:cBhvr>
                                        <p:cTn id="80" dur="1" fill="hold">
                                          <p:stCondLst>
                                            <p:cond delay="0"/>
                                          </p:stCondLst>
                                        </p:cTn>
                                        <p:tgtEl>
                                          <p:spTgt spid="170"/>
                                        </p:tgtEl>
                                        <p:attrNameLst>
                                          <p:attrName>style.visibility</p:attrName>
                                        </p:attrNameLst>
                                      </p:cBhvr>
                                      <p:to>
                                        <p:strVal val="visible"/>
                                      </p:to>
                                    </p:set>
                                    <p:animEffect transition="in" filter="wipe(down)">
                                      <p:cBhvr>
                                        <p:cTn id="81" dur="500"/>
                                        <p:tgtEl>
                                          <p:spTgt spid="170"/>
                                        </p:tgtEl>
                                      </p:cBhvr>
                                    </p:animEffect>
                                  </p:childTnLst>
                                </p:cTn>
                              </p:par>
                              <p:par>
                                <p:cTn id="82" presetID="22" presetClass="entr" presetSubtype="2" fill="hold" grpId="0" nodeType="withEffect">
                                  <p:stCondLst>
                                    <p:cond delay="0"/>
                                  </p:stCondLst>
                                  <p:childTnLst>
                                    <p:set>
                                      <p:cBhvr>
                                        <p:cTn id="83" dur="1" fill="hold">
                                          <p:stCondLst>
                                            <p:cond delay="0"/>
                                          </p:stCondLst>
                                        </p:cTn>
                                        <p:tgtEl>
                                          <p:spTgt spid="224"/>
                                        </p:tgtEl>
                                        <p:attrNameLst>
                                          <p:attrName>style.visibility</p:attrName>
                                        </p:attrNameLst>
                                      </p:cBhvr>
                                      <p:to>
                                        <p:strVal val="visible"/>
                                      </p:to>
                                    </p:set>
                                    <p:animEffect transition="in" filter="wipe(right)">
                                      <p:cBhvr>
                                        <p:cTn id="84" dur="500"/>
                                        <p:tgtEl>
                                          <p:spTgt spid="224"/>
                                        </p:tgtEl>
                                      </p:cBhvr>
                                    </p:animEffect>
                                  </p:childTnLst>
                                </p:cTn>
                              </p:par>
                            </p:childTnLst>
                          </p:cTn>
                        </p:par>
                        <p:par>
                          <p:cTn id="85" fill="hold">
                            <p:stCondLst>
                              <p:cond delay="4500"/>
                            </p:stCondLst>
                            <p:childTnLst>
                              <p:par>
                                <p:cTn id="86" presetID="10" presetClass="entr" presetSubtype="0" fill="hold" nodeType="afterEffect">
                                  <p:stCondLst>
                                    <p:cond delay="0"/>
                                  </p:stCondLst>
                                  <p:childTnLst>
                                    <p:set>
                                      <p:cBhvr>
                                        <p:cTn id="87" dur="1" fill="hold">
                                          <p:stCondLst>
                                            <p:cond delay="0"/>
                                          </p:stCondLst>
                                        </p:cTn>
                                        <p:tgtEl>
                                          <p:spTgt spid="28"/>
                                        </p:tgtEl>
                                        <p:attrNameLst>
                                          <p:attrName>style.visibility</p:attrName>
                                        </p:attrNameLst>
                                      </p:cBhvr>
                                      <p:to>
                                        <p:strVal val="visible"/>
                                      </p:to>
                                    </p:set>
                                    <p:animEffect transition="in" filter="fade">
                                      <p:cBhvr>
                                        <p:cTn id="88" dur="500"/>
                                        <p:tgtEl>
                                          <p:spTgt spid="28"/>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16" presetClass="entr" presetSubtype="21" fill="hold" nodeType="withEffect">
                                  <p:stCondLst>
                                    <p:cond delay="0"/>
                                  </p:stCondLst>
                                  <p:childTnLst>
                                    <p:set>
                                      <p:cBhvr>
                                        <p:cTn id="93" dur="1" fill="hold">
                                          <p:stCondLst>
                                            <p:cond delay="0"/>
                                          </p:stCondLst>
                                        </p:cTn>
                                        <p:tgtEl>
                                          <p:spTgt spid="7"/>
                                        </p:tgtEl>
                                        <p:attrNameLst>
                                          <p:attrName>style.visibility</p:attrName>
                                        </p:attrNameLst>
                                      </p:cBhvr>
                                      <p:to>
                                        <p:strVal val="visible"/>
                                      </p:to>
                                    </p:set>
                                    <p:animEffect transition="in" filter="barn(inVertical)">
                                      <p:cBhvr>
                                        <p:cTn id="94" dur="500"/>
                                        <p:tgtEl>
                                          <p:spTgt spid="7"/>
                                        </p:tgtEl>
                                      </p:cBhvr>
                                    </p:animEffect>
                                  </p:childTnLst>
                                </p:cTn>
                              </p:par>
                            </p:childTnLst>
                          </p:cTn>
                        </p:par>
                        <p:par>
                          <p:cTn id="95" fill="hold">
                            <p:stCondLst>
                              <p:cond delay="5000"/>
                            </p:stCondLst>
                            <p:childTnLst>
                              <p:par>
                                <p:cTn id="96" presetID="22" presetClass="entr" presetSubtype="8" fill="hold" grpId="0" nodeType="afterEffect">
                                  <p:stCondLst>
                                    <p:cond delay="0"/>
                                  </p:stCondLst>
                                  <p:childTnLst>
                                    <p:set>
                                      <p:cBhvr>
                                        <p:cTn id="97" dur="1" fill="hold">
                                          <p:stCondLst>
                                            <p:cond delay="0"/>
                                          </p:stCondLst>
                                        </p:cTn>
                                        <p:tgtEl>
                                          <p:spTgt spid="5"/>
                                        </p:tgtEl>
                                        <p:attrNameLst>
                                          <p:attrName>style.visibility</p:attrName>
                                        </p:attrNameLst>
                                      </p:cBhvr>
                                      <p:to>
                                        <p:strVal val="visible"/>
                                      </p:to>
                                    </p:set>
                                    <p:animEffect transition="in" filter="wipe(left)">
                                      <p:cBhvr>
                                        <p:cTn id="98" dur="500"/>
                                        <p:tgtEl>
                                          <p:spTgt spid="5"/>
                                        </p:tgtEl>
                                      </p:cBhvr>
                                    </p:animEffect>
                                  </p:childTnLst>
                                </p:cTn>
                              </p:par>
                              <p:par>
                                <p:cTn id="99" presetID="22" presetClass="entr" presetSubtype="4" fill="hold" grpId="0" nodeType="withEffect">
                                  <p:stCondLst>
                                    <p:cond delay="0"/>
                                  </p:stCondLst>
                                  <p:childTnLst>
                                    <p:set>
                                      <p:cBhvr>
                                        <p:cTn id="100" dur="1" fill="hold">
                                          <p:stCondLst>
                                            <p:cond delay="0"/>
                                          </p:stCondLst>
                                        </p:cTn>
                                        <p:tgtEl>
                                          <p:spTgt spid="77"/>
                                        </p:tgtEl>
                                        <p:attrNameLst>
                                          <p:attrName>style.visibility</p:attrName>
                                        </p:attrNameLst>
                                      </p:cBhvr>
                                      <p:to>
                                        <p:strVal val="visible"/>
                                      </p:to>
                                    </p:set>
                                    <p:animEffect transition="in" filter="wipe(down)">
                                      <p:cBhvr>
                                        <p:cTn id="101" dur="500"/>
                                        <p:tgtEl>
                                          <p:spTgt spid="77"/>
                                        </p:tgtEl>
                                      </p:cBhvr>
                                    </p:animEffect>
                                  </p:childTnLst>
                                </p:cTn>
                              </p:par>
                              <p:par>
                                <p:cTn id="102" presetID="22" presetClass="entr" presetSubtype="2" fill="hold" grpId="0" nodeType="withEffect">
                                  <p:stCondLst>
                                    <p:cond delay="0"/>
                                  </p:stCondLst>
                                  <p:childTnLst>
                                    <p:set>
                                      <p:cBhvr>
                                        <p:cTn id="103" dur="1" fill="hold">
                                          <p:stCondLst>
                                            <p:cond delay="0"/>
                                          </p:stCondLst>
                                        </p:cTn>
                                        <p:tgtEl>
                                          <p:spTgt spid="168"/>
                                        </p:tgtEl>
                                        <p:attrNameLst>
                                          <p:attrName>style.visibility</p:attrName>
                                        </p:attrNameLst>
                                      </p:cBhvr>
                                      <p:to>
                                        <p:strVal val="visible"/>
                                      </p:to>
                                    </p:set>
                                    <p:animEffect transition="in" filter="wipe(right)">
                                      <p:cBhvr>
                                        <p:cTn id="104" dur="500"/>
                                        <p:tgtEl>
                                          <p:spTgt spid="1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5" grpId="0"/>
      <p:bldP spid="77" grpId="0"/>
      <p:bldP spid="168" grpId="0"/>
      <p:bldP spid="149" grpId="0"/>
      <p:bldP spid="169" grpId="0"/>
      <p:bldP spid="170" grpId="0"/>
      <p:bldP spid="224" grpId="0"/>
      <p:bldP spid="226" grpId="0"/>
      <p:bldP spid="227" grpId="0"/>
      <p:bldP spid="228" grpId="0"/>
      <p:bldP spid="239" grpId="0"/>
      <p:bldP spid="241" grpId="0"/>
      <p:bldP spid="242" grpId="0"/>
      <p:bldP spid="243" grpId="0"/>
      <p:bldP spid="254" grpId="0"/>
      <p:bldP spid="144" grpId="0"/>
      <p:bldP spid="145" grpId="0"/>
      <p:bldP spid="3"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66A48C7-23C1-4EB7-9B83-01DC9B572A12}"/>
              </a:ext>
              <a:ext uri="{C183D7F6-B498-43B3-948B-1728B52AA6E4}">
                <adec:decorative xmlns:adec="http://schemas.microsoft.com/office/drawing/2017/decorative" val="1"/>
              </a:ext>
            </a:extLst>
          </p:cNvPr>
          <p:cNvSpPr/>
          <p:nvPr/>
        </p:nvSpPr>
        <p:spPr>
          <a:xfrm>
            <a:off x="879075" y="1211496"/>
            <a:ext cx="6480000" cy="877163"/>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F89AF4"/>
                </a:solidFill>
                <a:effectLst/>
                <a:uLnTx/>
                <a:uFillTx/>
                <a:latin typeface="Segoe UI Semibold"/>
                <a:ea typeface="+mn-ea"/>
                <a:cs typeface="Segoe UI Semibold" panose="020B0702040204020203" pitchFamily="34" charset="0"/>
              </a:rPr>
              <a:t>Broad offering with the N-series</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Light" panose="020B0502040204020203" pitchFamily="34" charset="0"/>
              </a:rPr>
              <a:t>GPUs from M60 to V100 to support ML &amp; DL training &amp; inference, HPC across industries and Graphics workloads</a:t>
            </a:r>
          </a:p>
        </p:txBody>
      </p:sp>
      <p:sp>
        <p:nvSpPr>
          <p:cNvPr id="4" name="Rectangle 3">
            <a:extLst>
              <a:ext uri="{FF2B5EF4-FFF2-40B4-BE49-F238E27FC236}">
                <a16:creationId xmlns:a16="http://schemas.microsoft.com/office/drawing/2014/main" id="{05A10481-8FD3-4432-A4AD-78688D3A311D}"/>
              </a:ext>
              <a:ext uri="{C183D7F6-B498-43B3-948B-1728B52AA6E4}">
                <adec:decorative xmlns:adec="http://schemas.microsoft.com/office/drawing/2017/decorative" val="1"/>
              </a:ext>
            </a:extLst>
          </p:cNvPr>
          <p:cNvSpPr/>
          <p:nvPr/>
        </p:nvSpPr>
        <p:spPr>
          <a:xfrm>
            <a:off x="870415" y="2254169"/>
            <a:ext cx="6480000" cy="1092607"/>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F89AF4"/>
                </a:solidFill>
                <a:effectLst/>
                <a:uLnTx/>
                <a:uFillTx/>
                <a:latin typeface="Segoe UI Semibold"/>
                <a:ea typeface="+mn-ea"/>
                <a:cs typeface="Segoe UI Semibold" panose="020B0702040204020203" pitchFamily="34" charset="0"/>
              </a:rPr>
              <a:t>Integration with key Microsoft solutions</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Light" panose="020B0502040204020203" pitchFamily="34" charset="0"/>
              </a:rPr>
              <a:t>like AML and ONNX for end-to-end acceleration for the most complex workloads, reducing burden of producing world-class solutions</a:t>
            </a:r>
          </a:p>
        </p:txBody>
      </p:sp>
      <p:sp>
        <p:nvSpPr>
          <p:cNvPr id="5" name="Rectangle 4">
            <a:extLst>
              <a:ext uri="{FF2B5EF4-FFF2-40B4-BE49-F238E27FC236}">
                <a16:creationId xmlns:a16="http://schemas.microsoft.com/office/drawing/2014/main" id="{97A55507-3261-40FC-BA3B-B2449DDA62F4}"/>
              </a:ext>
              <a:ext uri="{C183D7F6-B498-43B3-948B-1728B52AA6E4}">
                <adec:decorative xmlns:adec="http://schemas.microsoft.com/office/drawing/2017/decorative" val="1"/>
              </a:ext>
            </a:extLst>
          </p:cNvPr>
          <p:cNvSpPr/>
          <p:nvPr/>
        </p:nvSpPr>
        <p:spPr>
          <a:xfrm>
            <a:off x="870414" y="3404564"/>
            <a:ext cx="6480000" cy="877163"/>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F89AF4"/>
                </a:solidFill>
                <a:effectLst/>
                <a:uLnTx/>
                <a:uFillTx/>
                <a:latin typeface="Segoe UI Semibold"/>
                <a:ea typeface="+mn-ea"/>
                <a:cs typeface="Segoe UI Semibold" panose="020B0702040204020203" pitchFamily="34" charset="0"/>
              </a:rPr>
              <a:t>Versatility across applications and frameworks</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Light" panose="020B0502040204020203" pitchFamily="34" charset="0"/>
              </a:rPr>
              <a:t>to support engineering on one platform and solution for the entire team, regardless of the preferences of particular engineers</a:t>
            </a:r>
          </a:p>
        </p:txBody>
      </p:sp>
      <p:sp>
        <p:nvSpPr>
          <p:cNvPr id="12" name="Rectangle 11">
            <a:extLst>
              <a:ext uri="{FF2B5EF4-FFF2-40B4-BE49-F238E27FC236}">
                <a16:creationId xmlns:a16="http://schemas.microsoft.com/office/drawing/2014/main" id="{E82C40CE-FD39-4275-B6EC-25F417B26249}"/>
              </a:ext>
              <a:ext uri="{C183D7F6-B498-43B3-948B-1728B52AA6E4}">
                <adec:decorative xmlns:adec="http://schemas.microsoft.com/office/drawing/2017/decorative" val="1"/>
              </a:ext>
            </a:extLst>
          </p:cNvPr>
          <p:cNvSpPr/>
          <p:nvPr/>
        </p:nvSpPr>
        <p:spPr>
          <a:xfrm>
            <a:off x="879075" y="4447237"/>
            <a:ext cx="6480000" cy="877163"/>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F89AF4"/>
                </a:solidFill>
                <a:effectLst/>
                <a:uLnTx/>
                <a:uFillTx/>
                <a:latin typeface="Segoe UI Semibold"/>
                <a:ea typeface="+mn-ea"/>
                <a:cs typeface="Segoe UI Light" panose="020B0502040204020203" pitchFamily="34" charset="0"/>
              </a:rPr>
              <a:t>All </a:t>
            </a:r>
            <a:r>
              <a:rPr kumimoji="0" lang="en-US" sz="1600" b="0" i="0" u="none" strike="noStrike" kern="1200" cap="none" spc="0" normalizeH="0" baseline="0" noProof="0">
                <a:ln>
                  <a:noFill/>
                </a:ln>
                <a:solidFill>
                  <a:srgbClr val="F89AF4"/>
                </a:solidFill>
                <a:effectLst/>
                <a:uLnTx/>
                <a:uFillTx/>
                <a:latin typeface="Segoe UI Semibold"/>
                <a:ea typeface="+mn-ea"/>
                <a:cs typeface="Segoe UI Semibold" panose="020B0702040204020203" pitchFamily="34" charset="0"/>
              </a:rPr>
              <a:t>NVIDIA acceleration software </a:t>
            </a:r>
            <a:r>
              <a:rPr kumimoji="0" lang="en-US" sz="1600" b="0" i="0" u="none" strike="noStrike" kern="1200" cap="none" spc="0" normalizeH="0" baseline="0" noProof="0">
                <a:ln>
                  <a:noFill/>
                </a:ln>
                <a:solidFill>
                  <a:srgbClr val="F89AF4"/>
                </a:solidFill>
                <a:effectLst/>
                <a:uLnTx/>
                <a:uFillTx/>
                <a:latin typeface="Segoe UI Semibold"/>
                <a:ea typeface="+mn-ea"/>
                <a:cs typeface="Segoe UI Light" panose="020B0502040204020203" pitchFamily="34" charset="0"/>
              </a:rPr>
              <a:t>housed in NGC</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Light" panose="020B0502040204020203" pitchFamily="34" charset="0"/>
              </a:rPr>
              <a:t>via Azure marketplace to ensure users have the </a:t>
            </a:r>
            <a:r>
              <a:rPr kumimoji="0" lang="en-US" sz="14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easiest experience </a:t>
            </a:r>
            <a:r>
              <a:rPr kumimoji="0" lang="en-US" sz="1400" b="0" i="0" u="none" strike="noStrike" kern="1200" cap="none" spc="0" normalizeH="0" baseline="0" noProof="0">
                <a:ln>
                  <a:noFill/>
                </a:ln>
                <a:solidFill>
                  <a:srgbClr val="FFFFFF"/>
                </a:solidFill>
                <a:effectLst/>
                <a:uLnTx/>
                <a:uFillTx/>
                <a:latin typeface="Segoe UI"/>
                <a:ea typeface="+mn-ea"/>
                <a:cs typeface="Segoe UI Light" panose="020B0502040204020203" pitchFamily="34" charset="0"/>
              </a:rPr>
              <a:t>packaging what they need to achieve best performance in no time. </a:t>
            </a:r>
          </a:p>
        </p:txBody>
      </p:sp>
      <p:pic>
        <p:nvPicPr>
          <p:cNvPr id="13" name="Picture 12">
            <a:extLst>
              <a:ext uri="{FF2B5EF4-FFF2-40B4-BE49-F238E27FC236}">
                <a16:creationId xmlns:a16="http://schemas.microsoft.com/office/drawing/2014/main" id="{A5E307A0-3DFC-4482-A48F-9505A22DFB95}"/>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7194" b="11017"/>
          <a:stretch/>
        </p:blipFill>
        <p:spPr>
          <a:xfrm>
            <a:off x="7451958" y="1777999"/>
            <a:ext cx="4063512" cy="3302001"/>
          </a:xfrm>
          <a:prstGeom prst="rect">
            <a:avLst/>
          </a:prstGeom>
          <a:effectLst>
            <a:reflection blurRad="6350" stA="50000" endA="300" endPos="55000" dir="5400000" sy="-100000" algn="bl" rotWithShape="0"/>
          </a:effectLst>
        </p:spPr>
      </p:pic>
      <p:sp>
        <p:nvSpPr>
          <p:cNvPr id="21" name="Rectangle 20">
            <a:extLst>
              <a:ext uri="{FF2B5EF4-FFF2-40B4-BE49-F238E27FC236}">
                <a16:creationId xmlns:a16="http://schemas.microsoft.com/office/drawing/2014/main" id="{ED5F94CC-E6CA-4A8A-B99D-1E2C3358FC9F}"/>
              </a:ext>
              <a:ext uri="{C183D7F6-B498-43B3-948B-1728B52AA6E4}">
                <adec:decorative xmlns:adec="http://schemas.microsoft.com/office/drawing/2017/decorative" val="1"/>
              </a:ext>
            </a:extLst>
          </p:cNvPr>
          <p:cNvSpPr/>
          <p:nvPr/>
        </p:nvSpPr>
        <p:spPr>
          <a:xfrm>
            <a:off x="870414" y="5489911"/>
            <a:ext cx="6480000" cy="661720"/>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F89AF4"/>
                </a:solidFill>
                <a:effectLst/>
                <a:uLnTx/>
                <a:uFillTx/>
                <a:latin typeface="Segoe UI Semibold"/>
                <a:ea typeface="+mn-ea"/>
                <a:cs typeface="Segoe UI Semibold" panose="020B0702040204020203" pitchFamily="34" charset="0"/>
              </a:rPr>
              <a:t>Optional InfiniBand interconnect</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Light" panose="020B0502040204020203" pitchFamily="34" charset="0"/>
              </a:rPr>
              <a:t>enables scale-up performance</a:t>
            </a:r>
          </a:p>
        </p:txBody>
      </p:sp>
      <p:sp>
        <p:nvSpPr>
          <p:cNvPr id="3" name="Title 2">
            <a:extLst>
              <a:ext uri="{FF2B5EF4-FFF2-40B4-BE49-F238E27FC236}">
                <a16:creationId xmlns:a16="http://schemas.microsoft.com/office/drawing/2014/main" id="{F1D8413A-005E-518F-A6EA-0AE11039027B}"/>
              </a:ext>
            </a:extLst>
          </p:cNvPr>
          <p:cNvSpPr>
            <a:spLocks noGrp="1"/>
          </p:cNvSpPr>
          <p:nvPr>
            <p:ph type="title"/>
          </p:nvPr>
        </p:nvSpPr>
        <p:spPr/>
        <p:txBody>
          <a:bodyPr/>
          <a:lstStyle/>
          <a:p>
            <a:r>
              <a:rPr lang="en-US" sz="2800" b="1">
                <a:latin typeface="Segoe UI Semibold" panose="020B0502040204020203" pitchFamily="34" charset="0"/>
                <a:cs typeface="+mn-cs"/>
              </a:rPr>
              <a:t>NVIDIA in Azure</a:t>
            </a:r>
            <a:endParaRPr lang="en-IN"/>
          </a:p>
        </p:txBody>
      </p:sp>
    </p:spTree>
    <p:extLst>
      <p:ext uri="{BB962C8B-B14F-4D97-AF65-F5344CB8AC3E}">
        <p14:creationId xmlns:p14="http://schemas.microsoft.com/office/powerpoint/2010/main" val="1577116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 presetClass="entr" presetSubtype="8"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500" fill="hold"/>
                                        <p:tgtEl>
                                          <p:spTgt spid="4"/>
                                        </p:tgtEl>
                                        <p:attrNameLst>
                                          <p:attrName>ppt_x</p:attrName>
                                        </p:attrNameLst>
                                      </p:cBhvr>
                                      <p:tavLst>
                                        <p:tav tm="0">
                                          <p:val>
                                            <p:strVal val="0-#ppt_w/2"/>
                                          </p:val>
                                        </p:tav>
                                        <p:tav tm="100000">
                                          <p:val>
                                            <p:strVal val="#ppt_x"/>
                                          </p:val>
                                        </p:tav>
                                      </p:tavLst>
                                    </p:anim>
                                    <p:anim calcmode="lin" valueType="num">
                                      <p:cBhvr additive="base">
                                        <p:cTn id="16" dur="500" fill="hold"/>
                                        <p:tgtEl>
                                          <p:spTgt spid="4"/>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500" fill="hold"/>
                                        <p:tgtEl>
                                          <p:spTgt spid="5"/>
                                        </p:tgtEl>
                                        <p:attrNameLst>
                                          <p:attrName>ppt_x</p:attrName>
                                        </p:attrNameLst>
                                      </p:cBhvr>
                                      <p:tavLst>
                                        <p:tav tm="0">
                                          <p:val>
                                            <p:strVal val="0-#ppt_w/2"/>
                                          </p:val>
                                        </p:tav>
                                        <p:tav tm="100000">
                                          <p:val>
                                            <p:strVal val="#ppt_x"/>
                                          </p:val>
                                        </p:tav>
                                      </p:tavLst>
                                    </p:anim>
                                    <p:anim calcmode="lin" valueType="num">
                                      <p:cBhvr additive="base">
                                        <p:cTn id="20" dur="500" fill="hold"/>
                                        <p:tgtEl>
                                          <p:spTgt spid="5"/>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500" fill="hold"/>
                                        <p:tgtEl>
                                          <p:spTgt spid="12"/>
                                        </p:tgtEl>
                                        <p:attrNameLst>
                                          <p:attrName>ppt_x</p:attrName>
                                        </p:attrNameLst>
                                      </p:cBhvr>
                                      <p:tavLst>
                                        <p:tav tm="0">
                                          <p:val>
                                            <p:strVal val="0-#ppt_w/2"/>
                                          </p:val>
                                        </p:tav>
                                        <p:tav tm="100000">
                                          <p:val>
                                            <p:strVal val="#ppt_x"/>
                                          </p:val>
                                        </p:tav>
                                      </p:tavLst>
                                    </p:anim>
                                    <p:anim calcmode="lin" valueType="num">
                                      <p:cBhvr additive="base">
                                        <p:cTn id="24" dur="500" fill="hold"/>
                                        <p:tgtEl>
                                          <p:spTgt spid="12"/>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anim calcmode="lin" valueType="num">
                                      <p:cBhvr additive="base">
                                        <p:cTn id="27" dur="500" fill="hold"/>
                                        <p:tgtEl>
                                          <p:spTgt spid="21"/>
                                        </p:tgtEl>
                                        <p:attrNameLst>
                                          <p:attrName>ppt_x</p:attrName>
                                        </p:attrNameLst>
                                      </p:cBhvr>
                                      <p:tavLst>
                                        <p:tav tm="0">
                                          <p:val>
                                            <p:strVal val="0-#ppt_w/2"/>
                                          </p:val>
                                        </p:tav>
                                        <p:tav tm="100000">
                                          <p:val>
                                            <p:strVal val="#ppt_x"/>
                                          </p:val>
                                        </p:tav>
                                      </p:tavLst>
                                    </p:anim>
                                    <p:anim calcmode="lin" valueType="num">
                                      <p:cBhvr additive="base">
                                        <p:cTn id="28" dur="500" fill="hold"/>
                                        <p:tgtEl>
                                          <p:spTgt spid="21"/>
                                        </p:tgtEl>
                                        <p:attrNameLst>
                                          <p:attrName>ppt_y</p:attrName>
                                        </p:attrNameLst>
                                      </p:cBhvr>
                                      <p:tavLst>
                                        <p:tav tm="0">
                                          <p:val>
                                            <p:strVal val="#ppt_y"/>
                                          </p:val>
                                        </p:tav>
                                        <p:tav tm="100000">
                                          <p:val>
                                            <p:strVal val="#ppt_y"/>
                                          </p:val>
                                        </p:tav>
                                      </p:tavLst>
                                    </p:anim>
                                  </p:childTnLst>
                                </p:cTn>
                              </p:par>
                              <p:par>
                                <p:cTn id="29" presetID="16" presetClass="entr" presetSubtype="26" fill="hold"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barn(inHorizontal)">
                                      <p:cBhvr>
                                        <p:cTn id="3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4" grpId="0"/>
      <p:bldP spid="5" grpId="0"/>
      <p:bldP spid="12" grpId="0"/>
      <p:bldP spid="21" grpId="0"/>
      <p:bldP spid="3" grpId="0"/>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D20819-9509-0B8E-3F68-B47CE3CA18A6}"/>
              </a:ext>
            </a:extLst>
          </p:cNvPr>
          <p:cNvSpPr>
            <a:spLocks noGrp="1"/>
          </p:cNvSpPr>
          <p:nvPr>
            <p:ph type="title"/>
          </p:nvPr>
        </p:nvSpPr>
        <p:spPr/>
        <p:txBody>
          <a:bodyPr/>
          <a:lstStyle/>
          <a:p>
            <a:r>
              <a:rPr lang="en-US" sz="2800" b="1">
                <a:solidFill>
                  <a:schemeClr val="bg1"/>
                </a:solidFill>
                <a:latin typeface="Segoe UI Semibold" panose="020B0502040204020203" pitchFamily="34" charset="0"/>
                <a:cs typeface="+mn-cs"/>
              </a:rPr>
              <a:t>GPU Computing </a:t>
            </a:r>
            <a:endParaRPr lang="en-IN"/>
          </a:p>
        </p:txBody>
      </p:sp>
      <p:pic>
        <p:nvPicPr>
          <p:cNvPr id="32" name="Picture 2">
            <a:extLst>
              <a:ext uri="{FF2B5EF4-FFF2-40B4-BE49-F238E27FC236}">
                <a16:creationId xmlns:a16="http://schemas.microsoft.com/office/drawing/2014/main" id="{EB2C57D6-AECC-8909-CFD5-1B96B70807BA}"/>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8369" y="1651891"/>
            <a:ext cx="2564384" cy="144000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a:extLst>
              <a:ext uri="{FF2B5EF4-FFF2-40B4-BE49-F238E27FC236}">
                <a16:creationId xmlns:a16="http://schemas.microsoft.com/office/drawing/2014/main" id="{D1CF5749-7A28-DA5D-AB4C-D9020FB68583}"/>
              </a:ext>
              <a:ext uri="{C183D7F6-B498-43B3-948B-1728B52AA6E4}">
                <adec:decorative xmlns:adec="http://schemas.microsoft.com/office/drawing/2017/decorative" val="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941" r="707" b="25184"/>
          <a:stretch/>
        </p:blipFill>
        <p:spPr bwMode="auto">
          <a:xfrm>
            <a:off x="3895873" y="1651891"/>
            <a:ext cx="2546229" cy="1440000"/>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8">
            <a:extLst>
              <a:ext uri="{FF2B5EF4-FFF2-40B4-BE49-F238E27FC236}">
                <a16:creationId xmlns:a16="http://schemas.microsoft.com/office/drawing/2014/main" id="{F0C7D154-44BC-98DB-F67C-24FCEF4677D1}"/>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85247" y="1651891"/>
            <a:ext cx="2281967" cy="144000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0">
            <a:extLst>
              <a:ext uri="{FF2B5EF4-FFF2-40B4-BE49-F238E27FC236}">
                <a16:creationId xmlns:a16="http://schemas.microsoft.com/office/drawing/2014/main" id="{0DB0F7D4-6BC2-3887-45D8-AB32894C7866}"/>
              </a:ext>
              <a:ext uri="{C183D7F6-B498-43B3-948B-1728B52AA6E4}">
                <adec:decorative xmlns:adec="http://schemas.microsoft.com/office/drawing/2017/decorative" val="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4824" r="25896" b="18545"/>
          <a:stretch/>
        </p:blipFill>
        <p:spPr bwMode="auto">
          <a:xfrm>
            <a:off x="9010359" y="1651891"/>
            <a:ext cx="2402254" cy="1440000"/>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37">
            <a:extLst>
              <a:ext uri="{FF2B5EF4-FFF2-40B4-BE49-F238E27FC236}">
                <a16:creationId xmlns:a16="http://schemas.microsoft.com/office/drawing/2014/main" id="{5CEC8AA1-5CB1-EB95-94FE-7DD8A710F9CF}"/>
              </a:ext>
              <a:ext uri="{C183D7F6-B498-43B3-948B-1728B52AA6E4}">
                <adec:decorative xmlns:adec="http://schemas.microsoft.com/office/drawing/2017/decorative" val="1"/>
              </a:ext>
            </a:extLst>
          </p:cNvPr>
          <p:cNvSpPr/>
          <p:nvPr/>
        </p:nvSpPr>
        <p:spPr>
          <a:xfrm>
            <a:off x="3998987" y="1152197"/>
            <a:ext cx="2340000" cy="439316"/>
          </a:xfrm>
          <a:prstGeom prst="rect">
            <a:avLst/>
          </a:prstGeom>
          <a:noFill/>
          <a:ln>
            <a:noFill/>
          </a:ln>
        </p:spPr>
        <p:txBody>
          <a:bodyPr wrap="square" lIns="89630" tIns="44814" rIns="89630" bIns="44814"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67AF0"/>
                </a:solidFill>
                <a:effectLst/>
                <a:uLnTx/>
                <a:uFillTx/>
                <a:latin typeface="Segoe UI Semibold" panose="020B0702040204020203" pitchFamily="34" charset="0"/>
                <a:cs typeface="Segoe UI Semibold" panose="020B0702040204020203" pitchFamily="34" charset="0"/>
              </a:rPr>
              <a:t>Rendering</a:t>
            </a:r>
          </a:p>
        </p:txBody>
      </p:sp>
      <p:sp>
        <p:nvSpPr>
          <p:cNvPr id="39" name="Rectangle 38">
            <a:extLst>
              <a:ext uri="{FF2B5EF4-FFF2-40B4-BE49-F238E27FC236}">
                <a16:creationId xmlns:a16="http://schemas.microsoft.com/office/drawing/2014/main" id="{DB951C1F-92F3-DCBC-5B69-21F0AFA48289}"/>
              </a:ext>
              <a:ext uri="{C183D7F6-B498-43B3-948B-1728B52AA6E4}">
                <adec:decorative xmlns:adec="http://schemas.microsoft.com/office/drawing/2017/decorative" val="1"/>
              </a:ext>
            </a:extLst>
          </p:cNvPr>
          <p:cNvSpPr/>
          <p:nvPr/>
        </p:nvSpPr>
        <p:spPr>
          <a:xfrm>
            <a:off x="9041486" y="1152197"/>
            <a:ext cx="2340000" cy="437528"/>
          </a:xfrm>
          <a:prstGeom prst="rect">
            <a:avLst/>
          </a:prstGeom>
          <a:noFill/>
          <a:ln>
            <a:noFill/>
          </a:ln>
        </p:spPr>
        <p:txBody>
          <a:bodyPr wrap="square" lIns="89630" tIns="44814" rIns="89630" bIns="44814"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67AF0"/>
                </a:solidFill>
                <a:effectLst/>
                <a:uLnTx/>
                <a:uFillTx/>
                <a:latin typeface="Segoe UI Semibold" panose="020B0702040204020203" pitchFamily="34" charset="0"/>
                <a:cs typeface="Segoe UI Semibold" panose="020B0702040204020203" pitchFamily="34" charset="0"/>
              </a:rPr>
              <a:t>Deep-Learning/AI</a:t>
            </a:r>
          </a:p>
        </p:txBody>
      </p:sp>
      <p:sp>
        <p:nvSpPr>
          <p:cNvPr id="40" name="Rectangle 39">
            <a:extLst>
              <a:ext uri="{FF2B5EF4-FFF2-40B4-BE49-F238E27FC236}">
                <a16:creationId xmlns:a16="http://schemas.microsoft.com/office/drawing/2014/main" id="{8EDC4AD0-B938-352F-8C1C-E5AA2A329CA8}"/>
              </a:ext>
              <a:ext uri="{C183D7F6-B498-43B3-948B-1728B52AA6E4}">
                <adec:decorative xmlns:adec="http://schemas.microsoft.com/office/drawing/2017/decorative" val="1"/>
              </a:ext>
            </a:extLst>
          </p:cNvPr>
          <p:cNvSpPr/>
          <p:nvPr/>
        </p:nvSpPr>
        <p:spPr>
          <a:xfrm>
            <a:off x="6598768" y="1152197"/>
            <a:ext cx="2254924" cy="436978"/>
          </a:xfrm>
          <a:prstGeom prst="rect">
            <a:avLst/>
          </a:prstGeom>
          <a:noFill/>
          <a:ln>
            <a:noFill/>
          </a:ln>
        </p:spPr>
        <p:txBody>
          <a:bodyPr wrap="square" lIns="89630" tIns="44814" rIns="89630" bIns="44814"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67AF0"/>
                </a:solidFill>
                <a:effectLst/>
                <a:uLnTx/>
                <a:uFillTx/>
                <a:latin typeface="Segoe UI Semibold" panose="020B0702040204020203" pitchFamily="34" charset="0"/>
                <a:cs typeface="Segoe UI Semibold" panose="020B0702040204020203" pitchFamily="34" charset="0"/>
              </a:rPr>
              <a:t>HPC/Simulation</a:t>
            </a:r>
          </a:p>
        </p:txBody>
      </p:sp>
      <p:sp>
        <p:nvSpPr>
          <p:cNvPr id="41" name="Rectangle 40">
            <a:extLst>
              <a:ext uri="{FF2B5EF4-FFF2-40B4-BE49-F238E27FC236}">
                <a16:creationId xmlns:a16="http://schemas.microsoft.com/office/drawing/2014/main" id="{47B9FBBA-2EBF-A512-E79C-625E2964865B}"/>
              </a:ext>
              <a:ext uri="{C183D7F6-B498-43B3-948B-1728B52AA6E4}">
                <adec:decorative xmlns:adec="http://schemas.microsoft.com/office/drawing/2017/decorative" val="1"/>
              </a:ext>
            </a:extLst>
          </p:cNvPr>
          <p:cNvSpPr/>
          <p:nvPr/>
        </p:nvSpPr>
        <p:spPr>
          <a:xfrm>
            <a:off x="770561" y="1152197"/>
            <a:ext cx="2340000" cy="437255"/>
          </a:xfrm>
          <a:prstGeom prst="rect">
            <a:avLst/>
          </a:prstGeom>
          <a:noFill/>
          <a:ln>
            <a:noFill/>
          </a:ln>
        </p:spPr>
        <p:txBody>
          <a:bodyPr wrap="square" lIns="89630" tIns="44814" rIns="89630" bIns="44814"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8FFA"/>
                </a:solidFill>
                <a:effectLst/>
                <a:uLnTx/>
                <a:uFillTx/>
                <a:latin typeface="Segoe UI Semibold" panose="020B0702040204020203" pitchFamily="34" charset="0"/>
                <a:cs typeface="Segoe UI Semibold" panose="020B0702040204020203" pitchFamily="34" charset="0"/>
              </a:rPr>
              <a:t>Visualization</a:t>
            </a:r>
          </a:p>
        </p:txBody>
      </p:sp>
      <p:grpSp>
        <p:nvGrpSpPr>
          <p:cNvPr id="42" name="Group 41">
            <a:extLst>
              <a:ext uri="{FF2B5EF4-FFF2-40B4-BE49-F238E27FC236}">
                <a16:creationId xmlns:a16="http://schemas.microsoft.com/office/drawing/2014/main" id="{F258A256-C831-9C8A-A9D4-CF8956336CA5}"/>
              </a:ext>
              <a:ext uri="{C183D7F6-B498-43B3-948B-1728B52AA6E4}">
                <adec:decorative xmlns:adec="http://schemas.microsoft.com/office/drawing/2017/decorative" val="1"/>
              </a:ext>
            </a:extLst>
          </p:cNvPr>
          <p:cNvGrpSpPr/>
          <p:nvPr/>
        </p:nvGrpSpPr>
        <p:grpSpPr>
          <a:xfrm>
            <a:off x="1463231" y="3766110"/>
            <a:ext cx="954661" cy="839979"/>
            <a:chOff x="6468553" y="2746939"/>
            <a:chExt cx="1111312" cy="1038851"/>
          </a:xfrm>
        </p:grpSpPr>
        <p:grpSp>
          <p:nvGrpSpPr>
            <p:cNvPr id="48" name="Group 47">
              <a:extLst>
                <a:ext uri="{FF2B5EF4-FFF2-40B4-BE49-F238E27FC236}">
                  <a16:creationId xmlns:a16="http://schemas.microsoft.com/office/drawing/2014/main" id="{64B8893F-3CC3-A042-5F97-51261874AE68}"/>
                </a:ext>
              </a:extLst>
            </p:cNvPr>
            <p:cNvGrpSpPr/>
            <p:nvPr/>
          </p:nvGrpSpPr>
          <p:grpSpPr>
            <a:xfrm>
              <a:off x="6468553" y="2746939"/>
              <a:ext cx="1111312" cy="1038851"/>
              <a:chOff x="7132637" y="1006524"/>
              <a:chExt cx="4304244" cy="4014739"/>
            </a:xfrm>
          </p:grpSpPr>
          <p:pic>
            <p:nvPicPr>
              <p:cNvPr id="50" name="Picture 49">
                <a:extLst>
                  <a:ext uri="{FF2B5EF4-FFF2-40B4-BE49-F238E27FC236}">
                    <a16:creationId xmlns:a16="http://schemas.microsoft.com/office/drawing/2014/main" id="{1DE12069-00DB-096B-3CD3-B2DF7B43653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99561" y="1172781"/>
                <a:ext cx="4182166" cy="3848482"/>
              </a:xfrm>
              <a:prstGeom prst="rect">
                <a:avLst/>
              </a:prstGeom>
            </p:spPr>
          </p:pic>
          <p:sp>
            <p:nvSpPr>
              <p:cNvPr id="51" name="AutoShape 3">
                <a:extLst>
                  <a:ext uri="{FF2B5EF4-FFF2-40B4-BE49-F238E27FC236}">
                    <a16:creationId xmlns:a16="http://schemas.microsoft.com/office/drawing/2014/main" id="{0DF63358-154A-F87B-F9A3-B2A34706F7C3}"/>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855" tIns="43927" rIns="87855" bIns="43927"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575" b="0" i="0" u="none" strike="noStrike" kern="0" cap="none" spc="0" normalizeH="0" baseline="0" noProof="0">
                  <a:ln>
                    <a:noFill/>
                  </a:ln>
                  <a:gradFill>
                    <a:gsLst>
                      <a:gs pos="1250">
                        <a:srgbClr val="FFFFFF"/>
                      </a:gs>
                      <a:gs pos="100000">
                        <a:srgbClr val="FFFFFF"/>
                      </a:gs>
                    </a:gsLst>
                    <a:lin ang="5400000" scaled="0"/>
                  </a:gradFill>
                  <a:effectLst/>
                  <a:uLnTx/>
                  <a:uFillTx/>
                  <a:latin typeface="Segoe UI Light"/>
                  <a:ea typeface="+mn-ea"/>
                  <a:cs typeface="+mn-cs"/>
                </a:endParaRPr>
              </a:p>
            </p:txBody>
          </p:sp>
        </p:grpSp>
        <p:sp>
          <p:nvSpPr>
            <p:cNvPr id="49" name="TextBox 48">
              <a:extLst>
                <a:ext uri="{FF2B5EF4-FFF2-40B4-BE49-F238E27FC236}">
                  <a16:creationId xmlns:a16="http://schemas.microsoft.com/office/drawing/2014/main" id="{968240DC-FEDD-B14D-2173-EAA46F39C6DF}"/>
                </a:ext>
              </a:extLst>
            </p:cNvPr>
            <p:cNvSpPr txBox="1"/>
            <p:nvPr/>
          </p:nvSpPr>
          <p:spPr>
            <a:xfrm>
              <a:off x="6565772" y="2862607"/>
              <a:ext cx="916875" cy="636119"/>
            </a:xfrm>
            <a:prstGeom prst="rect">
              <a:avLst/>
            </a:prstGeom>
            <a:solidFill>
              <a:schemeClr val="tx2">
                <a:lumMod val="50000"/>
              </a:schemeClr>
            </a:solidFill>
          </p:spPr>
          <p:txBody>
            <a:bodyPr wrap="square" lIns="0" tIns="44814" rIns="0" bIns="0" rtlCol="0" anchor="ctr" anchorCtr="0">
              <a:noAutofit/>
            </a:bodyPr>
            <a:lstStyle/>
            <a:p>
              <a:pPr marL="0" marR="0" lvl="0" indent="0" algn="ctr" defTabSz="895922" rtl="0" eaLnBrk="1" fontAlgn="auto" latinLnBrk="0" hangingPunct="1">
                <a:lnSpc>
                  <a:spcPct val="90000"/>
                </a:lnSpc>
                <a:spcBef>
                  <a:spcPts val="0"/>
                </a:spcBef>
                <a:spcAft>
                  <a:spcPts val="0"/>
                </a:spcAft>
                <a:buClrTx/>
                <a:buSzTx/>
                <a:buFontTx/>
                <a:buNone/>
                <a:tabLst/>
                <a:defRPr/>
              </a:pPr>
              <a:r>
                <a:rPr kumimoji="0" lang="en-US" sz="2800" b="1" i="0" u="none" strike="noStrike" kern="0" cap="none" spc="0" normalizeH="0" baseline="0" noProof="0">
                  <a:ln>
                    <a:noFill/>
                  </a:ln>
                  <a:solidFill>
                    <a:schemeClr val="bg1"/>
                  </a:solidFill>
                  <a:effectLst/>
                  <a:uLnTx/>
                  <a:uFillTx/>
                  <a:latin typeface="Segoe UI"/>
                  <a:ea typeface="Segoe UI" pitchFamily="34" charset="0"/>
                  <a:cs typeface="Segoe UI" pitchFamily="34" charset="0"/>
                </a:rPr>
                <a:t>NV</a:t>
              </a:r>
            </a:p>
          </p:txBody>
        </p:sp>
      </p:grpSp>
      <p:cxnSp>
        <p:nvCxnSpPr>
          <p:cNvPr id="52" name="Straight Arrow Connector 51">
            <a:extLst>
              <a:ext uri="{FF2B5EF4-FFF2-40B4-BE49-F238E27FC236}">
                <a16:creationId xmlns:a16="http://schemas.microsoft.com/office/drawing/2014/main" id="{A97421CF-F74F-3D08-B6B9-CD1EB6EF95DB}"/>
              </a:ext>
              <a:ext uri="{C183D7F6-B498-43B3-948B-1728B52AA6E4}">
                <adec:decorative xmlns:adec="http://schemas.microsoft.com/office/drawing/2017/decorative" val="1"/>
              </a:ext>
            </a:extLst>
          </p:cNvPr>
          <p:cNvCxnSpPr>
            <a:cxnSpLocks/>
          </p:cNvCxnSpPr>
          <p:nvPr/>
        </p:nvCxnSpPr>
        <p:spPr>
          <a:xfrm>
            <a:off x="447162" y="3376622"/>
            <a:ext cx="3129158" cy="0"/>
          </a:xfrm>
          <a:prstGeom prst="straightConnector1">
            <a:avLst/>
          </a:prstGeom>
          <a:ln w="76200">
            <a:solidFill>
              <a:srgbClr val="F89AF4"/>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38F473B0-66DC-D037-C8B4-DDF1B7732852}"/>
              </a:ext>
              <a:ext uri="{C183D7F6-B498-43B3-948B-1728B52AA6E4}">
                <adec:decorative xmlns:adec="http://schemas.microsoft.com/office/drawing/2017/decorative" val="1"/>
              </a:ext>
            </a:extLst>
          </p:cNvPr>
          <p:cNvSpPr/>
          <p:nvPr/>
        </p:nvSpPr>
        <p:spPr>
          <a:xfrm>
            <a:off x="101601" y="4938264"/>
            <a:ext cx="3677920" cy="1477328"/>
          </a:xfrm>
          <a:prstGeom prst="rect">
            <a:avLst/>
          </a:prstGeom>
        </p:spPr>
        <p:txBody>
          <a:bodyPr wrap="square">
            <a:spAutoFit/>
          </a:bodyPr>
          <a:lstStyle/>
          <a:p>
            <a:pPr algn="ctr">
              <a:spcAft>
                <a:spcPts val="1200"/>
              </a:spcAft>
              <a:defRPr/>
            </a:pPr>
            <a:r>
              <a:rPr kumimoji="0" lang="en-US" sz="1400" b="0" i="0" u="none" strike="noStrike" kern="1200" cap="none" spc="0" normalizeH="0" baseline="0" noProof="0">
                <a:ln>
                  <a:noFill/>
                </a:ln>
                <a:solidFill>
                  <a:srgbClr val="FFFFFF">
                    <a:lumMod val="95000"/>
                  </a:srgbClr>
                </a:solidFill>
                <a:effectLst/>
                <a:uLnTx/>
                <a:uFillTx/>
                <a:latin typeface="Segoe UI" panose="020B0502040204020203" pitchFamily="34" charset="0"/>
                <a:ea typeface="+mn-ea"/>
                <a:cs typeface="+mn-cs"/>
              </a:rPr>
              <a:t>Workload centric PCs &amp; Workstations</a:t>
            </a:r>
          </a:p>
          <a:p>
            <a:pPr algn="ctr">
              <a:spcAft>
                <a:spcPts val="1200"/>
              </a:spcAft>
              <a:defRPr/>
            </a:pPr>
            <a:r>
              <a:rPr kumimoji="0" lang="en-US" sz="1400" b="0" i="0" u="none" strike="noStrike" kern="1200" cap="none" spc="0" normalizeH="0" baseline="0" noProof="0">
                <a:ln>
                  <a:noFill/>
                </a:ln>
                <a:solidFill>
                  <a:srgbClr val="FFFFFF">
                    <a:lumMod val="95000"/>
                  </a:srgbClr>
                </a:solidFill>
                <a:effectLst/>
                <a:uLnTx/>
                <a:uFillTx/>
                <a:latin typeface="Segoe UI" panose="020B0502040204020203" pitchFamily="34" charset="0"/>
                <a:ea typeface="+mn-ea"/>
                <a:cs typeface="+mn-cs"/>
              </a:rPr>
              <a:t>Variable configuration for GPU workstations for content consumption</a:t>
            </a:r>
          </a:p>
          <a:p>
            <a:pPr algn="ctr">
              <a:spcAft>
                <a:spcPts val="1200"/>
              </a:spcAft>
              <a:defRPr/>
            </a:pPr>
            <a:r>
              <a:rPr kumimoji="0" lang="en-US" sz="1400" b="0" i="0" u="none" strike="noStrike" kern="1200" cap="none" spc="0" normalizeH="0" baseline="0" noProof="0">
                <a:ln>
                  <a:noFill/>
                </a:ln>
                <a:solidFill>
                  <a:srgbClr val="FFFFFF">
                    <a:lumMod val="95000"/>
                  </a:srgbClr>
                </a:solidFill>
                <a:effectLst/>
                <a:uLnTx/>
                <a:uFillTx/>
                <a:latin typeface="Segoe UI" panose="020B0502040204020203" pitchFamily="34" charset="0"/>
                <a:ea typeface="+mn-ea"/>
                <a:cs typeface="+mn-cs"/>
              </a:rPr>
              <a:t>Modern workspace for interactive collaboration</a:t>
            </a:r>
          </a:p>
        </p:txBody>
      </p:sp>
      <p:cxnSp>
        <p:nvCxnSpPr>
          <p:cNvPr id="54" name="Straight Arrow Connector 53">
            <a:extLst>
              <a:ext uri="{FF2B5EF4-FFF2-40B4-BE49-F238E27FC236}">
                <a16:creationId xmlns:a16="http://schemas.microsoft.com/office/drawing/2014/main" id="{F960C37D-7DCA-E170-BBF1-55FFA8727D79}"/>
              </a:ext>
              <a:ext uri="{C183D7F6-B498-43B3-948B-1728B52AA6E4}">
                <adec:decorative xmlns:adec="http://schemas.microsoft.com/office/drawing/2017/decorative" val="1"/>
              </a:ext>
            </a:extLst>
          </p:cNvPr>
          <p:cNvCxnSpPr>
            <a:cxnSpLocks/>
          </p:cNvCxnSpPr>
          <p:nvPr/>
        </p:nvCxnSpPr>
        <p:spPr>
          <a:xfrm>
            <a:off x="3576320" y="3371366"/>
            <a:ext cx="8023767" cy="10343"/>
          </a:xfrm>
          <a:prstGeom prst="straightConnector1">
            <a:avLst/>
          </a:prstGeom>
          <a:ln w="76200">
            <a:solidFill>
              <a:srgbClr val="F67AF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73F64B48-98F4-E694-8C74-ED1A6C430BFB}"/>
              </a:ext>
              <a:ext uri="{C183D7F6-B498-43B3-948B-1728B52AA6E4}">
                <adec:decorative xmlns:adec="http://schemas.microsoft.com/office/drawing/2017/decorative" val="1"/>
              </a:ext>
            </a:extLst>
          </p:cNvPr>
          <p:cNvSpPr/>
          <p:nvPr/>
        </p:nvSpPr>
        <p:spPr>
          <a:xfrm>
            <a:off x="4236719" y="4925093"/>
            <a:ext cx="6835049" cy="913583"/>
          </a:xfrm>
          <a:prstGeom prst="rect">
            <a:avLst/>
          </a:prstGeom>
        </p:spPr>
        <p:txBody>
          <a:bodyPr wrap="square">
            <a:spAutoFit/>
          </a:bodyPr>
          <a:lstStyle/>
          <a:p>
            <a:pPr marL="457200" marR="0" lvl="1"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FFFFFF">
                    <a:lumMod val="95000"/>
                  </a:srgbClr>
                </a:solidFill>
                <a:effectLst/>
                <a:uLnTx/>
                <a:uFillTx/>
                <a:latin typeface="Segoe UI" panose="020B0502040204020203" pitchFamily="34" charset="0"/>
                <a:ea typeface="+mn-ea"/>
                <a:cs typeface="+mn-cs"/>
              </a:rPr>
              <a:t>Scale out using IB for multimode HPC and ML workloads on any MPI stack</a:t>
            </a:r>
          </a:p>
          <a:p>
            <a:pPr marL="457200" marR="0" lvl="1" indent="0" algn="ctr" defTabSz="914400" rtl="0" eaLnBrk="1" fontAlgn="auto" latinLnBrk="0" hangingPunct="1">
              <a:lnSpc>
                <a:spcPct val="90000"/>
              </a:lnSpc>
              <a:spcBef>
                <a:spcPts val="500"/>
              </a:spcBef>
              <a:spcAft>
                <a:spcPts val="0"/>
              </a:spcAft>
              <a:buClrTx/>
              <a:buSzTx/>
              <a:buFontTx/>
              <a:buNone/>
              <a:tabLst/>
              <a:defRPr/>
            </a:pPr>
            <a:r>
              <a:rPr kumimoji="0" lang="en-US" sz="1400" b="0" i="0" u="none" strike="noStrike" kern="1200" cap="none" spc="0" normalizeH="0" baseline="0" noProof="0">
                <a:ln>
                  <a:noFill/>
                </a:ln>
                <a:solidFill>
                  <a:srgbClr val="FFFFFF">
                    <a:lumMod val="95000"/>
                  </a:srgbClr>
                </a:solidFill>
                <a:effectLst/>
                <a:uLnTx/>
                <a:uFillTx/>
                <a:latin typeface="Segoe UI" panose="020B0502040204020203" pitchFamily="34" charset="0"/>
                <a:ea typeface="+mn-ea"/>
                <a:cs typeface="+mn-cs"/>
              </a:rPr>
              <a:t>Scale-up multi-GPU VMs with fast NVLINK interconnect for high-density single box training and HPC workloads</a:t>
            </a:r>
          </a:p>
        </p:txBody>
      </p:sp>
      <p:grpSp>
        <p:nvGrpSpPr>
          <p:cNvPr id="56" name="Group 55">
            <a:extLst>
              <a:ext uri="{FF2B5EF4-FFF2-40B4-BE49-F238E27FC236}">
                <a16:creationId xmlns:a16="http://schemas.microsoft.com/office/drawing/2014/main" id="{20D9982D-4897-4E65-7F02-9C5B44A2039C}"/>
              </a:ext>
              <a:ext uri="{C183D7F6-B498-43B3-948B-1728B52AA6E4}">
                <adec:decorative xmlns:adec="http://schemas.microsoft.com/office/drawing/2017/decorative" val="1"/>
              </a:ext>
            </a:extLst>
          </p:cNvPr>
          <p:cNvGrpSpPr/>
          <p:nvPr/>
        </p:nvGrpSpPr>
        <p:grpSpPr>
          <a:xfrm>
            <a:off x="5964357" y="3766110"/>
            <a:ext cx="954661" cy="839979"/>
            <a:chOff x="6468553" y="2746939"/>
            <a:chExt cx="1111312" cy="1038851"/>
          </a:xfrm>
        </p:grpSpPr>
        <p:grpSp>
          <p:nvGrpSpPr>
            <p:cNvPr id="57" name="Group 56">
              <a:extLst>
                <a:ext uri="{FF2B5EF4-FFF2-40B4-BE49-F238E27FC236}">
                  <a16:creationId xmlns:a16="http://schemas.microsoft.com/office/drawing/2014/main" id="{029A6EB4-40E8-134C-5AD0-62A2692C625A}"/>
                </a:ext>
              </a:extLst>
            </p:cNvPr>
            <p:cNvGrpSpPr/>
            <p:nvPr/>
          </p:nvGrpSpPr>
          <p:grpSpPr>
            <a:xfrm>
              <a:off x="6468553" y="2746939"/>
              <a:ext cx="1111312" cy="1038851"/>
              <a:chOff x="7132637" y="1006524"/>
              <a:chExt cx="4304244" cy="4014739"/>
            </a:xfrm>
          </p:grpSpPr>
          <p:pic>
            <p:nvPicPr>
              <p:cNvPr id="70" name="Picture 69">
                <a:extLst>
                  <a:ext uri="{FF2B5EF4-FFF2-40B4-BE49-F238E27FC236}">
                    <a16:creationId xmlns:a16="http://schemas.microsoft.com/office/drawing/2014/main" id="{9DDD9187-A858-E50F-51A5-76E48417303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99561" y="1172781"/>
                <a:ext cx="4182166" cy="3848482"/>
              </a:xfrm>
              <a:prstGeom prst="rect">
                <a:avLst/>
              </a:prstGeom>
            </p:spPr>
          </p:pic>
          <p:sp>
            <p:nvSpPr>
              <p:cNvPr id="71" name="AutoShape 3">
                <a:extLst>
                  <a:ext uri="{FF2B5EF4-FFF2-40B4-BE49-F238E27FC236}">
                    <a16:creationId xmlns:a16="http://schemas.microsoft.com/office/drawing/2014/main" id="{FFE70769-E4C0-080E-8BE0-63C9B6A0EC37}"/>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855" tIns="43927" rIns="87855" bIns="43927"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575" b="0" i="0" u="none" strike="noStrike" kern="0" cap="none" spc="0" normalizeH="0" baseline="0" noProof="0">
                  <a:ln>
                    <a:noFill/>
                  </a:ln>
                  <a:gradFill>
                    <a:gsLst>
                      <a:gs pos="1250">
                        <a:srgbClr val="FFFFFF"/>
                      </a:gs>
                      <a:gs pos="100000">
                        <a:srgbClr val="FFFFFF"/>
                      </a:gs>
                    </a:gsLst>
                    <a:lin ang="5400000" scaled="0"/>
                  </a:gradFill>
                  <a:effectLst/>
                  <a:uLnTx/>
                  <a:uFillTx/>
                  <a:latin typeface="Segoe UI Light"/>
                  <a:ea typeface="+mn-ea"/>
                  <a:cs typeface="+mn-cs"/>
                </a:endParaRPr>
              </a:p>
            </p:txBody>
          </p:sp>
        </p:grpSp>
        <p:sp>
          <p:nvSpPr>
            <p:cNvPr id="69" name="TextBox 68">
              <a:extLst>
                <a:ext uri="{FF2B5EF4-FFF2-40B4-BE49-F238E27FC236}">
                  <a16:creationId xmlns:a16="http://schemas.microsoft.com/office/drawing/2014/main" id="{00458223-36C6-FDFB-93CF-7CF2407A6802}"/>
                </a:ext>
              </a:extLst>
            </p:cNvPr>
            <p:cNvSpPr txBox="1"/>
            <p:nvPr/>
          </p:nvSpPr>
          <p:spPr>
            <a:xfrm>
              <a:off x="6565772" y="2862607"/>
              <a:ext cx="916875" cy="636119"/>
            </a:xfrm>
            <a:prstGeom prst="rect">
              <a:avLst/>
            </a:prstGeom>
            <a:solidFill>
              <a:schemeClr val="tx2">
                <a:lumMod val="50000"/>
              </a:schemeClr>
            </a:solidFill>
          </p:spPr>
          <p:txBody>
            <a:bodyPr wrap="square" lIns="0" tIns="44814" rIns="0" bIns="0" rtlCol="0" anchor="ctr" anchorCtr="0">
              <a:noAutofit/>
            </a:bodyPr>
            <a:lstStyle/>
            <a:p>
              <a:pPr marL="0" marR="0" lvl="0" indent="0" algn="ctr" defTabSz="895922" rtl="0" eaLnBrk="1" fontAlgn="auto" latinLnBrk="0" hangingPunct="1">
                <a:lnSpc>
                  <a:spcPct val="90000"/>
                </a:lnSpc>
                <a:spcBef>
                  <a:spcPts val="0"/>
                </a:spcBef>
                <a:spcAft>
                  <a:spcPts val="0"/>
                </a:spcAft>
                <a:buClrTx/>
                <a:buSzTx/>
                <a:buFontTx/>
                <a:buNone/>
                <a:tabLst/>
                <a:defRPr/>
              </a:pPr>
              <a:r>
                <a:rPr kumimoji="0" lang="en-US" sz="2800" b="1" i="0" u="none" strike="noStrike" kern="0" cap="none" spc="0" normalizeH="0" baseline="0" noProof="0">
                  <a:ln>
                    <a:noFill/>
                  </a:ln>
                  <a:solidFill>
                    <a:schemeClr val="bg1"/>
                  </a:solidFill>
                  <a:effectLst/>
                  <a:uLnTx/>
                  <a:uFillTx/>
                  <a:latin typeface="Segoe UI"/>
                  <a:ea typeface="Segoe UI" pitchFamily="34" charset="0"/>
                  <a:cs typeface="Segoe UI" pitchFamily="34" charset="0"/>
                </a:rPr>
                <a:t>NC</a:t>
              </a:r>
              <a:endParaRPr kumimoji="0" lang="en-US" sz="3136" b="1" i="0" u="none" strike="noStrike" kern="0" cap="none" spc="0" normalizeH="0" baseline="0" noProof="0">
                <a:ln>
                  <a:noFill/>
                </a:ln>
                <a:solidFill>
                  <a:schemeClr val="bg1"/>
                </a:solidFill>
                <a:effectLst/>
                <a:uLnTx/>
                <a:uFillTx/>
                <a:latin typeface="Segoe UI"/>
                <a:ea typeface="Segoe UI" pitchFamily="34" charset="0"/>
                <a:cs typeface="Segoe UI" pitchFamily="34" charset="0"/>
              </a:endParaRPr>
            </a:p>
          </p:txBody>
        </p:sp>
      </p:grpSp>
      <p:grpSp>
        <p:nvGrpSpPr>
          <p:cNvPr id="72" name="Group 71">
            <a:extLst>
              <a:ext uri="{FF2B5EF4-FFF2-40B4-BE49-F238E27FC236}">
                <a16:creationId xmlns:a16="http://schemas.microsoft.com/office/drawing/2014/main" id="{28A13A86-AD8C-DD87-0958-83E8FB8FBB42}"/>
              </a:ext>
              <a:ext uri="{C183D7F6-B498-43B3-948B-1728B52AA6E4}">
                <adec:decorative xmlns:adec="http://schemas.microsoft.com/office/drawing/2017/decorative" val="1"/>
              </a:ext>
            </a:extLst>
          </p:cNvPr>
          <p:cNvGrpSpPr/>
          <p:nvPr/>
        </p:nvGrpSpPr>
        <p:grpSpPr>
          <a:xfrm>
            <a:off x="8389469" y="3766110"/>
            <a:ext cx="954661" cy="839979"/>
            <a:chOff x="6468553" y="2746939"/>
            <a:chExt cx="1111312" cy="1038851"/>
          </a:xfrm>
        </p:grpSpPr>
        <p:grpSp>
          <p:nvGrpSpPr>
            <p:cNvPr id="73" name="Group 72">
              <a:extLst>
                <a:ext uri="{FF2B5EF4-FFF2-40B4-BE49-F238E27FC236}">
                  <a16:creationId xmlns:a16="http://schemas.microsoft.com/office/drawing/2014/main" id="{8488BB67-8897-E2B5-F463-569DCF809A99}"/>
                </a:ext>
              </a:extLst>
            </p:cNvPr>
            <p:cNvGrpSpPr/>
            <p:nvPr/>
          </p:nvGrpSpPr>
          <p:grpSpPr>
            <a:xfrm>
              <a:off x="6468553" y="2746939"/>
              <a:ext cx="1111312" cy="1038851"/>
              <a:chOff x="7132637" y="1006524"/>
              <a:chExt cx="4304244" cy="4014739"/>
            </a:xfrm>
          </p:grpSpPr>
          <p:pic>
            <p:nvPicPr>
              <p:cNvPr id="75" name="Picture 74">
                <a:extLst>
                  <a:ext uri="{FF2B5EF4-FFF2-40B4-BE49-F238E27FC236}">
                    <a16:creationId xmlns:a16="http://schemas.microsoft.com/office/drawing/2014/main" id="{B6E54495-4156-772A-C005-4770D3CF9CE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99561" y="1172781"/>
                <a:ext cx="4182166" cy="3848482"/>
              </a:xfrm>
              <a:prstGeom prst="rect">
                <a:avLst/>
              </a:prstGeom>
            </p:spPr>
          </p:pic>
          <p:sp>
            <p:nvSpPr>
              <p:cNvPr id="76" name="AutoShape 3">
                <a:extLst>
                  <a:ext uri="{FF2B5EF4-FFF2-40B4-BE49-F238E27FC236}">
                    <a16:creationId xmlns:a16="http://schemas.microsoft.com/office/drawing/2014/main" id="{44AFCB56-6550-BE30-38F8-EDCB80EC460B}"/>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855" tIns="43927" rIns="87855" bIns="43927"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575" b="0" i="0" u="none" strike="noStrike" kern="0" cap="none" spc="0" normalizeH="0" baseline="0" noProof="0">
                  <a:ln>
                    <a:noFill/>
                  </a:ln>
                  <a:gradFill>
                    <a:gsLst>
                      <a:gs pos="1250">
                        <a:srgbClr val="FFFFFF"/>
                      </a:gs>
                      <a:gs pos="100000">
                        <a:srgbClr val="FFFFFF"/>
                      </a:gs>
                    </a:gsLst>
                    <a:lin ang="5400000" scaled="0"/>
                  </a:gradFill>
                  <a:effectLst/>
                  <a:uLnTx/>
                  <a:uFillTx/>
                  <a:latin typeface="Segoe UI Light"/>
                  <a:ea typeface="+mn-ea"/>
                  <a:cs typeface="+mn-cs"/>
                </a:endParaRPr>
              </a:p>
            </p:txBody>
          </p:sp>
        </p:grpSp>
        <p:sp>
          <p:nvSpPr>
            <p:cNvPr id="74" name="TextBox 73">
              <a:extLst>
                <a:ext uri="{FF2B5EF4-FFF2-40B4-BE49-F238E27FC236}">
                  <a16:creationId xmlns:a16="http://schemas.microsoft.com/office/drawing/2014/main" id="{C7CBB204-665D-15F9-DC39-4DB2437AC2D9}"/>
                </a:ext>
              </a:extLst>
            </p:cNvPr>
            <p:cNvSpPr txBox="1"/>
            <p:nvPr/>
          </p:nvSpPr>
          <p:spPr>
            <a:xfrm>
              <a:off x="6565772" y="2862607"/>
              <a:ext cx="916875" cy="636119"/>
            </a:xfrm>
            <a:prstGeom prst="rect">
              <a:avLst/>
            </a:prstGeom>
            <a:solidFill>
              <a:schemeClr val="tx2">
                <a:lumMod val="50000"/>
              </a:schemeClr>
            </a:solidFill>
          </p:spPr>
          <p:txBody>
            <a:bodyPr wrap="square" lIns="0" tIns="44814" rIns="0" bIns="0" rtlCol="0" anchor="ctr" anchorCtr="0">
              <a:noAutofit/>
            </a:bodyPr>
            <a:lstStyle/>
            <a:p>
              <a:pPr marL="0" marR="0" lvl="0" indent="0" algn="ctr" defTabSz="895922" rtl="0" eaLnBrk="1" fontAlgn="auto" latinLnBrk="0" hangingPunct="1">
                <a:lnSpc>
                  <a:spcPct val="90000"/>
                </a:lnSpc>
                <a:spcBef>
                  <a:spcPts val="0"/>
                </a:spcBef>
                <a:spcAft>
                  <a:spcPts val="0"/>
                </a:spcAft>
                <a:buClrTx/>
                <a:buSzTx/>
                <a:buFontTx/>
                <a:buNone/>
                <a:tabLst/>
                <a:defRPr/>
              </a:pPr>
              <a:r>
                <a:rPr kumimoji="0" lang="en-US" sz="2800" b="1" i="0" u="none" strike="noStrike" kern="0" cap="none" spc="0" normalizeH="0" baseline="0" noProof="0">
                  <a:ln>
                    <a:noFill/>
                  </a:ln>
                  <a:solidFill>
                    <a:schemeClr val="bg1"/>
                  </a:solidFill>
                  <a:effectLst/>
                  <a:uLnTx/>
                  <a:uFillTx/>
                  <a:latin typeface="Segoe UI"/>
                  <a:ea typeface="Segoe UI" pitchFamily="34" charset="0"/>
                  <a:cs typeface="Segoe UI" pitchFamily="34" charset="0"/>
                </a:rPr>
                <a:t>ND</a:t>
              </a:r>
            </a:p>
          </p:txBody>
        </p:sp>
      </p:grpSp>
    </p:spTree>
    <p:extLst>
      <p:ext uri="{BB962C8B-B14F-4D97-AF65-F5344CB8AC3E}">
        <p14:creationId xmlns:p14="http://schemas.microsoft.com/office/powerpoint/2010/main" val="37473915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42" presetClass="entr" presetSubtype="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anim calcmode="lin" valueType="num">
                                      <p:cBhvr>
                                        <p:cTn id="12" dur="500" fill="hold"/>
                                        <p:tgtEl>
                                          <p:spTgt spid="41"/>
                                        </p:tgtEl>
                                        <p:attrNameLst>
                                          <p:attrName>ppt_x</p:attrName>
                                        </p:attrNameLst>
                                      </p:cBhvr>
                                      <p:tavLst>
                                        <p:tav tm="0">
                                          <p:val>
                                            <p:strVal val="#ppt_x"/>
                                          </p:val>
                                        </p:tav>
                                        <p:tav tm="100000">
                                          <p:val>
                                            <p:strVal val="#ppt_x"/>
                                          </p:val>
                                        </p:tav>
                                      </p:tavLst>
                                    </p:anim>
                                    <p:anim calcmode="lin" valueType="num">
                                      <p:cBhvr>
                                        <p:cTn id="13" dur="500" fill="hold"/>
                                        <p:tgtEl>
                                          <p:spTgt spid="41"/>
                                        </p:tgtEl>
                                        <p:attrNameLst>
                                          <p:attrName>ppt_y</p:attrName>
                                        </p:attrNameLst>
                                      </p:cBhvr>
                                      <p:tavLst>
                                        <p:tav tm="0">
                                          <p:val>
                                            <p:strVal val="#ppt_y+.1"/>
                                          </p:val>
                                        </p:tav>
                                        <p:tav tm="100000">
                                          <p:val>
                                            <p:strVal val="#ppt_y"/>
                                          </p:val>
                                        </p:tav>
                                      </p:tavLst>
                                    </p:anim>
                                  </p:childTnLst>
                                </p:cTn>
                              </p:par>
                              <p:par>
                                <p:cTn id="14" presetID="42" presetClass="entr" presetSubtype="0" fill="hold" nodeType="withEffect">
                                  <p:stCondLst>
                                    <p:cond delay="0"/>
                                  </p:stCondLst>
                                  <p:childTnLst>
                                    <p:set>
                                      <p:cBhvr>
                                        <p:cTn id="15" dur="1" fill="hold">
                                          <p:stCondLst>
                                            <p:cond delay="0"/>
                                          </p:stCondLst>
                                        </p:cTn>
                                        <p:tgtEl>
                                          <p:spTgt spid="32"/>
                                        </p:tgtEl>
                                        <p:attrNameLst>
                                          <p:attrName>style.visibility</p:attrName>
                                        </p:attrNameLst>
                                      </p:cBhvr>
                                      <p:to>
                                        <p:strVal val="visible"/>
                                      </p:to>
                                    </p:set>
                                    <p:animEffect transition="in" filter="fade">
                                      <p:cBhvr>
                                        <p:cTn id="16" dur="500"/>
                                        <p:tgtEl>
                                          <p:spTgt spid="32"/>
                                        </p:tgtEl>
                                      </p:cBhvr>
                                    </p:animEffect>
                                    <p:anim calcmode="lin" valueType="num">
                                      <p:cBhvr>
                                        <p:cTn id="17" dur="500" fill="hold"/>
                                        <p:tgtEl>
                                          <p:spTgt spid="32"/>
                                        </p:tgtEl>
                                        <p:attrNameLst>
                                          <p:attrName>ppt_x</p:attrName>
                                        </p:attrNameLst>
                                      </p:cBhvr>
                                      <p:tavLst>
                                        <p:tav tm="0">
                                          <p:val>
                                            <p:strVal val="#ppt_x"/>
                                          </p:val>
                                        </p:tav>
                                        <p:tav tm="100000">
                                          <p:val>
                                            <p:strVal val="#ppt_x"/>
                                          </p:val>
                                        </p:tav>
                                      </p:tavLst>
                                    </p:anim>
                                    <p:anim calcmode="lin" valueType="num">
                                      <p:cBhvr>
                                        <p:cTn id="18" dur="500" fill="hold"/>
                                        <p:tgtEl>
                                          <p:spTgt spid="32"/>
                                        </p:tgtEl>
                                        <p:attrNameLst>
                                          <p:attrName>ppt_y</p:attrName>
                                        </p:attrNameLst>
                                      </p:cBhvr>
                                      <p:tavLst>
                                        <p:tav tm="0">
                                          <p:val>
                                            <p:strVal val="#ppt_y+.1"/>
                                          </p:val>
                                        </p:tav>
                                        <p:tav tm="100000">
                                          <p:val>
                                            <p:strVal val="#ppt_y"/>
                                          </p:val>
                                        </p:tav>
                                      </p:tavLst>
                                    </p:anim>
                                  </p:childTnLst>
                                </p:cTn>
                              </p:par>
                              <p:par>
                                <p:cTn id="19" presetID="16" presetClass="entr" presetSubtype="37" fill="hold" nodeType="with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barn(outVertical)">
                                      <p:cBhvr>
                                        <p:cTn id="21" dur="500"/>
                                        <p:tgtEl>
                                          <p:spTgt spid="52"/>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42"/>
                                        </p:tgtEl>
                                        <p:attrNameLst>
                                          <p:attrName>style.visibility</p:attrName>
                                        </p:attrNameLst>
                                      </p:cBhvr>
                                      <p:to>
                                        <p:strVal val="visible"/>
                                      </p:to>
                                    </p:set>
                                    <p:animEffect transition="in" filter="fade">
                                      <p:cBhvr>
                                        <p:cTn id="25" dur="500"/>
                                        <p:tgtEl>
                                          <p:spTgt spid="42"/>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53"/>
                                        </p:tgtEl>
                                        <p:attrNameLst>
                                          <p:attrName>style.visibility</p:attrName>
                                        </p:attrNameLst>
                                      </p:cBhvr>
                                      <p:to>
                                        <p:strVal val="visible"/>
                                      </p:to>
                                    </p:set>
                                    <p:animEffect transition="in" filter="wipe(left)">
                                      <p:cBhvr>
                                        <p:cTn id="28" dur="500"/>
                                        <p:tgtEl>
                                          <p:spTgt spid="53"/>
                                        </p:tgtEl>
                                      </p:cBhvr>
                                    </p:animEffect>
                                  </p:childTnLst>
                                </p:cTn>
                              </p:par>
                            </p:childTnLst>
                          </p:cTn>
                        </p:par>
                        <p:par>
                          <p:cTn id="29" fill="hold">
                            <p:stCondLst>
                              <p:cond delay="1500"/>
                            </p:stCondLst>
                            <p:childTnLst>
                              <p:par>
                                <p:cTn id="30" presetID="16" presetClass="entr" presetSubtype="37" fill="hold" nodeType="afterEffect">
                                  <p:stCondLst>
                                    <p:cond delay="0"/>
                                  </p:stCondLst>
                                  <p:childTnLst>
                                    <p:set>
                                      <p:cBhvr>
                                        <p:cTn id="31" dur="1" fill="hold">
                                          <p:stCondLst>
                                            <p:cond delay="0"/>
                                          </p:stCondLst>
                                        </p:cTn>
                                        <p:tgtEl>
                                          <p:spTgt spid="54"/>
                                        </p:tgtEl>
                                        <p:attrNameLst>
                                          <p:attrName>style.visibility</p:attrName>
                                        </p:attrNameLst>
                                      </p:cBhvr>
                                      <p:to>
                                        <p:strVal val="visible"/>
                                      </p:to>
                                    </p:set>
                                    <p:animEffect transition="in" filter="barn(outVertical)">
                                      <p:cBhvr>
                                        <p:cTn id="32" dur="500"/>
                                        <p:tgtEl>
                                          <p:spTgt spid="54"/>
                                        </p:tgtEl>
                                      </p:cBhvr>
                                    </p:animEffect>
                                  </p:childTnLst>
                                </p:cTn>
                              </p:par>
                              <p:par>
                                <p:cTn id="33" presetID="42" presetClass="entr" presetSubtype="0" fill="hold" grpId="0" nodeType="withEffect">
                                  <p:stCondLst>
                                    <p:cond delay="0"/>
                                  </p:stCondLst>
                                  <p:childTnLst>
                                    <p:set>
                                      <p:cBhvr>
                                        <p:cTn id="34" dur="1" fill="hold">
                                          <p:stCondLst>
                                            <p:cond delay="0"/>
                                          </p:stCondLst>
                                        </p:cTn>
                                        <p:tgtEl>
                                          <p:spTgt spid="38"/>
                                        </p:tgtEl>
                                        <p:attrNameLst>
                                          <p:attrName>style.visibility</p:attrName>
                                        </p:attrNameLst>
                                      </p:cBhvr>
                                      <p:to>
                                        <p:strVal val="visible"/>
                                      </p:to>
                                    </p:set>
                                    <p:animEffect transition="in" filter="fade">
                                      <p:cBhvr>
                                        <p:cTn id="35" dur="500"/>
                                        <p:tgtEl>
                                          <p:spTgt spid="38"/>
                                        </p:tgtEl>
                                      </p:cBhvr>
                                    </p:animEffect>
                                    <p:anim calcmode="lin" valueType="num">
                                      <p:cBhvr>
                                        <p:cTn id="36" dur="500" fill="hold"/>
                                        <p:tgtEl>
                                          <p:spTgt spid="38"/>
                                        </p:tgtEl>
                                        <p:attrNameLst>
                                          <p:attrName>ppt_x</p:attrName>
                                        </p:attrNameLst>
                                      </p:cBhvr>
                                      <p:tavLst>
                                        <p:tav tm="0">
                                          <p:val>
                                            <p:strVal val="#ppt_x"/>
                                          </p:val>
                                        </p:tav>
                                        <p:tav tm="100000">
                                          <p:val>
                                            <p:strVal val="#ppt_x"/>
                                          </p:val>
                                        </p:tav>
                                      </p:tavLst>
                                    </p:anim>
                                    <p:anim calcmode="lin" valueType="num">
                                      <p:cBhvr>
                                        <p:cTn id="37" dur="500" fill="hold"/>
                                        <p:tgtEl>
                                          <p:spTgt spid="38"/>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0"/>
                                  </p:stCondLst>
                                  <p:childTnLst>
                                    <p:set>
                                      <p:cBhvr>
                                        <p:cTn id="39" dur="1" fill="hold">
                                          <p:stCondLst>
                                            <p:cond delay="0"/>
                                          </p:stCondLst>
                                        </p:cTn>
                                        <p:tgtEl>
                                          <p:spTgt spid="33"/>
                                        </p:tgtEl>
                                        <p:attrNameLst>
                                          <p:attrName>style.visibility</p:attrName>
                                        </p:attrNameLst>
                                      </p:cBhvr>
                                      <p:to>
                                        <p:strVal val="visible"/>
                                      </p:to>
                                    </p:set>
                                    <p:animEffect transition="in" filter="fade">
                                      <p:cBhvr>
                                        <p:cTn id="40" dur="500"/>
                                        <p:tgtEl>
                                          <p:spTgt spid="33"/>
                                        </p:tgtEl>
                                      </p:cBhvr>
                                    </p:animEffect>
                                    <p:anim calcmode="lin" valueType="num">
                                      <p:cBhvr>
                                        <p:cTn id="41" dur="500" fill="hold"/>
                                        <p:tgtEl>
                                          <p:spTgt spid="33"/>
                                        </p:tgtEl>
                                        <p:attrNameLst>
                                          <p:attrName>ppt_x</p:attrName>
                                        </p:attrNameLst>
                                      </p:cBhvr>
                                      <p:tavLst>
                                        <p:tav tm="0">
                                          <p:val>
                                            <p:strVal val="#ppt_x"/>
                                          </p:val>
                                        </p:tav>
                                        <p:tav tm="100000">
                                          <p:val>
                                            <p:strVal val="#ppt_x"/>
                                          </p:val>
                                        </p:tav>
                                      </p:tavLst>
                                    </p:anim>
                                    <p:anim calcmode="lin" valueType="num">
                                      <p:cBhvr>
                                        <p:cTn id="42" dur="500" fill="hold"/>
                                        <p:tgtEl>
                                          <p:spTgt spid="33"/>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40"/>
                                        </p:tgtEl>
                                        <p:attrNameLst>
                                          <p:attrName>style.visibility</p:attrName>
                                        </p:attrNameLst>
                                      </p:cBhvr>
                                      <p:to>
                                        <p:strVal val="visible"/>
                                      </p:to>
                                    </p:set>
                                    <p:animEffect transition="in" filter="fade">
                                      <p:cBhvr>
                                        <p:cTn id="45" dur="500"/>
                                        <p:tgtEl>
                                          <p:spTgt spid="40"/>
                                        </p:tgtEl>
                                      </p:cBhvr>
                                    </p:animEffect>
                                    <p:anim calcmode="lin" valueType="num">
                                      <p:cBhvr>
                                        <p:cTn id="46" dur="500" fill="hold"/>
                                        <p:tgtEl>
                                          <p:spTgt spid="40"/>
                                        </p:tgtEl>
                                        <p:attrNameLst>
                                          <p:attrName>ppt_x</p:attrName>
                                        </p:attrNameLst>
                                      </p:cBhvr>
                                      <p:tavLst>
                                        <p:tav tm="0">
                                          <p:val>
                                            <p:strVal val="#ppt_x"/>
                                          </p:val>
                                        </p:tav>
                                        <p:tav tm="100000">
                                          <p:val>
                                            <p:strVal val="#ppt_x"/>
                                          </p:val>
                                        </p:tav>
                                      </p:tavLst>
                                    </p:anim>
                                    <p:anim calcmode="lin" valueType="num">
                                      <p:cBhvr>
                                        <p:cTn id="47" dur="500" fill="hold"/>
                                        <p:tgtEl>
                                          <p:spTgt spid="40"/>
                                        </p:tgtEl>
                                        <p:attrNameLst>
                                          <p:attrName>ppt_y</p:attrName>
                                        </p:attrNameLst>
                                      </p:cBhvr>
                                      <p:tavLst>
                                        <p:tav tm="0">
                                          <p:val>
                                            <p:strVal val="#ppt_y+.1"/>
                                          </p:val>
                                        </p:tav>
                                        <p:tav tm="100000">
                                          <p:val>
                                            <p:strVal val="#ppt_y"/>
                                          </p:val>
                                        </p:tav>
                                      </p:tavLst>
                                    </p:anim>
                                  </p:childTnLst>
                                </p:cTn>
                              </p:par>
                              <p:par>
                                <p:cTn id="48" presetID="42" presetClass="entr" presetSubtype="0" fill="hold" nodeType="withEffect">
                                  <p:stCondLst>
                                    <p:cond delay="0"/>
                                  </p:stCondLst>
                                  <p:childTnLst>
                                    <p:set>
                                      <p:cBhvr>
                                        <p:cTn id="49" dur="1" fill="hold">
                                          <p:stCondLst>
                                            <p:cond delay="0"/>
                                          </p:stCondLst>
                                        </p:cTn>
                                        <p:tgtEl>
                                          <p:spTgt spid="36"/>
                                        </p:tgtEl>
                                        <p:attrNameLst>
                                          <p:attrName>style.visibility</p:attrName>
                                        </p:attrNameLst>
                                      </p:cBhvr>
                                      <p:to>
                                        <p:strVal val="visible"/>
                                      </p:to>
                                    </p:set>
                                    <p:animEffect transition="in" filter="fade">
                                      <p:cBhvr>
                                        <p:cTn id="50" dur="500"/>
                                        <p:tgtEl>
                                          <p:spTgt spid="36"/>
                                        </p:tgtEl>
                                      </p:cBhvr>
                                    </p:animEffect>
                                    <p:anim calcmode="lin" valueType="num">
                                      <p:cBhvr>
                                        <p:cTn id="51" dur="500" fill="hold"/>
                                        <p:tgtEl>
                                          <p:spTgt spid="36"/>
                                        </p:tgtEl>
                                        <p:attrNameLst>
                                          <p:attrName>ppt_x</p:attrName>
                                        </p:attrNameLst>
                                      </p:cBhvr>
                                      <p:tavLst>
                                        <p:tav tm="0">
                                          <p:val>
                                            <p:strVal val="#ppt_x"/>
                                          </p:val>
                                        </p:tav>
                                        <p:tav tm="100000">
                                          <p:val>
                                            <p:strVal val="#ppt_x"/>
                                          </p:val>
                                        </p:tav>
                                      </p:tavLst>
                                    </p:anim>
                                    <p:anim calcmode="lin" valueType="num">
                                      <p:cBhvr>
                                        <p:cTn id="52" dur="500" fill="hold"/>
                                        <p:tgtEl>
                                          <p:spTgt spid="36"/>
                                        </p:tgtEl>
                                        <p:attrNameLst>
                                          <p:attrName>ppt_y</p:attrName>
                                        </p:attrNameLst>
                                      </p:cBhvr>
                                      <p:tavLst>
                                        <p:tav tm="0">
                                          <p:val>
                                            <p:strVal val="#ppt_y+.1"/>
                                          </p:val>
                                        </p:tav>
                                        <p:tav tm="100000">
                                          <p:val>
                                            <p:strVal val="#ppt_y"/>
                                          </p:val>
                                        </p:tav>
                                      </p:tavLst>
                                    </p:anim>
                                  </p:childTnLst>
                                </p:cTn>
                              </p:par>
                              <p:par>
                                <p:cTn id="53" presetID="42" presetClass="entr" presetSubtype="0" fill="hold" grpId="0" nodeType="withEffect">
                                  <p:stCondLst>
                                    <p:cond delay="0"/>
                                  </p:stCondLst>
                                  <p:childTnLst>
                                    <p:set>
                                      <p:cBhvr>
                                        <p:cTn id="54" dur="1" fill="hold">
                                          <p:stCondLst>
                                            <p:cond delay="0"/>
                                          </p:stCondLst>
                                        </p:cTn>
                                        <p:tgtEl>
                                          <p:spTgt spid="39"/>
                                        </p:tgtEl>
                                        <p:attrNameLst>
                                          <p:attrName>style.visibility</p:attrName>
                                        </p:attrNameLst>
                                      </p:cBhvr>
                                      <p:to>
                                        <p:strVal val="visible"/>
                                      </p:to>
                                    </p:set>
                                    <p:animEffect transition="in" filter="fade">
                                      <p:cBhvr>
                                        <p:cTn id="55" dur="500"/>
                                        <p:tgtEl>
                                          <p:spTgt spid="39"/>
                                        </p:tgtEl>
                                      </p:cBhvr>
                                    </p:animEffect>
                                    <p:anim calcmode="lin" valueType="num">
                                      <p:cBhvr>
                                        <p:cTn id="56" dur="500" fill="hold"/>
                                        <p:tgtEl>
                                          <p:spTgt spid="39"/>
                                        </p:tgtEl>
                                        <p:attrNameLst>
                                          <p:attrName>ppt_x</p:attrName>
                                        </p:attrNameLst>
                                      </p:cBhvr>
                                      <p:tavLst>
                                        <p:tav tm="0">
                                          <p:val>
                                            <p:strVal val="#ppt_x"/>
                                          </p:val>
                                        </p:tav>
                                        <p:tav tm="100000">
                                          <p:val>
                                            <p:strVal val="#ppt_x"/>
                                          </p:val>
                                        </p:tav>
                                      </p:tavLst>
                                    </p:anim>
                                    <p:anim calcmode="lin" valueType="num">
                                      <p:cBhvr>
                                        <p:cTn id="57" dur="500" fill="hold"/>
                                        <p:tgtEl>
                                          <p:spTgt spid="39"/>
                                        </p:tgtEl>
                                        <p:attrNameLst>
                                          <p:attrName>ppt_y</p:attrName>
                                        </p:attrNameLst>
                                      </p:cBhvr>
                                      <p:tavLst>
                                        <p:tav tm="0">
                                          <p:val>
                                            <p:strVal val="#ppt_y+.1"/>
                                          </p:val>
                                        </p:tav>
                                        <p:tav tm="100000">
                                          <p:val>
                                            <p:strVal val="#ppt_y"/>
                                          </p:val>
                                        </p:tav>
                                      </p:tavLst>
                                    </p:anim>
                                  </p:childTnLst>
                                </p:cTn>
                              </p:par>
                              <p:par>
                                <p:cTn id="58" presetID="42" presetClass="entr" presetSubtype="0" fill="hold" nodeType="withEffect">
                                  <p:stCondLst>
                                    <p:cond delay="0"/>
                                  </p:stCondLst>
                                  <p:childTnLst>
                                    <p:set>
                                      <p:cBhvr>
                                        <p:cTn id="59" dur="1" fill="hold">
                                          <p:stCondLst>
                                            <p:cond delay="0"/>
                                          </p:stCondLst>
                                        </p:cTn>
                                        <p:tgtEl>
                                          <p:spTgt spid="37"/>
                                        </p:tgtEl>
                                        <p:attrNameLst>
                                          <p:attrName>style.visibility</p:attrName>
                                        </p:attrNameLst>
                                      </p:cBhvr>
                                      <p:to>
                                        <p:strVal val="visible"/>
                                      </p:to>
                                    </p:set>
                                    <p:animEffect transition="in" filter="fade">
                                      <p:cBhvr>
                                        <p:cTn id="60" dur="500"/>
                                        <p:tgtEl>
                                          <p:spTgt spid="37"/>
                                        </p:tgtEl>
                                      </p:cBhvr>
                                    </p:animEffect>
                                    <p:anim calcmode="lin" valueType="num">
                                      <p:cBhvr>
                                        <p:cTn id="61" dur="500" fill="hold"/>
                                        <p:tgtEl>
                                          <p:spTgt spid="37"/>
                                        </p:tgtEl>
                                        <p:attrNameLst>
                                          <p:attrName>ppt_x</p:attrName>
                                        </p:attrNameLst>
                                      </p:cBhvr>
                                      <p:tavLst>
                                        <p:tav tm="0">
                                          <p:val>
                                            <p:strVal val="#ppt_x"/>
                                          </p:val>
                                        </p:tav>
                                        <p:tav tm="100000">
                                          <p:val>
                                            <p:strVal val="#ppt_x"/>
                                          </p:val>
                                        </p:tav>
                                      </p:tavLst>
                                    </p:anim>
                                    <p:anim calcmode="lin" valueType="num">
                                      <p:cBhvr>
                                        <p:cTn id="62" dur="500" fill="hold"/>
                                        <p:tgtEl>
                                          <p:spTgt spid="37"/>
                                        </p:tgtEl>
                                        <p:attrNameLst>
                                          <p:attrName>ppt_y</p:attrName>
                                        </p:attrNameLst>
                                      </p:cBhvr>
                                      <p:tavLst>
                                        <p:tav tm="0">
                                          <p:val>
                                            <p:strVal val="#ppt_y+.1"/>
                                          </p:val>
                                        </p:tav>
                                        <p:tav tm="100000">
                                          <p:val>
                                            <p:strVal val="#ppt_y"/>
                                          </p:val>
                                        </p:tav>
                                      </p:tavLst>
                                    </p:anim>
                                  </p:childTnLst>
                                </p:cTn>
                              </p:par>
                            </p:childTnLst>
                          </p:cTn>
                        </p:par>
                        <p:par>
                          <p:cTn id="63" fill="hold">
                            <p:stCondLst>
                              <p:cond delay="2000"/>
                            </p:stCondLst>
                            <p:childTnLst>
                              <p:par>
                                <p:cTn id="64" presetID="10" presetClass="entr" presetSubtype="0" fill="hold" nodeType="afterEffect">
                                  <p:stCondLst>
                                    <p:cond delay="0"/>
                                  </p:stCondLst>
                                  <p:childTnLst>
                                    <p:set>
                                      <p:cBhvr>
                                        <p:cTn id="65" dur="1" fill="hold">
                                          <p:stCondLst>
                                            <p:cond delay="0"/>
                                          </p:stCondLst>
                                        </p:cTn>
                                        <p:tgtEl>
                                          <p:spTgt spid="56"/>
                                        </p:tgtEl>
                                        <p:attrNameLst>
                                          <p:attrName>style.visibility</p:attrName>
                                        </p:attrNameLst>
                                      </p:cBhvr>
                                      <p:to>
                                        <p:strVal val="visible"/>
                                      </p:to>
                                    </p:set>
                                    <p:animEffect transition="in" filter="fade">
                                      <p:cBhvr>
                                        <p:cTn id="66" dur="500"/>
                                        <p:tgtEl>
                                          <p:spTgt spid="56"/>
                                        </p:tgtEl>
                                      </p:cBhvr>
                                    </p:animEffect>
                                  </p:childTnLst>
                                </p:cTn>
                              </p:par>
                              <p:par>
                                <p:cTn id="67" presetID="10" presetClass="entr" presetSubtype="0" fill="hold" nodeType="withEffect">
                                  <p:stCondLst>
                                    <p:cond delay="0"/>
                                  </p:stCondLst>
                                  <p:childTnLst>
                                    <p:set>
                                      <p:cBhvr>
                                        <p:cTn id="68" dur="1" fill="hold">
                                          <p:stCondLst>
                                            <p:cond delay="0"/>
                                          </p:stCondLst>
                                        </p:cTn>
                                        <p:tgtEl>
                                          <p:spTgt spid="72"/>
                                        </p:tgtEl>
                                        <p:attrNameLst>
                                          <p:attrName>style.visibility</p:attrName>
                                        </p:attrNameLst>
                                      </p:cBhvr>
                                      <p:to>
                                        <p:strVal val="visible"/>
                                      </p:to>
                                    </p:set>
                                    <p:animEffect transition="in" filter="fade">
                                      <p:cBhvr>
                                        <p:cTn id="69" dur="500"/>
                                        <p:tgtEl>
                                          <p:spTgt spid="72"/>
                                        </p:tgtEl>
                                      </p:cBhvr>
                                    </p:animEffect>
                                  </p:childTnLst>
                                </p:cTn>
                              </p:par>
                            </p:childTnLst>
                          </p:cTn>
                        </p:par>
                        <p:par>
                          <p:cTn id="70" fill="hold">
                            <p:stCondLst>
                              <p:cond delay="2500"/>
                            </p:stCondLst>
                            <p:childTnLst>
                              <p:par>
                                <p:cTn id="71" presetID="22" presetClass="entr" presetSubtype="2" fill="hold" grpId="0" nodeType="afterEffect">
                                  <p:stCondLst>
                                    <p:cond delay="0"/>
                                  </p:stCondLst>
                                  <p:childTnLst>
                                    <p:set>
                                      <p:cBhvr>
                                        <p:cTn id="72" dur="1" fill="hold">
                                          <p:stCondLst>
                                            <p:cond delay="0"/>
                                          </p:stCondLst>
                                        </p:cTn>
                                        <p:tgtEl>
                                          <p:spTgt spid="55"/>
                                        </p:tgtEl>
                                        <p:attrNameLst>
                                          <p:attrName>style.visibility</p:attrName>
                                        </p:attrNameLst>
                                      </p:cBhvr>
                                      <p:to>
                                        <p:strVal val="visible"/>
                                      </p:to>
                                    </p:set>
                                    <p:animEffect transition="in" filter="wipe(right)">
                                      <p:cBhvr>
                                        <p:cTn id="73"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8" grpId="0"/>
      <p:bldP spid="39" grpId="0"/>
      <p:bldP spid="40" grpId="0"/>
      <p:bldP spid="41" grpId="0"/>
      <p:bldP spid="53" grpId="0"/>
      <p:bldP spid="55" grpId="0"/>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56" name="TextBox 55">
            <a:extLst>
              <a:ext uri="{FF2B5EF4-FFF2-40B4-BE49-F238E27FC236}">
                <a16:creationId xmlns:a16="http://schemas.microsoft.com/office/drawing/2014/main" id="{146FA103-B4B7-4315-BE9F-97E8CB6391EA}"/>
              </a:ext>
              <a:ext uri="{C183D7F6-B498-43B3-948B-1728B52AA6E4}">
                <adec:decorative xmlns:adec="http://schemas.microsoft.com/office/drawing/2017/decorative" val="1"/>
              </a:ext>
            </a:extLst>
          </p:cNvPr>
          <p:cNvSpPr txBox="1"/>
          <p:nvPr/>
        </p:nvSpPr>
        <p:spPr>
          <a:xfrm rot="16200000">
            <a:off x="240059" y="1896617"/>
            <a:ext cx="2517324" cy="7940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a:ln>
                  <a:noFill/>
                </a:ln>
                <a:solidFill>
                  <a:schemeClr val="tx1">
                    <a:alpha val="33000"/>
                  </a:schemeClr>
                </a:solidFill>
                <a:effectLst/>
                <a:uLnTx/>
                <a:uFillTx/>
                <a:latin typeface="Berlin Sans FB Demi" panose="020E0802020502020306" pitchFamily="34" charset="0"/>
                <a:ea typeface="+mn-ea"/>
                <a:cs typeface="+mn-cs"/>
              </a:rPr>
              <a:t>compute</a:t>
            </a:r>
          </a:p>
        </p:txBody>
      </p:sp>
      <p:sp>
        <p:nvSpPr>
          <p:cNvPr id="2" name="Title 1">
            <a:extLst>
              <a:ext uri="{FF2B5EF4-FFF2-40B4-BE49-F238E27FC236}">
                <a16:creationId xmlns:a16="http://schemas.microsoft.com/office/drawing/2014/main" id="{57727CAB-7ED5-4F44-B836-5F34557054E3}"/>
              </a:ext>
              <a:ext uri="{C183D7F6-B498-43B3-948B-1728B52AA6E4}">
                <adec:decorative xmlns:adec="http://schemas.microsoft.com/office/drawing/2017/decorative" val="1"/>
              </a:ext>
            </a:extLst>
          </p:cNvPr>
          <p:cNvSpPr>
            <a:spLocks noGrp="1"/>
          </p:cNvSpPr>
          <p:nvPr>
            <p:ph type="title"/>
          </p:nvPr>
        </p:nvSpPr>
        <p:spPr/>
        <p:txBody>
          <a:bodyPr/>
          <a:lstStyle/>
          <a:p>
            <a:r>
              <a:rPr lang="en-US" sz="2800" b="1" spc="-147">
                <a:latin typeface="Segoe UI Semibold" panose="020B0502040204020203" pitchFamily="34" charset="0"/>
                <a:cs typeface="+mn-cs"/>
              </a:rPr>
              <a:t>GPUs for Compute (NC) &amp; Visualization (NV)</a:t>
            </a:r>
          </a:p>
        </p:txBody>
      </p:sp>
      <p:graphicFrame>
        <p:nvGraphicFramePr>
          <p:cNvPr id="106" name="Table 105">
            <a:extLst>
              <a:ext uri="{FF2B5EF4-FFF2-40B4-BE49-F238E27FC236}">
                <a16:creationId xmlns:a16="http://schemas.microsoft.com/office/drawing/2014/main" id="{8C5E9EAA-F71F-468D-BB73-9EED122E4074}"/>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2630276803"/>
              </p:ext>
            </p:extLst>
          </p:nvPr>
        </p:nvGraphicFramePr>
        <p:xfrm>
          <a:off x="2065747" y="1169267"/>
          <a:ext cx="8594585" cy="2259733"/>
        </p:xfrm>
        <a:graphic>
          <a:graphicData uri="http://schemas.openxmlformats.org/drawingml/2006/table">
            <a:tbl>
              <a:tblPr firstRow="1" bandRow="1">
                <a:tableStyleId>{5C22544A-7EE6-4342-B048-85BDC9FD1C3A}</a:tableStyleId>
              </a:tblPr>
              <a:tblGrid>
                <a:gridCol w="959039">
                  <a:extLst>
                    <a:ext uri="{9D8B030D-6E8A-4147-A177-3AD203B41FA5}">
                      <a16:colId xmlns:a16="http://schemas.microsoft.com/office/drawing/2014/main" val="20000"/>
                    </a:ext>
                  </a:extLst>
                </a:gridCol>
                <a:gridCol w="1527109">
                  <a:extLst>
                    <a:ext uri="{9D8B030D-6E8A-4147-A177-3AD203B41FA5}">
                      <a16:colId xmlns:a16="http://schemas.microsoft.com/office/drawing/2014/main" val="20001"/>
                    </a:ext>
                  </a:extLst>
                </a:gridCol>
                <a:gridCol w="1527110">
                  <a:extLst>
                    <a:ext uri="{9D8B030D-6E8A-4147-A177-3AD203B41FA5}">
                      <a16:colId xmlns:a16="http://schemas.microsoft.com/office/drawing/2014/main" val="20002"/>
                    </a:ext>
                  </a:extLst>
                </a:gridCol>
                <a:gridCol w="1527109">
                  <a:extLst>
                    <a:ext uri="{9D8B030D-6E8A-4147-A177-3AD203B41FA5}">
                      <a16:colId xmlns:a16="http://schemas.microsoft.com/office/drawing/2014/main" val="20003"/>
                    </a:ext>
                  </a:extLst>
                </a:gridCol>
                <a:gridCol w="1527109">
                  <a:extLst>
                    <a:ext uri="{9D8B030D-6E8A-4147-A177-3AD203B41FA5}">
                      <a16:colId xmlns:a16="http://schemas.microsoft.com/office/drawing/2014/main" val="1123081839"/>
                    </a:ext>
                  </a:extLst>
                </a:gridCol>
                <a:gridCol w="1527109">
                  <a:extLst>
                    <a:ext uri="{9D8B030D-6E8A-4147-A177-3AD203B41FA5}">
                      <a16:colId xmlns:a16="http://schemas.microsoft.com/office/drawing/2014/main" val="2420811106"/>
                    </a:ext>
                  </a:extLst>
                </a:gridCol>
              </a:tblGrid>
              <a:tr h="460428">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a:solidFill>
                            <a:schemeClr val="tx1"/>
                          </a:solidFill>
                          <a:latin typeface="Segoe UI Semibold" panose="020B0702040204020203" pitchFamily="34" charset="0"/>
                          <a:cs typeface="Segoe UI Semibold" panose="020B0702040204020203" pitchFamily="34" charset="0"/>
                        </a:rPr>
                        <a:t>Azure</a:t>
                      </a: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a:solidFill>
                            <a:schemeClr val="tx1"/>
                          </a:solidFill>
                          <a:latin typeface="Segoe UI Semibold" panose="020B0702040204020203" pitchFamily="34" charset="0"/>
                          <a:cs typeface="Segoe UI Semibold" panose="020B0702040204020203" pitchFamily="34" charset="0"/>
                        </a:rPr>
                        <a:t>Instance </a:t>
                      </a:r>
                      <a:r>
                        <a:rPr lang="en-US" sz="1000" b="0">
                          <a:solidFill>
                            <a:schemeClr val="tx1"/>
                          </a:solidFill>
                          <a:latin typeface="Segoe UI Semibold" panose="020B0702040204020203" pitchFamily="34" charset="0"/>
                          <a:cs typeface="Segoe UI Semibold" panose="020B0702040204020203" pitchFamily="34" charset="0"/>
                          <a:sym typeface="Wingdings" panose="05000000000000000000" pitchFamily="2" charset="2"/>
                        </a:rPr>
                        <a:t></a:t>
                      </a:r>
                      <a:endParaRPr lang="en-US" sz="1000" b="0">
                        <a:solidFill>
                          <a:schemeClr val="tx1"/>
                        </a:solidFill>
                        <a:latin typeface="Segoe UI Semibold" panose="020B0702040204020203" pitchFamily="34" charset="0"/>
                        <a:cs typeface="Segoe UI Semibold" panose="020B0702040204020203" pitchFamily="34" charset="0"/>
                      </a:endParaRP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C</a:t>
                      </a: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004274"/>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Cv2</a:t>
                      </a: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004274"/>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Cv3</a:t>
                      </a: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004274"/>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CasT4_v3</a:t>
                      </a: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004274"/>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C A100 v4</a:t>
                      </a: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004274"/>
                    </a:solidFill>
                  </a:tcPr>
                </a:tc>
                <a:extLst>
                  <a:ext uri="{0D108BD9-81ED-4DB2-BD59-A6C34878D82A}">
                    <a16:rowId xmlns:a16="http://schemas.microsoft.com/office/drawing/2014/main" val="10000"/>
                  </a:ext>
                </a:extLst>
              </a:tr>
              <a:tr h="359861">
                <a:tc>
                  <a:txBody>
                    <a:bodyPr/>
                    <a:lstStyle/>
                    <a:p>
                      <a:pPr algn="ctr"/>
                      <a:r>
                        <a:rPr lang="en-US" sz="1100">
                          <a:solidFill>
                            <a:schemeClr val="tx1"/>
                          </a:solidFill>
                          <a:latin typeface="Segoe UI Semibold" panose="020B0702040204020203" pitchFamily="34" charset="0"/>
                          <a:cs typeface="Segoe UI Semibold" panose="020B0702040204020203" pitchFamily="34" charset="0"/>
                        </a:rPr>
                        <a:t>Cores</a:t>
                      </a:r>
                      <a:endParaRPr lang="en-US" sz="1100" b="1">
                        <a:solidFill>
                          <a:schemeClr val="tx1"/>
                        </a:solidFill>
                        <a:latin typeface="Segoe UI Semibold" panose="020B0702040204020203" pitchFamily="34" charset="0"/>
                        <a:cs typeface="Segoe UI Semibold" panose="020B07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004274"/>
                    </a:solidFill>
                  </a:tcPr>
                </a:tc>
                <a:tc>
                  <a:txBody>
                    <a:bodyPr/>
                    <a:lstStyle/>
                    <a:p>
                      <a:pPr algn="ctr"/>
                      <a:r>
                        <a:rPr lang="en-US" sz="1100">
                          <a:solidFill>
                            <a:schemeClr val="tx1"/>
                          </a:solidFill>
                          <a:latin typeface="Segoe UI "/>
                        </a:rPr>
                        <a:t>6, 12, 24 </a:t>
                      </a:r>
                      <a:endParaRPr lang="en-US" sz="1100">
                        <a:solidFill>
                          <a:schemeClr val="tx1"/>
                        </a:solidFill>
                        <a:latin typeface="Segoe UI "/>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100">
                          <a:solidFill>
                            <a:schemeClr val="tx1"/>
                          </a:solidFill>
                          <a:latin typeface="Segoe UI "/>
                        </a:rPr>
                        <a:t>6, 12, 24 </a:t>
                      </a:r>
                      <a:endParaRPr lang="en-US" sz="1100">
                        <a:solidFill>
                          <a:schemeClr val="tx1"/>
                        </a:solidFill>
                        <a:latin typeface="Segoe UI "/>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algn="ctr"/>
                      <a:r>
                        <a:rPr lang="en-US" sz="1100">
                          <a:solidFill>
                            <a:schemeClr val="tx1"/>
                          </a:solidFill>
                          <a:latin typeface="Segoe UI "/>
                        </a:rPr>
                        <a:t>6, 12, 24</a:t>
                      </a:r>
                      <a:endParaRPr lang="en-US" sz="1100">
                        <a:solidFill>
                          <a:schemeClr val="tx1"/>
                        </a:solidFill>
                        <a:latin typeface="Segoe UI "/>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rPr>
                        <a:t>4, 8, 16, 64</a:t>
                      </a:r>
                      <a:endParaRPr lang="en-US" sz="1100">
                        <a:solidFill>
                          <a:schemeClr val="tx1"/>
                        </a:solidFill>
                        <a:effectLst/>
                        <a:latin typeface="Segoe UI "/>
                        <a:ea typeface="Calibri" panose="020F0502020204030204" pitchFamily="34" charset="0"/>
                      </a:endParaRP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24, 48, 96</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extLst>
                  <a:ext uri="{0D108BD9-81ED-4DB2-BD59-A6C34878D82A}">
                    <a16:rowId xmlns:a16="http://schemas.microsoft.com/office/drawing/2014/main" val="10001"/>
                  </a:ext>
                </a:extLst>
              </a:tr>
              <a:tr h="359861">
                <a:tc>
                  <a:txBody>
                    <a:bodyPr/>
                    <a:lstStyle/>
                    <a:p>
                      <a:pPr algn="ctr"/>
                      <a:r>
                        <a:rPr lang="en-US" sz="1100">
                          <a:solidFill>
                            <a:schemeClr val="tx1"/>
                          </a:solidFill>
                          <a:latin typeface="Segoe UI Semibold" panose="020B0702040204020203" pitchFamily="34" charset="0"/>
                          <a:cs typeface="Segoe UI Semibold" panose="020B0702040204020203" pitchFamily="34" charset="0"/>
                        </a:rPr>
                        <a:t>GPU</a:t>
                      </a:r>
                      <a:endParaRPr lang="en-US" sz="1100" b="1">
                        <a:solidFill>
                          <a:schemeClr val="tx1"/>
                        </a:solidFill>
                        <a:latin typeface="Segoe UI Semibold" panose="020B0702040204020203" pitchFamily="34" charset="0"/>
                        <a:cs typeface="Segoe UI Semibold" panose="020B07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004274"/>
                    </a:solidFill>
                  </a:tcPr>
                </a:tc>
                <a:tc>
                  <a:txBody>
                    <a:bodyPr/>
                    <a:lstStyle/>
                    <a:p>
                      <a:pPr marL="0" algn="ctr" defTabSz="914192" rtl="0" eaLnBrk="1" latinLnBrk="0" hangingPunct="1"/>
                      <a:r>
                        <a:rPr lang="en-US" sz="1100" kern="1200">
                          <a:solidFill>
                            <a:schemeClr val="tx1"/>
                          </a:solidFill>
                          <a:latin typeface="Segoe UI "/>
                        </a:rPr>
                        <a:t>Tesla K80</a:t>
                      </a:r>
                      <a:endParaRPr lang="en-US" sz="1100" kern="1200">
                        <a:solidFill>
                          <a:schemeClr val="tx1"/>
                        </a:solidFill>
                        <a:latin typeface="Segoe UI "/>
                        <a:ea typeface="+mn-ea"/>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algn="ctr" defTabSz="914192" rtl="0" eaLnBrk="1" latinLnBrk="0" hangingPunct="1"/>
                      <a:r>
                        <a:rPr lang="en-US" sz="1100" kern="1200">
                          <a:solidFill>
                            <a:schemeClr val="tx1"/>
                          </a:solidFill>
                          <a:latin typeface="Segoe UI "/>
                        </a:rPr>
                        <a:t>Tesla P100</a:t>
                      </a:r>
                      <a:endParaRPr lang="en-US" sz="1100" kern="1200">
                        <a:solidFill>
                          <a:schemeClr val="tx1"/>
                        </a:solidFill>
                        <a:latin typeface="Segoe UI "/>
                        <a:ea typeface="+mn-ea"/>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algn="ctr" defTabSz="914192" rtl="0" eaLnBrk="1" latinLnBrk="0" hangingPunct="1"/>
                      <a:r>
                        <a:rPr lang="en-US" sz="1100" kern="1200">
                          <a:solidFill>
                            <a:schemeClr val="tx1"/>
                          </a:solidFill>
                          <a:latin typeface="Segoe UI "/>
                        </a:rPr>
                        <a:t>Tesla V100</a:t>
                      </a:r>
                      <a:endParaRPr lang="en-US" sz="1100" kern="1200">
                        <a:solidFill>
                          <a:schemeClr val="tx1"/>
                        </a:solidFill>
                        <a:latin typeface="Segoe UI "/>
                        <a:ea typeface="+mn-ea"/>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rPr>
                        <a:t>Tesla T4</a:t>
                      </a:r>
                      <a:endParaRPr lang="en-US" sz="1100">
                        <a:solidFill>
                          <a:schemeClr val="tx1"/>
                        </a:solidFill>
                        <a:effectLst/>
                        <a:latin typeface="Segoe UI "/>
                        <a:ea typeface="Calibri" panose="020F0502020204030204" pitchFamily="34" charset="0"/>
                      </a:endParaRP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A100 Tensor Core</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extLst>
                  <a:ext uri="{0D108BD9-81ED-4DB2-BD59-A6C34878D82A}">
                    <a16:rowId xmlns:a16="http://schemas.microsoft.com/office/drawing/2014/main" val="10002"/>
                  </a:ext>
                </a:extLst>
              </a:tr>
              <a:tr h="359861">
                <a:tc>
                  <a:txBody>
                    <a:bodyPr/>
                    <a:lstStyle/>
                    <a:p>
                      <a:pPr algn="ctr"/>
                      <a:r>
                        <a:rPr lang="en-US" sz="1100">
                          <a:solidFill>
                            <a:schemeClr val="tx1"/>
                          </a:solidFill>
                          <a:latin typeface="Segoe UI Semibold" panose="020B0702040204020203" pitchFamily="34" charset="0"/>
                          <a:cs typeface="Segoe UI Semibold" panose="020B0702040204020203" pitchFamily="34" charset="0"/>
                        </a:rPr>
                        <a:t>Memory</a:t>
                      </a:r>
                      <a:endParaRPr lang="en-US" sz="1100" b="1">
                        <a:solidFill>
                          <a:schemeClr val="tx1"/>
                        </a:solidFill>
                        <a:latin typeface="Segoe UI Semibold" panose="020B0702040204020203" pitchFamily="34" charset="0"/>
                        <a:cs typeface="Segoe UI Semibold" panose="020B07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004274"/>
                    </a:solidFill>
                  </a:tcPr>
                </a:tc>
                <a:tc>
                  <a:txBody>
                    <a:bodyPr/>
                    <a:lstStyle/>
                    <a:p>
                      <a:pPr algn="ctr"/>
                      <a:r>
                        <a:rPr lang="en-US" sz="1100">
                          <a:solidFill>
                            <a:schemeClr val="tx1"/>
                          </a:solidFill>
                          <a:latin typeface="Segoe UI "/>
                        </a:rPr>
                        <a:t>56/112/224 GB</a:t>
                      </a:r>
                      <a:endParaRPr lang="en-US" sz="1100">
                        <a:solidFill>
                          <a:schemeClr val="tx1"/>
                        </a:solidFill>
                        <a:latin typeface="Segoe UI "/>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100">
                          <a:solidFill>
                            <a:schemeClr val="tx1"/>
                          </a:solidFill>
                          <a:latin typeface="Segoe UI "/>
                        </a:rPr>
                        <a:t>112/224/448 GB</a:t>
                      </a:r>
                      <a:endParaRPr lang="en-US" sz="1100">
                        <a:solidFill>
                          <a:schemeClr val="tx1"/>
                        </a:solidFill>
                        <a:latin typeface="Segoe UI "/>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algn="ctr"/>
                      <a:r>
                        <a:rPr lang="en-US" sz="1100">
                          <a:solidFill>
                            <a:schemeClr val="tx1"/>
                          </a:solidFill>
                          <a:latin typeface="Segoe UI "/>
                        </a:rPr>
                        <a:t>112/224/448 GB</a:t>
                      </a:r>
                      <a:endParaRPr lang="en-US" sz="1100">
                        <a:solidFill>
                          <a:schemeClr val="tx1"/>
                        </a:solidFill>
                        <a:latin typeface="Segoe UI "/>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rPr>
                        <a:t>28/56/110/440 GB</a:t>
                      </a:r>
                      <a:endParaRPr lang="en-US" sz="1100">
                        <a:solidFill>
                          <a:schemeClr val="tx1"/>
                        </a:solidFill>
                        <a:effectLst/>
                        <a:latin typeface="Segoe UI "/>
                        <a:ea typeface="Calibri" panose="020F0502020204030204" pitchFamily="34" charset="0"/>
                      </a:endParaRP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220/440/880 GB</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extLst>
                  <a:ext uri="{0D108BD9-81ED-4DB2-BD59-A6C34878D82A}">
                    <a16:rowId xmlns:a16="http://schemas.microsoft.com/office/drawing/2014/main" val="10003"/>
                  </a:ext>
                </a:extLst>
              </a:tr>
              <a:tr h="359861">
                <a:tc>
                  <a:txBody>
                    <a:bodyPr/>
                    <a:lstStyle/>
                    <a:p>
                      <a:pPr algn="ctr"/>
                      <a:r>
                        <a:rPr lang="en-US" sz="1100">
                          <a:solidFill>
                            <a:schemeClr val="tx1"/>
                          </a:solidFill>
                          <a:latin typeface="Segoe UI Semibold" panose="020B0702040204020203" pitchFamily="34" charset="0"/>
                          <a:cs typeface="Segoe UI Semibold" panose="020B0702040204020203" pitchFamily="34" charset="0"/>
                        </a:rPr>
                        <a:t>Local Disk</a:t>
                      </a:r>
                      <a:endParaRPr lang="en-US" sz="1100" b="1">
                        <a:solidFill>
                          <a:schemeClr val="tx1"/>
                        </a:solidFill>
                        <a:latin typeface="Segoe UI Semibold" panose="020B0702040204020203" pitchFamily="34" charset="0"/>
                        <a:cs typeface="Segoe UI Semibold" panose="020B07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004274"/>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340/680/1440 GB SSD</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736/1474/2948 GB SSD</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736/1474/2948 GB SSD</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180/360/2880 GB SSD</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1123/2246/4492 GB</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extLst>
                  <a:ext uri="{0D108BD9-81ED-4DB2-BD59-A6C34878D82A}">
                    <a16:rowId xmlns:a16="http://schemas.microsoft.com/office/drawing/2014/main" val="10004"/>
                  </a:ext>
                </a:extLst>
              </a:tr>
              <a:tr h="359861">
                <a:tc>
                  <a:txBody>
                    <a:bodyPr/>
                    <a:lstStyle/>
                    <a:p>
                      <a:pPr algn="ctr"/>
                      <a:r>
                        <a:rPr lang="en-US" sz="1100">
                          <a:solidFill>
                            <a:schemeClr val="tx1"/>
                          </a:solidFill>
                          <a:latin typeface="Segoe UI Semibold" panose="020B0702040204020203" pitchFamily="34" charset="0"/>
                          <a:cs typeface="Segoe UI Semibold" panose="020B0702040204020203" pitchFamily="34" charset="0"/>
                        </a:rPr>
                        <a:t>Network</a:t>
                      </a:r>
                      <a:endParaRPr lang="en-US" sz="1100" b="1">
                        <a:solidFill>
                          <a:schemeClr val="tx1"/>
                        </a:solidFill>
                        <a:latin typeface="Segoe UI Semibold" panose="020B0702040204020203" pitchFamily="34" charset="0"/>
                        <a:cs typeface="Segoe UI Semibold" panose="020B07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004274"/>
                    </a:solidFill>
                  </a:tcPr>
                </a:tc>
                <a:tc gridSpan="5">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100" kern="1200">
                          <a:solidFill>
                            <a:schemeClr val="tx1"/>
                          </a:solidFill>
                          <a:latin typeface="Segoe UI "/>
                        </a:rPr>
                        <a:t>Azure Network + InfiniBand (largest size only)</a:t>
                      </a:r>
                      <a:endParaRPr lang="en-US" sz="1100" b="0" kern="1200">
                        <a:solidFill>
                          <a:schemeClr val="tx1"/>
                        </a:solidFill>
                        <a:latin typeface="Segoe UI "/>
                        <a:ea typeface="+mn-ea"/>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hMerge="1">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kern="1200">
                        <a:solidFill>
                          <a:srgbClr val="0070C0"/>
                        </a:solidFill>
                        <a:latin typeface="+mn-lt"/>
                        <a:ea typeface="+mn-ea"/>
                        <a:cs typeface="Segoe UI Light" panose="020B0502040204020203" pitchFamily="34" charset="0"/>
                      </a:endParaRPr>
                    </a:p>
                  </a:txBody>
                  <a:tcPr marL="73144" marR="73144" marT="36572" marB="36572" anchor="ctr"/>
                </a:tc>
                <a:tc hMerge="1">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kern="1200">
                        <a:solidFill>
                          <a:srgbClr val="0070C0"/>
                        </a:solidFill>
                        <a:latin typeface="+mn-lt"/>
                        <a:ea typeface="+mn-ea"/>
                        <a:cs typeface="Segoe UI Light" panose="020B0502040204020203" pitchFamily="34" charset="0"/>
                      </a:endParaRPr>
                    </a:p>
                  </a:txBody>
                  <a:tcPr marL="73144" marR="73144" marT="36572" marB="36572" anchor="ctr">
                    <a:lnL w="12700" cap="flat" cmpd="sng" algn="ctr">
                      <a:solidFill>
                        <a:schemeClr val="tx1">
                          <a:lumMod val="60000"/>
                          <a:lumOff val="40000"/>
                        </a:schemeClr>
                      </a:solidFill>
                      <a:prstDash val="solid"/>
                      <a:round/>
                      <a:headEnd type="none" w="med" len="med"/>
                      <a:tailEnd type="none" w="med" len="med"/>
                    </a:lnL>
                    <a:lnT w="12700" cap="flat" cmpd="sng" algn="ctr">
                      <a:solidFill>
                        <a:schemeClr val="tx1">
                          <a:lumMod val="60000"/>
                          <a:lumOff val="40000"/>
                        </a:schemeClr>
                      </a:solidFill>
                      <a:prstDash val="solid"/>
                      <a:round/>
                      <a:headEnd type="none" w="med" len="med"/>
                      <a:tailEnd type="none" w="med" len="med"/>
                    </a:lnT>
                  </a:tcPr>
                </a:tc>
                <a:tc hMerge="1">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600" b="0" kern="1200">
                        <a:solidFill>
                          <a:schemeClr val="tx1"/>
                        </a:solidFill>
                        <a:latin typeface="Segoe UI Light" panose="020B0502040204020203" pitchFamily="34" charset="0"/>
                        <a:ea typeface="+mn-ea"/>
                        <a:cs typeface="Segoe UI Light" panose="020B0502040204020203" pitchFamily="34" charset="0"/>
                      </a:endParaRP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100" b="0" kern="1200">
                        <a:solidFill>
                          <a:schemeClr val="bg1"/>
                        </a:solidFill>
                        <a:latin typeface="Segoe UI "/>
                        <a:ea typeface="+mn-ea"/>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63" name="Table 162">
            <a:extLst>
              <a:ext uri="{FF2B5EF4-FFF2-40B4-BE49-F238E27FC236}">
                <a16:creationId xmlns:a16="http://schemas.microsoft.com/office/drawing/2014/main" id="{20F65DE7-C412-4D1C-A725-59AACF6D7971}"/>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779445632"/>
              </p:ext>
            </p:extLst>
          </p:nvPr>
        </p:nvGraphicFramePr>
        <p:xfrm>
          <a:off x="2065747" y="4155713"/>
          <a:ext cx="8594585" cy="2337643"/>
        </p:xfrm>
        <a:graphic>
          <a:graphicData uri="http://schemas.openxmlformats.org/drawingml/2006/table">
            <a:tbl>
              <a:tblPr firstRow="1" bandRow="1">
                <a:tableStyleId>{5C22544A-7EE6-4342-B048-85BDC9FD1C3A}</a:tableStyleId>
              </a:tblPr>
              <a:tblGrid>
                <a:gridCol w="948634">
                  <a:extLst>
                    <a:ext uri="{9D8B030D-6E8A-4147-A177-3AD203B41FA5}">
                      <a16:colId xmlns:a16="http://schemas.microsoft.com/office/drawing/2014/main" val="20000"/>
                    </a:ext>
                  </a:extLst>
                </a:gridCol>
                <a:gridCol w="2132634">
                  <a:extLst>
                    <a:ext uri="{9D8B030D-6E8A-4147-A177-3AD203B41FA5}">
                      <a16:colId xmlns:a16="http://schemas.microsoft.com/office/drawing/2014/main" val="20001"/>
                    </a:ext>
                  </a:extLst>
                </a:gridCol>
                <a:gridCol w="1892661">
                  <a:extLst>
                    <a:ext uri="{9D8B030D-6E8A-4147-A177-3AD203B41FA5}">
                      <a16:colId xmlns:a16="http://schemas.microsoft.com/office/drawing/2014/main" val="20002"/>
                    </a:ext>
                  </a:extLst>
                </a:gridCol>
                <a:gridCol w="1810328">
                  <a:extLst>
                    <a:ext uri="{9D8B030D-6E8A-4147-A177-3AD203B41FA5}">
                      <a16:colId xmlns:a16="http://schemas.microsoft.com/office/drawing/2014/main" val="20003"/>
                    </a:ext>
                  </a:extLst>
                </a:gridCol>
                <a:gridCol w="1810328">
                  <a:extLst>
                    <a:ext uri="{9D8B030D-6E8A-4147-A177-3AD203B41FA5}">
                      <a16:colId xmlns:a16="http://schemas.microsoft.com/office/drawing/2014/main" val="569520792"/>
                    </a:ext>
                  </a:extLst>
                </a:gridCol>
              </a:tblGrid>
              <a:tr h="489013">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a:solidFill>
                            <a:schemeClr val="tx1"/>
                          </a:solidFill>
                          <a:latin typeface="Segoe UI Semibold" panose="020B0702040204020203" pitchFamily="34" charset="0"/>
                          <a:cs typeface="Segoe UI Semibold" panose="020B0702040204020203" pitchFamily="34" charset="0"/>
                        </a:rPr>
                        <a:t>Azure</a:t>
                      </a: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a:solidFill>
                            <a:schemeClr val="tx1"/>
                          </a:solidFill>
                          <a:latin typeface="Segoe UI Semibold" panose="020B0702040204020203" pitchFamily="34" charset="0"/>
                          <a:cs typeface="Segoe UI Semibold" panose="020B0702040204020203" pitchFamily="34" charset="0"/>
                        </a:rPr>
                        <a:t>Instance </a:t>
                      </a:r>
                      <a:r>
                        <a:rPr lang="en-US" sz="1000" b="0">
                          <a:solidFill>
                            <a:schemeClr val="tx1"/>
                          </a:solidFill>
                          <a:latin typeface="Segoe UI Semibold" panose="020B0702040204020203" pitchFamily="34" charset="0"/>
                          <a:cs typeface="Segoe UI Semibold" panose="020B0702040204020203" pitchFamily="34" charset="0"/>
                          <a:sym typeface="Wingdings" panose="05000000000000000000" pitchFamily="2" charset="2"/>
                        </a:rPr>
                        <a:t></a:t>
                      </a:r>
                      <a:endParaRPr lang="en-US" sz="1000" b="0">
                        <a:solidFill>
                          <a:schemeClr val="tx1"/>
                        </a:solidFill>
                        <a:latin typeface="Segoe UI Semibold" panose="020B0702040204020203" pitchFamily="34" charset="0"/>
                        <a:cs typeface="Segoe UI Semibold" panose="020B0702040204020203" pitchFamily="34" charset="0"/>
                      </a:endParaRP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V</a:t>
                      </a: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1E4E24"/>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Vv3</a:t>
                      </a: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1E4E24"/>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Vv4</a:t>
                      </a: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1E4E24"/>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Vads A10 v5</a:t>
                      </a: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1E4E24"/>
                    </a:solidFill>
                  </a:tcPr>
                </a:tc>
                <a:extLst>
                  <a:ext uri="{0D108BD9-81ED-4DB2-BD59-A6C34878D82A}">
                    <a16:rowId xmlns:a16="http://schemas.microsoft.com/office/drawing/2014/main" val="10000"/>
                  </a:ext>
                </a:extLst>
              </a:tr>
              <a:tr h="369726">
                <a:tc>
                  <a:txBody>
                    <a:bodyPr/>
                    <a:lstStyle/>
                    <a:p>
                      <a:pPr marL="0" marR="0" algn="ctr">
                        <a:spcBef>
                          <a:spcPts val="0"/>
                        </a:spcBef>
                        <a:spcAft>
                          <a:spcPts val="0"/>
                        </a:spcAft>
                      </a:pPr>
                      <a:r>
                        <a:rPr lang="en-US" sz="1100" b="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Cores</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1E4E24"/>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6, 12, 24</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12, 24, 48</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4, 8, 16, 32</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6, 12, 18, 36, 72</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extLst>
                  <a:ext uri="{0D108BD9-81ED-4DB2-BD59-A6C34878D82A}">
                    <a16:rowId xmlns:a16="http://schemas.microsoft.com/office/drawing/2014/main" val="10001"/>
                  </a:ext>
                </a:extLst>
              </a:tr>
              <a:tr h="369726">
                <a:tc>
                  <a:txBody>
                    <a:bodyPr/>
                    <a:lstStyle/>
                    <a:p>
                      <a:pPr marL="0" marR="0" algn="ctr">
                        <a:spcBef>
                          <a:spcPts val="0"/>
                        </a:spcBef>
                        <a:spcAft>
                          <a:spcPts val="0"/>
                        </a:spcAft>
                      </a:pPr>
                      <a:r>
                        <a:rPr lang="en-US" sz="1100" b="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GPU</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1E4E24"/>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Tesla M60</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Tesla M60</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Radeon Instinct MI25</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A10 Tensor Core</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extLst>
                  <a:ext uri="{0D108BD9-81ED-4DB2-BD59-A6C34878D82A}">
                    <a16:rowId xmlns:a16="http://schemas.microsoft.com/office/drawing/2014/main" val="10002"/>
                  </a:ext>
                </a:extLst>
              </a:tr>
              <a:tr h="369726">
                <a:tc>
                  <a:txBody>
                    <a:bodyPr/>
                    <a:lstStyle/>
                    <a:p>
                      <a:pPr marL="0" marR="0" algn="ctr">
                        <a:spcBef>
                          <a:spcPts val="0"/>
                        </a:spcBef>
                        <a:spcAft>
                          <a:spcPts val="0"/>
                        </a:spcAft>
                      </a:pPr>
                      <a:r>
                        <a:rPr lang="en-US" sz="1100" b="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Memory</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1E4E24"/>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56,112,224 GB</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112/224/448 GB</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14/28/56/112 GB</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55/110/220/440/880 GB</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extLst>
                  <a:ext uri="{0D108BD9-81ED-4DB2-BD59-A6C34878D82A}">
                    <a16:rowId xmlns:a16="http://schemas.microsoft.com/office/drawing/2014/main" val="10003"/>
                  </a:ext>
                </a:extLst>
              </a:tr>
              <a:tr h="369726">
                <a:tc>
                  <a:txBody>
                    <a:bodyPr/>
                    <a:lstStyle/>
                    <a:p>
                      <a:pPr marL="0" marR="0" algn="ctr">
                        <a:spcBef>
                          <a:spcPts val="0"/>
                        </a:spcBef>
                        <a:spcAft>
                          <a:spcPts val="0"/>
                        </a:spcAft>
                      </a:pPr>
                      <a:r>
                        <a:rPr lang="en-US" sz="1100" b="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Local Disk</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1E4E24"/>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340/680/1440 TB SSD</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320/640/1280 GB SSD</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88/176/352/704 GB</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180/320/720/1400 GB</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extLst>
                  <a:ext uri="{0D108BD9-81ED-4DB2-BD59-A6C34878D82A}">
                    <a16:rowId xmlns:a16="http://schemas.microsoft.com/office/drawing/2014/main" val="10004"/>
                  </a:ext>
                </a:extLst>
              </a:tr>
              <a:tr h="369726">
                <a:tc>
                  <a:txBody>
                    <a:bodyPr/>
                    <a:lstStyle/>
                    <a:p>
                      <a:pPr marL="0" marR="0" algn="ctr">
                        <a:spcBef>
                          <a:spcPts val="0"/>
                        </a:spcBef>
                        <a:spcAft>
                          <a:spcPts val="0"/>
                        </a:spcAft>
                      </a:pPr>
                      <a:r>
                        <a:rPr lang="en-US" sz="1100" b="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Network</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1E4E24"/>
                    </a:solidFill>
                  </a:tcPr>
                </a:tc>
                <a:tc gridSpan="4">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Azure Network</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hMerge="1">
                  <a:txBody>
                    <a:bodyPr/>
                    <a:lstStyle/>
                    <a:p>
                      <a:endParaRPr lang="en-US"/>
                    </a:p>
                  </a:txBody>
                  <a:tcPr/>
                </a:tc>
                <a:tc hMerge="1">
                  <a:txBody>
                    <a:bodyPr/>
                    <a:lstStyle/>
                    <a:p>
                      <a:endParaRPr lang="en-US"/>
                    </a:p>
                  </a:txBody>
                  <a:tcPr/>
                </a:tc>
                <a:tc hMerge="1">
                  <a:txBody>
                    <a:bodyPr/>
                    <a:lstStyle/>
                    <a:p>
                      <a:pPr marL="0" marR="0" algn="ctr">
                        <a:spcBef>
                          <a:spcPts val="0"/>
                        </a:spcBef>
                        <a:spcAft>
                          <a:spcPts val="0"/>
                        </a:spcAft>
                      </a:pPr>
                      <a:endParaRPr lang="en-US" sz="1100">
                        <a:solidFill>
                          <a:schemeClr val="bg1"/>
                        </a:solidFill>
                        <a:effectLst/>
                        <a:latin typeface="Segoe UI "/>
                        <a:ea typeface="Calibri" panose="020F0502020204030204" pitchFamily="34" charset="0"/>
                      </a:endParaRP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0" name="TextBox 9">
            <a:extLst>
              <a:ext uri="{FF2B5EF4-FFF2-40B4-BE49-F238E27FC236}">
                <a16:creationId xmlns:a16="http://schemas.microsoft.com/office/drawing/2014/main" id="{99298A79-25E0-F1D2-CFED-03E13B63CBC0}"/>
              </a:ext>
              <a:ext uri="{C183D7F6-B498-43B3-948B-1728B52AA6E4}">
                <adec:decorative xmlns:adec="http://schemas.microsoft.com/office/drawing/2017/decorative" val="1"/>
              </a:ext>
            </a:extLst>
          </p:cNvPr>
          <p:cNvSpPr txBox="1"/>
          <p:nvPr/>
        </p:nvSpPr>
        <p:spPr>
          <a:xfrm rot="16200000">
            <a:off x="240059" y="4891255"/>
            <a:ext cx="2517324" cy="7940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a:ln>
                  <a:noFill/>
                </a:ln>
                <a:solidFill>
                  <a:schemeClr val="tx1">
                    <a:alpha val="33000"/>
                  </a:schemeClr>
                </a:solidFill>
                <a:effectLst/>
                <a:uLnTx/>
                <a:uFillTx/>
                <a:latin typeface="Berlin Sans FB Demi" panose="020E0802020502020306" pitchFamily="34" charset="0"/>
                <a:ea typeface="+mn-ea"/>
                <a:cs typeface="+mn-cs"/>
              </a:rPr>
              <a:t>visualize</a:t>
            </a:r>
          </a:p>
        </p:txBody>
      </p:sp>
    </p:spTree>
    <p:extLst>
      <p:ext uri="{BB962C8B-B14F-4D97-AF65-F5344CB8AC3E}">
        <p14:creationId xmlns:p14="http://schemas.microsoft.com/office/powerpoint/2010/main" val="31497253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childTnLst>
                          </p:cTn>
                        </p:par>
                        <p:par>
                          <p:cTn id="8" fill="hold">
                            <p:stCondLst>
                              <p:cond delay="250"/>
                            </p:stCondLst>
                            <p:childTnLst>
                              <p:par>
                                <p:cTn id="9" presetID="22" presetClass="entr" presetSubtype="8" fill="hold" nodeType="afterEffect">
                                  <p:stCondLst>
                                    <p:cond delay="0"/>
                                  </p:stCondLst>
                                  <p:childTnLst>
                                    <p:set>
                                      <p:cBhvr>
                                        <p:cTn id="10" dur="1" fill="hold">
                                          <p:stCondLst>
                                            <p:cond delay="0"/>
                                          </p:stCondLst>
                                        </p:cTn>
                                        <p:tgtEl>
                                          <p:spTgt spid="106"/>
                                        </p:tgtEl>
                                        <p:attrNameLst>
                                          <p:attrName>style.visibility</p:attrName>
                                        </p:attrNameLst>
                                      </p:cBhvr>
                                      <p:to>
                                        <p:strVal val="visible"/>
                                      </p:to>
                                    </p:set>
                                    <p:animEffect transition="in" filter="wipe(left)">
                                      <p:cBhvr>
                                        <p:cTn id="11" dur="500"/>
                                        <p:tgtEl>
                                          <p:spTgt spid="106"/>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56"/>
                                        </p:tgtEl>
                                        <p:attrNameLst>
                                          <p:attrName>style.visibility</p:attrName>
                                        </p:attrNameLst>
                                      </p:cBhvr>
                                      <p:to>
                                        <p:strVal val="visible"/>
                                      </p:to>
                                    </p:set>
                                    <p:animEffect transition="in" filter="fade">
                                      <p:cBhvr>
                                        <p:cTn id="14" dur="500"/>
                                        <p:tgtEl>
                                          <p:spTgt spid="56"/>
                                        </p:tgtEl>
                                      </p:cBhvr>
                                    </p:animEffect>
                                  </p:childTnLst>
                                </p:cTn>
                              </p:par>
                            </p:childTnLst>
                          </p:cTn>
                        </p:par>
                        <p:par>
                          <p:cTn id="15" fill="hold">
                            <p:stCondLst>
                              <p:cond delay="750"/>
                            </p:stCondLst>
                            <p:childTnLst>
                              <p:par>
                                <p:cTn id="16" presetID="22" presetClass="entr" presetSubtype="8" fill="hold" nodeType="afterEffect">
                                  <p:stCondLst>
                                    <p:cond delay="0"/>
                                  </p:stCondLst>
                                  <p:childTnLst>
                                    <p:set>
                                      <p:cBhvr>
                                        <p:cTn id="17" dur="1" fill="hold">
                                          <p:stCondLst>
                                            <p:cond delay="0"/>
                                          </p:stCondLst>
                                        </p:cTn>
                                        <p:tgtEl>
                                          <p:spTgt spid="163"/>
                                        </p:tgtEl>
                                        <p:attrNameLst>
                                          <p:attrName>style.visibility</p:attrName>
                                        </p:attrNameLst>
                                      </p:cBhvr>
                                      <p:to>
                                        <p:strVal val="visible"/>
                                      </p:to>
                                    </p:set>
                                    <p:animEffect transition="in" filter="wipe(left)">
                                      <p:cBhvr>
                                        <p:cTn id="18" dur="500"/>
                                        <p:tgtEl>
                                          <p:spTgt spid="16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2" grpId="0"/>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66BE908-330D-8850-3E47-D2E52A2B7145}"/>
              </a:ext>
            </a:extLst>
          </p:cNvPr>
          <p:cNvSpPr>
            <a:spLocks noGrp="1"/>
          </p:cNvSpPr>
          <p:nvPr>
            <p:ph type="title"/>
          </p:nvPr>
        </p:nvSpPr>
        <p:spPr/>
        <p:txBody>
          <a:bodyPr/>
          <a:lstStyle/>
          <a:p>
            <a:r>
              <a:rPr lang="en-CA"/>
              <a:t>Introduction</a:t>
            </a:r>
          </a:p>
        </p:txBody>
      </p:sp>
    </p:spTree>
    <p:extLst>
      <p:ext uri="{BB962C8B-B14F-4D97-AF65-F5344CB8AC3E}">
        <p14:creationId xmlns:p14="http://schemas.microsoft.com/office/powerpoint/2010/main" val="37258041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56" name="TextBox 55">
            <a:extLst>
              <a:ext uri="{FF2B5EF4-FFF2-40B4-BE49-F238E27FC236}">
                <a16:creationId xmlns:a16="http://schemas.microsoft.com/office/drawing/2014/main" id="{146FA103-B4B7-4315-BE9F-97E8CB6391EA}"/>
              </a:ext>
              <a:ext uri="{C183D7F6-B498-43B3-948B-1728B52AA6E4}">
                <adec:decorative xmlns:adec="http://schemas.microsoft.com/office/drawing/2017/decorative" val="1"/>
              </a:ext>
            </a:extLst>
          </p:cNvPr>
          <p:cNvSpPr txBox="1"/>
          <p:nvPr/>
        </p:nvSpPr>
        <p:spPr>
          <a:xfrm rot="16200000">
            <a:off x="-1250240" y="3187773"/>
            <a:ext cx="3803190" cy="7940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US" sz="3600">
                <a:solidFill>
                  <a:schemeClr val="tx1">
                    <a:alpha val="33000"/>
                  </a:schemeClr>
                </a:solidFill>
                <a:latin typeface="Berlin Sans FB Demi" panose="020E0802020502020306" pitchFamily="34" charset="0"/>
              </a:rPr>
              <a:t>d</a:t>
            </a:r>
            <a:r>
              <a:rPr kumimoji="0" lang="en-US" sz="3600" b="0" i="0" u="none" strike="noStrike" kern="1200" cap="none" spc="0" normalizeH="0" baseline="0" noProof="0" err="1">
                <a:ln>
                  <a:noFill/>
                </a:ln>
                <a:solidFill>
                  <a:schemeClr val="tx1">
                    <a:alpha val="33000"/>
                  </a:schemeClr>
                </a:solidFill>
                <a:effectLst/>
                <a:uLnTx/>
                <a:uFillTx/>
                <a:latin typeface="Berlin Sans FB Demi" panose="020E0802020502020306" pitchFamily="34" charset="0"/>
                <a:ea typeface="+mn-ea"/>
                <a:cs typeface="+mn-cs"/>
              </a:rPr>
              <a:t>eep</a:t>
            </a:r>
            <a:r>
              <a:rPr kumimoji="0" lang="en-US" sz="3600" b="0" i="0" u="none" strike="noStrike" kern="1200" cap="none" spc="0" normalizeH="0" baseline="0" noProof="0">
                <a:ln>
                  <a:noFill/>
                </a:ln>
                <a:solidFill>
                  <a:schemeClr val="tx1">
                    <a:alpha val="33000"/>
                  </a:schemeClr>
                </a:solidFill>
                <a:effectLst/>
                <a:uLnTx/>
                <a:uFillTx/>
                <a:latin typeface="Berlin Sans FB Demi" panose="020E0802020502020306" pitchFamily="34" charset="0"/>
                <a:ea typeface="+mn-ea"/>
                <a:cs typeface="+mn-cs"/>
              </a:rPr>
              <a:t> learning</a:t>
            </a:r>
          </a:p>
        </p:txBody>
      </p:sp>
      <p:sp>
        <p:nvSpPr>
          <p:cNvPr id="2" name="Title 1">
            <a:extLst>
              <a:ext uri="{FF2B5EF4-FFF2-40B4-BE49-F238E27FC236}">
                <a16:creationId xmlns:a16="http://schemas.microsoft.com/office/drawing/2014/main" id="{57727CAB-7ED5-4F44-B836-5F34557054E3}"/>
              </a:ext>
              <a:ext uri="{C183D7F6-B498-43B3-948B-1728B52AA6E4}">
                <adec:decorative xmlns:adec="http://schemas.microsoft.com/office/drawing/2017/decorative" val="1"/>
              </a:ext>
            </a:extLst>
          </p:cNvPr>
          <p:cNvSpPr>
            <a:spLocks noGrp="1"/>
          </p:cNvSpPr>
          <p:nvPr>
            <p:ph type="title"/>
          </p:nvPr>
        </p:nvSpPr>
        <p:spPr/>
        <p:txBody>
          <a:bodyPr/>
          <a:lstStyle/>
          <a:p>
            <a:r>
              <a:rPr lang="en-US" sz="2800" b="1" spc="-147">
                <a:latin typeface="Segoe UI Semibold" panose="020B0502040204020203" pitchFamily="34" charset="0"/>
                <a:cs typeface="+mn-cs"/>
              </a:rPr>
              <a:t>GPUs for Deep Learning (ND series)</a:t>
            </a:r>
          </a:p>
        </p:txBody>
      </p:sp>
      <p:graphicFrame>
        <p:nvGraphicFramePr>
          <p:cNvPr id="7" name="Table 6">
            <a:extLst>
              <a:ext uri="{FF2B5EF4-FFF2-40B4-BE49-F238E27FC236}">
                <a16:creationId xmlns:a16="http://schemas.microsoft.com/office/drawing/2014/main" id="{100E8D3C-2D36-449A-54D4-C52CD6ABDBDF}"/>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3388416882"/>
              </p:ext>
            </p:extLst>
          </p:nvPr>
        </p:nvGraphicFramePr>
        <p:xfrm>
          <a:off x="1129398" y="1781927"/>
          <a:ext cx="10503611" cy="3465201"/>
        </p:xfrm>
        <a:graphic>
          <a:graphicData uri="http://schemas.openxmlformats.org/drawingml/2006/table">
            <a:tbl>
              <a:tblPr firstRow="1" bandRow="1">
                <a:tableStyleId>{5C22544A-7EE6-4342-B048-85BDC9FD1C3A}</a:tableStyleId>
              </a:tblPr>
              <a:tblGrid>
                <a:gridCol w="1386361">
                  <a:extLst>
                    <a:ext uri="{9D8B030D-6E8A-4147-A177-3AD203B41FA5}">
                      <a16:colId xmlns:a16="http://schemas.microsoft.com/office/drawing/2014/main" val="20000"/>
                    </a:ext>
                  </a:extLst>
                </a:gridCol>
                <a:gridCol w="1869233">
                  <a:extLst>
                    <a:ext uri="{9D8B030D-6E8A-4147-A177-3AD203B41FA5}">
                      <a16:colId xmlns:a16="http://schemas.microsoft.com/office/drawing/2014/main" val="20001"/>
                    </a:ext>
                  </a:extLst>
                </a:gridCol>
                <a:gridCol w="2361971">
                  <a:extLst>
                    <a:ext uri="{9D8B030D-6E8A-4147-A177-3AD203B41FA5}">
                      <a16:colId xmlns:a16="http://schemas.microsoft.com/office/drawing/2014/main" val="20002"/>
                    </a:ext>
                  </a:extLst>
                </a:gridCol>
                <a:gridCol w="2443023">
                  <a:extLst>
                    <a:ext uri="{9D8B030D-6E8A-4147-A177-3AD203B41FA5}">
                      <a16:colId xmlns:a16="http://schemas.microsoft.com/office/drawing/2014/main" val="3790752533"/>
                    </a:ext>
                  </a:extLst>
                </a:gridCol>
                <a:gridCol w="2443023">
                  <a:extLst>
                    <a:ext uri="{9D8B030D-6E8A-4147-A177-3AD203B41FA5}">
                      <a16:colId xmlns:a16="http://schemas.microsoft.com/office/drawing/2014/main" val="536337742"/>
                    </a:ext>
                  </a:extLst>
                </a:gridCol>
              </a:tblGrid>
              <a:tr h="630229">
                <a:tc>
                  <a:txBody>
                    <a:bodyPr/>
                    <a:lstStyle/>
                    <a:p>
                      <a:pPr algn="ctr"/>
                      <a:r>
                        <a:rPr lang="en-US" sz="1100" b="0">
                          <a:solidFill>
                            <a:schemeClr val="tx1"/>
                          </a:solidFill>
                          <a:latin typeface="Segoe UI Semibold" panose="020B0702040204020203" pitchFamily="34" charset="0"/>
                          <a:cs typeface="Segoe UI Semibold" panose="020B0702040204020203" pitchFamily="34" charset="0"/>
                        </a:rPr>
                        <a:t>Azure instance </a:t>
                      </a:r>
                      <a:r>
                        <a:rPr lang="en-US" sz="1100" b="0">
                          <a:solidFill>
                            <a:schemeClr val="tx1"/>
                          </a:solidFill>
                          <a:latin typeface="Segoe UI Semibold" panose="020B0702040204020203" pitchFamily="34" charset="0"/>
                          <a:cs typeface="Segoe UI Semibold" panose="020B0702040204020203" pitchFamily="34" charset="0"/>
                          <a:sym typeface="Wingdings" panose="05000000000000000000" pitchFamily="2" charset="2"/>
                        </a:rPr>
                        <a:t></a:t>
                      </a:r>
                      <a:endParaRPr lang="en-US" sz="1100" b="0">
                        <a:solidFill>
                          <a:schemeClr val="tx1"/>
                        </a:solidFill>
                        <a:latin typeface="Segoe UI Semibold" panose="020B0702040204020203" pitchFamily="34" charset="0"/>
                        <a:cs typeface="Segoe UI Semibold" panose="020B0702040204020203" pitchFamily="34" charset="0"/>
                      </a:endParaRPr>
                    </a:p>
                  </a:txBody>
                  <a:tcPr marL="60731" marR="60731" marT="30365" marB="303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2270">
                        <a:alpha val="56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ND</a:t>
                      </a:r>
                    </a:p>
                  </a:txBody>
                  <a:tcPr marL="60731" marR="60731" marT="30365" marB="303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lumOff val="15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NDv2</a:t>
                      </a:r>
                    </a:p>
                  </a:txBody>
                  <a:tcPr marL="60731" marR="60731" marT="30365" marB="303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lumOff val="15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ND A100 v4</a:t>
                      </a:r>
                    </a:p>
                  </a:txBody>
                  <a:tcPr marL="60731" marR="60731" marT="30365" marB="303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lumOff val="15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NDm A100 v4</a:t>
                      </a:r>
                    </a:p>
                  </a:txBody>
                  <a:tcPr marL="60731" marR="60731" marT="30365" marB="303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lumOff val="15000"/>
                      </a:schemeClr>
                    </a:solidFill>
                  </a:tcPr>
                </a:tc>
                <a:extLst>
                  <a:ext uri="{0D108BD9-81ED-4DB2-BD59-A6C34878D82A}">
                    <a16:rowId xmlns:a16="http://schemas.microsoft.com/office/drawing/2014/main" val="10000"/>
                  </a:ext>
                </a:extLst>
              </a:tr>
              <a:tr h="406598">
                <a:tc>
                  <a:txBody>
                    <a:bodyPr/>
                    <a:lstStyle/>
                    <a:p>
                      <a:pPr marL="0" marR="0" algn="ctr">
                        <a:spcBef>
                          <a:spcPts val="0"/>
                        </a:spcBef>
                        <a:spcAft>
                          <a:spcPts val="0"/>
                        </a:spcAft>
                      </a:pPr>
                      <a:r>
                        <a:rPr lang="en-US" sz="1400" b="0" i="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CPU Core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lumOff val="15000"/>
                      </a:schemeClr>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6,12,24</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4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96</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a:solidFill>
                            <a:schemeClr val="tx1"/>
                          </a:solidFill>
                          <a:effectLst/>
                          <a:latin typeface="+mn-lt"/>
                          <a:ea typeface="Calibri" panose="020F0502020204030204" pitchFamily="34" charset="0"/>
                        </a:rPr>
                        <a:t>96</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extLst>
                  <a:ext uri="{0D108BD9-81ED-4DB2-BD59-A6C34878D82A}">
                    <a16:rowId xmlns:a16="http://schemas.microsoft.com/office/drawing/2014/main" val="10001"/>
                  </a:ext>
                </a:extLst>
              </a:tr>
              <a:tr h="424345">
                <a:tc>
                  <a:txBody>
                    <a:bodyPr/>
                    <a:lstStyle/>
                    <a:p>
                      <a:pPr marL="0" marR="0" algn="ctr">
                        <a:spcBef>
                          <a:spcPts val="0"/>
                        </a:spcBef>
                        <a:spcAft>
                          <a:spcPts val="0"/>
                        </a:spcAft>
                      </a:pPr>
                      <a:r>
                        <a:rPr lang="en-US" sz="1400" b="0" i="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GPU</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lumOff val="15000"/>
                      </a:schemeClr>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1x, 2x, or 4x P40 GPU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8x V100 32 GB (NVLink) GPU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8x A100 40 GB GPU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a:solidFill>
                            <a:schemeClr val="tx1"/>
                          </a:solidFill>
                          <a:effectLst/>
                          <a:latin typeface="+mn-lt"/>
                          <a:ea typeface="Calibri" panose="020F0502020204030204" pitchFamily="34" charset="0"/>
                        </a:rPr>
                        <a:t>8x A100 80 GB GPU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extLst>
                  <a:ext uri="{0D108BD9-81ED-4DB2-BD59-A6C34878D82A}">
                    <a16:rowId xmlns:a16="http://schemas.microsoft.com/office/drawing/2014/main" val="10002"/>
                  </a:ext>
                </a:extLst>
              </a:tr>
              <a:tr h="424345">
                <a:tc>
                  <a:txBody>
                    <a:bodyPr/>
                    <a:lstStyle/>
                    <a:p>
                      <a:pPr marL="0" marR="0" algn="ctr">
                        <a:spcBef>
                          <a:spcPts val="0"/>
                        </a:spcBef>
                        <a:spcAft>
                          <a:spcPts val="0"/>
                        </a:spcAft>
                      </a:pPr>
                      <a:r>
                        <a:rPr lang="en-US" sz="1400" b="0" i="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Memory</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lumOff val="15000"/>
                      </a:schemeClr>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12/224/448 GB</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672 GB</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900 GB</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1900 GB</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extLst>
                  <a:ext uri="{0D108BD9-81ED-4DB2-BD59-A6C34878D82A}">
                    <a16:rowId xmlns:a16="http://schemas.microsoft.com/office/drawing/2014/main" val="10003"/>
                  </a:ext>
                </a:extLst>
              </a:tr>
              <a:tr h="424345">
                <a:tc>
                  <a:txBody>
                    <a:bodyPr/>
                    <a:lstStyle/>
                    <a:p>
                      <a:pPr marL="0" marR="0" algn="ctr">
                        <a:spcBef>
                          <a:spcPts val="0"/>
                        </a:spcBef>
                        <a:spcAft>
                          <a:spcPts val="0"/>
                        </a:spcAft>
                      </a:pPr>
                      <a:r>
                        <a:rPr lang="en-US" sz="1400" b="0" i="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Local Disk</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lumOff val="15000"/>
                      </a:schemeClr>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736/1474/2948 GiB SSD</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2948 GiB SSD</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6 TB SSD</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a:solidFill>
                            <a:schemeClr val="tx1"/>
                          </a:solidFill>
                          <a:effectLst/>
                          <a:latin typeface="+mn-lt"/>
                          <a:ea typeface="Calibri" panose="020F0502020204030204" pitchFamily="34" charset="0"/>
                        </a:rPr>
                        <a:t>6.4 TB SSD</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extLst>
                  <a:ext uri="{0D108BD9-81ED-4DB2-BD59-A6C34878D82A}">
                    <a16:rowId xmlns:a16="http://schemas.microsoft.com/office/drawing/2014/main" val="10004"/>
                  </a:ext>
                </a:extLst>
              </a:tr>
              <a:tr h="1155339">
                <a:tc>
                  <a:txBody>
                    <a:bodyPr/>
                    <a:lstStyle/>
                    <a:p>
                      <a:pPr marL="0" marR="0" algn="ctr">
                        <a:spcBef>
                          <a:spcPts val="0"/>
                        </a:spcBef>
                        <a:spcAft>
                          <a:spcPts val="0"/>
                        </a:spcAft>
                      </a:pPr>
                      <a:r>
                        <a:rPr lang="en-US" sz="1400" b="0" i="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Network</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lumOff val="15000"/>
                      </a:schemeClr>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Azure Network + InfiniBand EDR</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Azure Network + InfiniBand EDR + NVLink GPU Interconnec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Azure Network + InfiniBand EDR + NVLink GPU Interconnec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a:solidFill>
                            <a:schemeClr val="tx1"/>
                          </a:solidFill>
                          <a:effectLst/>
                          <a:latin typeface="+mn-lt"/>
                          <a:ea typeface="Calibri" panose="020F0502020204030204" pitchFamily="34" charset="0"/>
                        </a:rPr>
                        <a:t>Azure Network + InfiniBand EDR + </a:t>
                      </a:r>
                      <a:r>
                        <a:rPr lang="en-US" sz="1200" err="1">
                          <a:solidFill>
                            <a:schemeClr val="tx1"/>
                          </a:solidFill>
                          <a:effectLst/>
                          <a:latin typeface="+mn-lt"/>
                          <a:ea typeface="Calibri" panose="020F0502020204030204" pitchFamily="34" charset="0"/>
                        </a:rPr>
                        <a:t>NVLink</a:t>
                      </a:r>
                      <a:r>
                        <a:rPr lang="en-US" sz="1200">
                          <a:solidFill>
                            <a:schemeClr val="tx1"/>
                          </a:solidFill>
                          <a:effectLst/>
                          <a:latin typeface="+mn-lt"/>
                          <a:ea typeface="Calibri" panose="020F0502020204030204" pitchFamily="34" charset="0"/>
                        </a:rPr>
                        <a:t> GPU Interconnec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056651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56"/>
                                        </p:tgtEl>
                                        <p:attrNameLst>
                                          <p:attrName>style.visibility</p:attrName>
                                        </p:attrNameLst>
                                      </p:cBhvr>
                                      <p:to>
                                        <p:strVal val="visible"/>
                                      </p:to>
                                    </p:set>
                                    <p:animEffect transition="in" filter="fade">
                                      <p:cBhvr>
                                        <p:cTn id="1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2" grpId="0"/>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678C55D5-CCC8-2DDD-7199-C17009A7B230}"/>
              </a:ext>
            </a:extLst>
          </p:cNvPr>
          <p:cNvGrpSpPr/>
          <p:nvPr/>
        </p:nvGrpSpPr>
        <p:grpSpPr>
          <a:xfrm>
            <a:off x="1219435" y="2931115"/>
            <a:ext cx="2066740" cy="2319295"/>
            <a:chOff x="1786433" y="3464614"/>
            <a:chExt cx="2066740" cy="2319295"/>
          </a:xfrm>
        </p:grpSpPr>
        <p:sp>
          <p:nvSpPr>
            <p:cNvPr id="25" name="Rectangle 24">
              <a:extLst>
                <a:ext uri="{FF2B5EF4-FFF2-40B4-BE49-F238E27FC236}">
                  <a16:creationId xmlns:a16="http://schemas.microsoft.com/office/drawing/2014/main" id="{DDB52218-AA03-4E64-A070-1CBBCD237393}"/>
                </a:ext>
              </a:extLst>
            </p:cNvPr>
            <p:cNvSpPr/>
            <p:nvPr/>
          </p:nvSpPr>
          <p:spPr>
            <a:xfrm>
              <a:off x="1786433" y="3464614"/>
              <a:ext cx="2066740" cy="1044508"/>
            </a:xfrm>
            <a:prstGeom prst="rect">
              <a:avLst/>
            </a:prstGeom>
            <a:noFill/>
            <a:ln w="6350" cap="flat" cmpd="sng" algn="ctr">
              <a:noFill/>
              <a:prstDash val="solid"/>
              <a:miter lim="800000"/>
            </a:ln>
            <a:effectLst/>
          </p:spPr>
          <p:txBody>
            <a:bodyPr lIns="0" tIns="0" rIns="0" bIns="0" rtlCol="0" anchor="t" anchorCtr="0"/>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Multi-GPU VM</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NVLINK™</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A100 x 8</a:t>
              </a:r>
            </a:p>
          </p:txBody>
        </p:sp>
        <p:pic>
          <p:nvPicPr>
            <p:cNvPr id="28" name="Picture 27" descr="Image preview">
              <a:extLst>
                <a:ext uri="{FF2B5EF4-FFF2-40B4-BE49-F238E27FC236}">
                  <a16:creationId xmlns:a16="http://schemas.microsoft.com/office/drawing/2014/main" id="{ECEBE252-E364-4E7D-BAEC-43F47CC2C6E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74755" y="4599746"/>
              <a:ext cx="1890097" cy="1184163"/>
            </a:xfrm>
            <a:custGeom>
              <a:avLst/>
              <a:gdLst>
                <a:gd name="connsiteX0" fmla="*/ 606505 w 7180478"/>
                <a:gd name="connsiteY0" fmla="*/ 0 h 4498634"/>
                <a:gd name="connsiteX1" fmla="*/ 5982685 w 7180478"/>
                <a:gd name="connsiteY1" fmla="*/ 267706 h 4498634"/>
                <a:gd name="connsiteX2" fmla="*/ 7180478 w 7180478"/>
                <a:gd name="connsiteY2" fmla="*/ 2947792 h 4498634"/>
                <a:gd name="connsiteX3" fmla="*/ 7180478 w 7180478"/>
                <a:gd name="connsiteY3" fmla="*/ 3688991 h 4498634"/>
                <a:gd name="connsiteX4" fmla="*/ 0 w 7180478"/>
                <a:gd name="connsiteY4" fmla="*/ 4498634 h 4498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80478" h="4498634">
                  <a:moveTo>
                    <a:pt x="606505" y="0"/>
                  </a:moveTo>
                  <a:lnTo>
                    <a:pt x="5982685" y="267706"/>
                  </a:lnTo>
                  <a:lnTo>
                    <a:pt x="7180478" y="2947792"/>
                  </a:lnTo>
                  <a:lnTo>
                    <a:pt x="7180478" y="3688991"/>
                  </a:lnTo>
                  <a:lnTo>
                    <a:pt x="0" y="4498634"/>
                  </a:lnTo>
                  <a:close/>
                </a:path>
              </a:pathLst>
            </a:custGeom>
            <a:noFill/>
            <a:effectLst/>
            <a:extLst>
              <a:ext uri="{909E8E84-426E-40DD-AFC4-6F175D3DCCD1}">
                <a14:hiddenFill xmlns:a14="http://schemas.microsoft.com/office/drawing/2010/main">
                  <a:solidFill>
                    <a:srgbClr val="FFFFFF"/>
                  </a:solidFill>
                </a14:hiddenFill>
              </a:ext>
            </a:extLst>
          </p:spPr>
        </p:pic>
      </p:grpSp>
      <p:sp>
        <p:nvSpPr>
          <p:cNvPr id="17" name="Rectangle 16">
            <a:extLst>
              <a:ext uri="{FF2B5EF4-FFF2-40B4-BE49-F238E27FC236}">
                <a16:creationId xmlns:a16="http://schemas.microsoft.com/office/drawing/2014/main" id="{700511AC-75F1-4DF5-8D4B-33FACA2D3292}"/>
              </a:ext>
            </a:extLst>
          </p:cNvPr>
          <p:cNvSpPr/>
          <p:nvPr/>
        </p:nvSpPr>
        <p:spPr>
          <a:xfrm>
            <a:off x="3982511" y="4125206"/>
            <a:ext cx="1383392" cy="246221"/>
          </a:xfrm>
          <a:prstGeom prst="rect">
            <a:avLst/>
          </a:prstGeom>
          <a:noFill/>
          <a:ln w="12700" cap="flat" cmpd="sng" algn="ctr">
            <a:noFill/>
            <a:prstDash val="solid"/>
            <a:miter lim="800000"/>
          </a:ln>
          <a:effectLst/>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EF87ED"/>
                </a:solidFill>
                <a:effectLst/>
                <a:uLnTx/>
                <a:uFillTx/>
                <a:latin typeface="Segoe UI Semibold"/>
                <a:ea typeface="+mn-ea"/>
                <a:cs typeface="+mn-cs"/>
              </a:rPr>
              <a:t>NCCL+ </a:t>
            </a:r>
            <a:r>
              <a:rPr kumimoji="0" lang="en-US" sz="1600" b="0" i="0" u="none" strike="noStrike" kern="0" cap="none" spc="0" normalizeH="0" baseline="0" noProof="0" err="1">
                <a:ln>
                  <a:noFill/>
                </a:ln>
                <a:solidFill>
                  <a:srgbClr val="EF87ED"/>
                </a:solidFill>
                <a:effectLst/>
                <a:uLnTx/>
                <a:uFillTx/>
                <a:latin typeface="Segoe UI Semibold"/>
                <a:ea typeface="+mn-ea"/>
                <a:cs typeface="+mn-cs"/>
              </a:rPr>
              <a:t>NVLink</a:t>
            </a:r>
            <a:endParaRPr kumimoji="0" lang="en-US" sz="1600" b="0" i="0" u="none" strike="noStrike" kern="0" cap="none" spc="0" normalizeH="0" baseline="0" noProof="0">
              <a:ln>
                <a:noFill/>
              </a:ln>
              <a:solidFill>
                <a:srgbClr val="EF87ED"/>
              </a:solidFill>
              <a:effectLst/>
              <a:uLnTx/>
              <a:uFillTx/>
              <a:latin typeface="Segoe UI Semibold"/>
              <a:ea typeface="+mn-ea"/>
              <a:cs typeface="+mn-cs"/>
            </a:endParaRPr>
          </a:p>
        </p:txBody>
      </p:sp>
      <p:sp>
        <p:nvSpPr>
          <p:cNvPr id="19" name="Rectangle 18">
            <a:extLst>
              <a:ext uri="{FF2B5EF4-FFF2-40B4-BE49-F238E27FC236}">
                <a16:creationId xmlns:a16="http://schemas.microsoft.com/office/drawing/2014/main" id="{11A787F9-987D-4D9C-9EB1-B0957D0CE538}"/>
              </a:ext>
            </a:extLst>
          </p:cNvPr>
          <p:cNvSpPr/>
          <p:nvPr/>
        </p:nvSpPr>
        <p:spPr>
          <a:xfrm>
            <a:off x="6820299" y="4125206"/>
            <a:ext cx="1139736" cy="246221"/>
          </a:xfrm>
          <a:prstGeom prst="rect">
            <a:avLst/>
          </a:prstGeom>
          <a:noFill/>
          <a:ln w="12700" cap="flat" cmpd="sng" algn="ctr">
            <a:noFill/>
            <a:prstDash val="solid"/>
            <a:miter lim="800000"/>
          </a:ln>
          <a:effectLst/>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EF87ED"/>
                </a:solidFill>
                <a:effectLst/>
                <a:uLnTx/>
                <a:uFillTx/>
                <a:latin typeface="Segoe UI Semibold"/>
                <a:ea typeface="+mn-ea"/>
                <a:cs typeface="+mn-cs"/>
              </a:rPr>
              <a:t>NCCL+ HDR</a:t>
            </a:r>
          </a:p>
        </p:txBody>
      </p:sp>
      <p:cxnSp>
        <p:nvCxnSpPr>
          <p:cNvPr id="10" name="Straight Connector 9">
            <a:extLst>
              <a:ext uri="{FF2B5EF4-FFF2-40B4-BE49-F238E27FC236}">
                <a16:creationId xmlns:a16="http://schemas.microsoft.com/office/drawing/2014/main" id="{06A57F66-DBCB-45BB-8361-ABEE78831BFA}"/>
              </a:ext>
              <a:ext uri="{C183D7F6-B498-43B3-948B-1728B52AA6E4}">
                <adec:decorative xmlns:adec="http://schemas.microsoft.com/office/drawing/2017/decorative" val="1"/>
              </a:ext>
            </a:extLst>
          </p:cNvPr>
          <p:cNvCxnSpPr>
            <a:cxnSpLocks/>
          </p:cNvCxnSpPr>
          <p:nvPr/>
        </p:nvCxnSpPr>
        <p:spPr>
          <a:xfrm>
            <a:off x="6007806" y="3593903"/>
            <a:ext cx="0" cy="993718"/>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B2825BB-27B4-439B-99ED-44F938C6DFDB}"/>
              </a:ext>
              <a:ext uri="{C183D7F6-B498-43B3-948B-1728B52AA6E4}">
                <adec:decorative xmlns:adec="http://schemas.microsoft.com/office/drawing/2017/decorative" val="1"/>
              </a:ext>
            </a:extLst>
          </p:cNvPr>
          <p:cNvCxnSpPr>
            <a:cxnSpLocks/>
          </p:cNvCxnSpPr>
          <p:nvPr/>
        </p:nvCxnSpPr>
        <p:spPr>
          <a:xfrm>
            <a:off x="3286175" y="4587621"/>
            <a:ext cx="5486353" cy="0"/>
          </a:xfrm>
          <a:prstGeom prst="line">
            <a:avLst/>
          </a:prstGeom>
          <a:ln w="381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78E6242-1627-FC20-07B7-E75B2724BD2D}"/>
              </a:ext>
            </a:extLst>
          </p:cNvPr>
          <p:cNvGrpSpPr/>
          <p:nvPr/>
        </p:nvGrpSpPr>
        <p:grpSpPr>
          <a:xfrm>
            <a:off x="4938765" y="1717539"/>
            <a:ext cx="2181172" cy="1762237"/>
            <a:chOff x="4724515" y="2619291"/>
            <a:chExt cx="2181172" cy="1762237"/>
          </a:xfrm>
        </p:grpSpPr>
        <p:sp>
          <p:nvSpPr>
            <p:cNvPr id="21" name="Rectangle 20">
              <a:extLst>
                <a:ext uri="{FF2B5EF4-FFF2-40B4-BE49-F238E27FC236}">
                  <a16:creationId xmlns:a16="http://schemas.microsoft.com/office/drawing/2014/main" id="{044E03C5-0F0F-4212-A17B-4FDADD313CF0}"/>
                </a:ext>
              </a:extLst>
            </p:cNvPr>
            <p:cNvSpPr/>
            <p:nvPr/>
          </p:nvSpPr>
          <p:spPr>
            <a:xfrm>
              <a:off x="4724515" y="2619291"/>
              <a:ext cx="2181172" cy="340770"/>
            </a:xfrm>
            <a:prstGeom prst="rect">
              <a:avLst/>
            </a:prstGeom>
            <a:noFill/>
            <a:ln w="6350" cap="flat" cmpd="sng" algn="ctr">
              <a:noFill/>
              <a:prstDash val="solid"/>
              <a:miter lim="800000"/>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Single A100 GPU</a:t>
              </a:r>
            </a:p>
          </p:txBody>
        </p:sp>
        <p:pic>
          <p:nvPicPr>
            <p:cNvPr id="6148" name="Picture 4" descr="AceleMax DGS-428AS - AMAX">
              <a:extLst>
                <a:ext uri="{FF2B5EF4-FFF2-40B4-BE49-F238E27FC236}">
                  <a16:creationId xmlns:a16="http://schemas.microsoft.com/office/drawing/2014/main" id="{85BCE707-8AB6-49D2-AF37-D0F479D2796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152455">
              <a:off x="4856400" y="2943476"/>
              <a:ext cx="1917402" cy="143805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a:extLst>
              <a:ext uri="{FF2B5EF4-FFF2-40B4-BE49-F238E27FC236}">
                <a16:creationId xmlns:a16="http://schemas.microsoft.com/office/drawing/2014/main" id="{2AF1D9A4-4B43-AFC3-7AF0-BDB183B80D94}"/>
              </a:ext>
            </a:extLst>
          </p:cNvPr>
          <p:cNvGrpSpPr/>
          <p:nvPr/>
        </p:nvGrpSpPr>
        <p:grpSpPr>
          <a:xfrm>
            <a:off x="8772528" y="2874590"/>
            <a:ext cx="2153221" cy="2432344"/>
            <a:chOff x="8772528" y="3403830"/>
            <a:chExt cx="2153221" cy="2432344"/>
          </a:xfrm>
        </p:grpSpPr>
        <p:grpSp>
          <p:nvGrpSpPr>
            <p:cNvPr id="36" name="Group 35">
              <a:extLst>
                <a:ext uri="{FF2B5EF4-FFF2-40B4-BE49-F238E27FC236}">
                  <a16:creationId xmlns:a16="http://schemas.microsoft.com/office/drawing/2014/main" id="{03785061-5D21-44D1-B691-1F852A57C4A6}"/>
                </a:ext>
                <a:ext uri="{C183D7F6-B498-43B3-948B-1728B52AA6E4}">
                  <adec:decorative xmlns:adec="http://schemas.microsoft.com/office/drawing/2017/decorative" val="1"/>
                </a:ext>
              </a:extLst>
            </p:cNvPr>
            <p:cNvGrpSpPr/>
            <p:nvPr/>
          </p:nvGrpSpPr>
          <p:grpSpPr>
            <a:xfrm>
              <a:off x="8874692" y="4509121"/>
              <a:ext cx="1948892" cy="1327053"/>
              <a:chOff x="8317649" y="3813584"/>
              <a:chExt cx="1948892" cy="1327053"/>
            </a:xfrm>
          </p:grpSpPr>
          <p:pic>
            <p:nvPicPr>
              <p:cNvPr id="51" name="Picture 50" descr="Image preview">
                <a:extLst>
                  <a:ext uri="{FF2B5EF4-FFF2-40B4-BE49-F238E27FC236}">
                    <a16:creationId xmlns:a16="http://schemas.microsoft.com/office/drawing/2014/main" id="{5F3E30BA-4659-4316-B7B8-1FDCA5DB68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17649" y="3813584"/>
                <a:ext cx="1359752" cy="851897"/>
              </a:xfrm>
              <a:custGeom>
                <a:avLst/>
                <a:gdLst>
                  <a:gd name="connsiteX0" fmla="*/ 606505 w 7180478"/>
                  <a:gd name="connsiteY0" fmla="*/ 0 h 4498634"/>
                  <a:gd name="connsiteX1" fmla="*/ 5982685 w 7180478"/>
                  <a:gd name="connsiteY1" fmla="*/ 267706 h 4498634"/>
                  <a:gd name="connsiteX2" fmla="*/ 7180478 w 7180478"/>
                  <a:gd name="connsiteY2" fmla="*/ 2947792 h 4498634"/>
                  <a:gd name="connsiteX3" fmla="*/ 7180478 w 7180478"/>
                  <a:gd name="connsiteY3" fmla="*/ 3688991 h 4498634"/>
                  <a:gd name="connsiteX4" fmla="*/ 0 w 7180478"/>
                  <a:gd name="connsiteY4" fmla="*/ 4498634 h 4498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80478" h="4498634">
                    <a:moveTo>
                      <a:pt x="606505" y="0"/>
                    </a:moveTo>
                    <a:lnTo>
                      <a:pt x="5982685" y="267706"/>
                    </a:lnTo>
                    <a:lnTo>
                      <a:pt x="7180478" y="2947792"/>
                    </a:lnTo>
                    <a:lnTo>
                      <a:pt x="7180478" y="3688991"/>
                    </a:lnTo>
                    <a:lnTo>
                      <a:pt x="0" y="4498634"/>
                    </a:lnTo>
                    <a:close/>
                  </a:path>
                </a:pathLst>
              </a:custGeom>
              <a:noFill/>
              <a:effectLst/>
              <a:extLst>
                <a:ext uri="{909E8E84-426E-40DD-AFC4-6F175D3DCCD1}">
                  <a14:hiddenFill xmlns:a14="http://schemas.microsoft.com/office/drawing/2010/main">
                    <a:solidFill>
                      <a:srgbClr val="FFFFFF"/>
                    </a:solidFill>
                  </a14:hiddenFill>
                </a:ext>
              </a:extLst>
            </p:spPr>
          </p:pic>
          <p:pic>
            <p:nvPicPr>
              <p:cNvPr id="52" name="Picture 51" descr="Image preview">
                <a:extLst>
                  <a:ext uri="{FF2B5EF4-FFF2-40B4-BE49-F238E27FC236}">
                    <a16:creationId xmlns:a16="http://schemas.microsoft.com/office/drawing/2014/main" id="{B0C79B0F-8421-42CC-9803-6EDD1BF67C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81162" y="4051162"/>
                <a:ext cx="1359752" cy="851897"/>
              </a:xfrm>
              <a:custGeom>
                <a:avLst/>
                <a:gdLst>
                  <a:gd name="connsiteX0" fmla="*/ 606505 w 7180478"/>
                  <a:gd name="connsiteY0" fmla="*/ 0 h 4498634"/>
                  <a:gd name="connsiteX1" fmla="*/ 5982685 w 7180478"/>
                  <a:gd name="connsiteY1" fmla="*/ 267706 h 4498634"/>
                  <a:gd name="connsiteX2" fmla="*/ 7180478 w 7180478"/>
                  <a:gd name="connsiteY2" fmla="*/ 2947792 h 4498634"/>
                  <a:gd name="connsiteX3" fmla="*/ 7180478 w 7180478"/>
                  <a:gd name="connsiteY3" fmla="*/ 3688991 h 4498634"/>
                  <a:gd name="connsiteX4" fmla="*/ 0 w 7180478"/>
                  <a:gd name="connsiteY4" fmla="*/ 4498634 h 4498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80478" h="4498634">
                    <a:moveTo>
                      <a:pt x="606505" y="0"/>
                    </a:moveTo>
                    <a:lnTo>
                      <a:pt x="5982685" y="267706"/>
                    </a:lnTo>
                    <a:lnTo>
                      <a:pt x="7180478" y="2947792"/>
                    </a:lnTo>
                    <a:lnTo>
                      <a:pt x="7180478" y="3688991"/>
                    </a:lnTo>
                    <a:lnTo>
                      <a:pt x="0" y="4498634"/>
                    </a:lnTo>
                    <a:close/>
                  </a:path>
                </a:pathLst>
              </a:custGeom>
              <a:noFill/>
              <a:effectLst/>
              <a:extLst>
                <a:ext uri="{909E8E84-426E-40DD-AFC4-6F175D3DCCD1}">
                  <a14:hiddenFill xmlns:a14="http://schemas.microsoft.com/office/drawing/2010/main">
                    <a:solidFill>
                      <a:srgbClr val="FFFFFF"/>
                    </a:solidFill>
                  </a14:hiddenFill>
                </a:ext>
              </a:extLst>
            </p:spPr>
          </p:pic>
          <p:pic>
            <p:nvPicPr>
              <p:cNvPr id="53" name="Picture 52" descr="Image preview">
                <a:extLst>
                  <a:ext uri="{FF2B5EF4-FFF2-40B4-BE49-F238E27FC236}">
                    <a16:creationId xmlns:a16="http://schemas.microsoft.com/office/drawing/2014/main" id="{1DB1B8FE-B1AB-44D6-B9E0-E49F3F6D87E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06789" y="4288740"/>
                <a:ext cx="1359752" cy="851897"/>
              </a:xfrm>
              <a:custGeom>
                <a:avLst/>
                <a:gdLst>
                  <a:gd name="connsiteX0" fmla="*/ 606505 w 7180478"/>
                  <a:gd name="connsiteY0" fmla="*/ 0 h 4498634"/>
                  <a:gd name="connsiteX1" fmla="*/ 5982685 w 7180478"/>
                  <a:gd name="connsiteY1" fmla="*/ 267706 h 4498634"/>
                  <a:gd name="connsiteX2" fmla="*/ 7180478 w 7180478"/>
                  <a:gd name="connsiteY2" fmla="*/ 2947792 h 4498634"/>
                  <a:gd name="connsiteX3" fmla="*/ 7180478 w 7180478"/>
                  <a:gd name="connsiteY3" fmla="*/ 3688991 h 4498634"/>
                  <a:gd name="connsiteX4" fmla="*/ 0 w 7180478"/>
                  <a:gd name="connsiteY4" fmla="*/ 4498634 h 4498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80478" h="4498634">
                    <a:moveTo>
                      <a:pt x="606505" y="0"/>
                    </a:moveTo>
                    <a:lnTo>
                      <a:pt x="5982685" y="267706"/>
                    </a:lnTo>
                    <a:lnTo>
                      <a:pt x="7180478" y="2947792"/>
                    </a:lnTo>
                    <a:lnTo>
                      <a:pt x="7180478" y="3688991"/>
                    </a:lnTo>
                    <a:lnTo>
                      <a:pt x="0" y="4498634"/>
                    </a:lnTo>
                    <a:close/>
                  </a:path>
                </a:pathLst>
              </a:custGeom>
              <a:noFill/>
              <a:effectLst/>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33EDB47E-F37F-4368-9AF4-6D35660BE92C}"/>
                </a:ext>
              </a:extLst>
            </p:cNvPr>
            <p:cNvSpPr/>
            <p:nvPr/>
          </p:nvSpPr>
          <p:spPr>
            <a:xfrm>
              <a:off x="8772528" y="3403830"/>
              <a:ext cx="2153221" cy="1184163"/>
            </a:xfrm>
            <a:prstGeom prst="rect">
              <a:avLst/>
            </a:prstGeom>
            <a:noFill/>
            <a:ln w="6350" cap="flat" cmpd="sng" algn="ctr">
              <a:noFill/>
              <a:prstDash val="solid"/>
              <a:miter lim="800000"/>
            </a:ln>
            <a:effectLst/>
          </p:spPr>
          <p:txBody>
            <a:bodyPr lIns="0" tIns="0" rIns="0" bIns="0" rtlCol="0" anchor="t" anchorCtr="0"/>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Multi-GPU VM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InfiniBand™</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A100 x n</a:t>
              </a:r>
            </a:p>
          </p:txBody>
        </p:sp>
      </p:grpSp>
      <p:sp>
        <p:nvSpPr>
          <p:cNvPr id="4" name="Title 3">
            <a:extLst>
              <a:ext uri="{FF2B5EF4-FFF2-40B4-BE49-F238E27FC236}">
                <a16:creationId xmlns:a16="http://schemas.microsoft.com/office/drawing/2014/main" id="{561B1760-E2FC-7A5F-BF32-323A73117999}"/>
              </a:ext>
            </a:extLst>
          </p:cNvPr>
          <p:cNvSpPr>
            <a:spLocks noGrp="1"/>
          </p:cNvSpPr>
          <p:nvPr>
            <p:ph type="title"/>
          </p:nvPr>
        </p:nvSpPr>
        <p:spPr/>
        <p:txBody>
          <a:bodyPr/>
          <a:lstStyle/>
          <a:p>
            <a:r>
              <a:rPr lang="pt-BR" sz="2800" b="0" i="0">
                <a:solidFill>
                  <a:schemeClr val="bg1"/>
                </a:solidFill>
                <a:effectLst/>
                <a:latin typeface="Segoe UI Semibold" panose="020B0702040204020203" pitchFamily="34" charset="0"/>
                <a:cs typeface="Segoe UI Semibold" panose="020B0702040204020203" pitchFamily="34" charset="0"/>
              </a:rPr>
              <a:t>Building Scalable Supercomputers in the Cloud </a:t>
            </a:r>
            <a:endParaRPr lang="en-IN"/>
          </a:p>
        </p:txBody>
      </p:sp>
    </p:spTree>
    <p:extLst>
      <p:ext uri="{BB962C8B-B14F-4D97-AF65-F5344CB8AC3E}">
        <p14:creationId xmlns:p14="http://schemas.microsoft.com/office/powerpoint/2010/main" val="24546180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up)">
                                      <p:cBhvr>
                                        <p:cTn id="11" dur="500"/>
                                        <p:tgtEl>
                                          <p:spTgt spid="5"/>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ipe(up)">
                                      <p:cBhvr>
                                        <p:cTn id="15" dur="250"/>
                                        <p:tgtEl>
                                          <p:spTgt spid="10"/>
                                        </p:tgtEl>
                                      </p:cBhvr>
                                    </p:animEffect>
                                  </p:childTnLst>
                                </p:cTn>
                              </p:par>
                            </p:childTnLst>
                          </p:cTn>
                        </p:par>
                        <p:par>
                          <p:cTn id="16" fill="hold">
                            <p:stCondLst>
                              <p:cond delay="1250"/>
                            </p:stCondLst>
                            <p:childTnLst>
                              <p:par>
                                <p:cTn id="17" presetID="16" presetClass="entr" presetSubtype="37" fill="hold" nodeType="after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barn(outVertical)">
                                      <p:cBhvr>
                                        <p:cTn id="19" dur="250"/>
                                        <p:tgtEl>
                                          <p:spTgt spid="3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childTnLst>
                          </p:cTn>
                        </p:par>
                        <p:par>
                          <p:cTn id="26" fill="hold">
                            <p:stCondLst>
                              <p:cond delay="1750"/>
                            </p:stCondLst>
                            <p:childTnLst>
                              <p:par>
                                <p:cTn id="27" presetID="22" presetClass="entr" presetSubtype="2" fill="hold" nodeType="after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wipe(right)">
                                      <p:cBhvr>
                                        <p:cTn id="29" dur="500"/>
                                        <p:tgtEl>
                                          <p:spTgt spid="6"/>
                                        </p:tgtEl>
                                      </p:cBhvr>
                                    </p:animEffect>
                                  </p:childTnLst>
                                </p:cTn>
                              </p:par>
                              <p:par>
                                <p:cTn id="30" presetID="22" presetClass="entr" presetSubtype="8" fill="hold" nodeType="with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wipe(left)">
                                      <p:cBhvr>
                                        <p:cTn id="3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9" grpId="0"/>
      <p:bldP spid="4"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313" name="Rectangle 312">
            <a:extLst>
              <a:ext uri="{FF2B5EF4-FFF2-40B4-BE49-F238E27FC236}">
                <a16:creationId xmlns:a16="http://schemas.microsoft.com/office/drawing/2014/main" id="{00370136-E93F-5714-4C87-436DB93B9D37}"/>
              </a:ext>
              <a:ext uri="{C183D7F6-B498-43B3-948B-1728B52AA6E4}">
                <adec:decorative xmlns:adec="http://schemas.microsoft.com/office/drawing/2017/decorative" val="1"/>
              </a:ext>
            </a:extLst>
          </p:cNvPr>
          <p:cNvSpPr/>
          <p:nvPr/>
        </p:nvSpPr>
        <p:spPr>
          <a:xfrm>
            <a:off x="-2" y="858852"/>
            <a:ext cx="12192002" cy="5394711"/>
          </a:xfrm>
          <a:prstGeom prst="rect">
            <a:avLst/>
          </a:prstGeom>
          <a:solidFill>
            <a:schemeClr val="bg1">
              <a:alpha val="37000"/>
            </a:schemeClr>
          </a:solidFill>
          <a:ln>
            <a:noFill/>
          </a:ln>
          <a:effectLst>
            <a:softEdge rad="63500"/>
          </a:effectLst>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CB9E76A9-ABA8-C08E-11F2-E83239138511}"/>
              </a:ext>
            </a:extLst>
          </p:cNvPr>
          <p:cNvSpPr>
            <a:spLocks noGrp="1"/>
          </p:cNvSpPr>
          <p:nvPr>
            <p:ph type="title"/>
          </p:nvPr>
        </p:nvSpPr>
        <p:spPr/>
        <p:txBody>
          <a:bodyPr/>
          <a:lstStyle/>
          <a:p>
            <a:r>
              <a:rPr lang="en-US"/>
              <a:t>ND_v4 Node Topology</a:t>
            </a:r>
            <a:endParaRPr lang="en-IN"/>
          </a:p>
        </p:txBody>
      </p:sp>
      <p:grpSp>
        <p:nvGrpSpPr>
          <p:cNvPr id="2" name="Group 1">
            <a:extLst>
              <a:ext uri="{FF2B5EF4-FFF2-40B4-BE49-F238E27FC236}">
                <a16:creationId xmlns:a16="http://schemas.microsoft.com/office/drawing/2014/main" id="{4EC5A3D0-63BA-D955-ACE1-C5D1A44577D4}"/>
              </a:ext>
            </a:extLst>
          </p:cNvPr>
          <p:cNvGrpSpPr/>
          <p:nvPr/>
        </p:nvGrpSpPr>
        <p:grpSpPr>
          <a:xfrm>
            <a:off x="1172351" y="1138183"/>
            <a:ext cx="9847299" cy="4860965"/>
            <a:chOff x="1172351" y="1138183"/>
            <a:chExt cx="9847299" cy="4860965"/>
          </a:xfrm>
        </p:grpSpPr>
        <p:sp>
          <p:nvSpPr>
            <p:cNvPr id="27" name="Rectangle 20">
              <a:extLst>
                <a:ext uri="{FF2B5EF4-FFF2-40B4-BE49-F238E27FC236}">
                  <a16:creationId xmlns:a16="http://schemas.microsoft.com/office/drawing/2014/main" id="{B5E06022-540C-D6AB-E52E-A0321C2D4F20}"/>
                </a:ext>
              </a:extLst>
            </p:cNvPr>
            <p:cNvSpPr>
              <a:spLocks noChangeArrowheads="1"/>
            </p:cNvSpPr>
            <p:nvPr/>
          </p:nvSpPr>
          <p:spPr bwMode="auto">
            <a:xfrm>
              <a:off x="3161504" y="1260077"/>
              <a:ext cx="415203" cy="411392"/>
            </a:xfrm>
            <a:prstGeom prst="rect">
              <a:avLst/>
            </a:prstGeom>
            <a:solidFill>
              <a:schemeClr val="bg1">
                <a:lumMod val="85000"/>
                <a:lumOff val="15000"/>
              </a:schemeClr>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effectLst/>
                  <a:uLnTx/>
                  <a:uFillTx/>
                  <a:latin typeface="Segoe UI" panose="020B0502040204020203" pitchFamily="34" charset="0"/>
                  <a:cs typeface="Segoe UI" panose="020B0502040204020203" pitchFamily="34" charset="0"/>
                </a:rPr>
                <a:t>CPU 0</a:t>
              </a:r>
            </a:p>
          </p:txBody>
        </p:sp>
        <p:grpSp>
          <p:nvGrpSpPr>
            <p:cNvPr id="30" name="Group 29">
              <a:extLst>
                <a:ext uri="{FF2B5EF4-FFF2-40B4-BE49-F238E27FC236}">
                  <a16:creationId xmlns:a16="http://schemas.microsoft.com/office/drawing/2014/main" id="{CB4A266A-4600-AF79-66E4-343E84900E06}"/>
                </a:ext>
              </a:extLst>
            </p:cNvPr>
            <p:cNvGrpSpPr/>
            <p:nvPr/>
          </p:nvGrpSpPr>
          <p:grpSpPr>
            <a:xfrm>
              <a:off x="3039610" y="1138183"/>
              <a:ext cx="655182" cy="651370"/>
              <a:chOff x="2347098" y="3978734"/>
              <a:chExt cx="1907382" cy="1896284"/>
            </a:xfrm>
          </p:grpSpPr>
          <p:sp>
            <p:nvSpPr>
              <p:cNvPr id="13" name="Rectangle 6">
                <a:extLst>
                  <a:ext uri="{FF2B5EF4-FFF2-40B4-BE49-F238E27FC236}">
                    <a16:creationId xmlns:a16="http://schemas.microsoft.com/office/drawing/2014/main" id="{8F686C88-146D-935A-BAFA-9D7847E9BFB0}"/>
                  </a:ext>
                </a:extLst>
              </p:cNvPr>
              <p:cNvSpPr>
                <a:spLocks noChangeArrowheads="1"/>
              </p:cNvSpPr>
              <p:nvPr/>
            </p:nvSpPr>
            <p:spPr bwMode="auto">
              <a:xfrm>
                <a:off x="2347098" y="4666276"/>
                <a:ext cx="166341" cy="177430"/>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Rectangle 7">
                <a:extLst>
                  <a:ext uri="{FF2B5EF4-FFF2-40B4-BE49-F238E27FC236}">
                    <a16:creationId xmlns:a16="http://schemas.microsoft.com/office/drawing/2014/main" id="{500A5DEE-F527-FCDD-2F62-85714D9DD5CD}"/>
                  </a:ext>
                </a:extLst>
              </p:cNvPr>
              <p:cNvSpPr>
                <a:spLocks noChangeArrowheads="1"/>
              </p:cNvSpPr>
              <p:nvPr/>
            </p:nvSpPr>
            <p:spPr bwMode="auto">
              <a:xfrm>
                <a:off x="2347098" y="5021136"/>
                <a:ext cx="166341" cy="16634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Rectangle 8">
                <a:extLst>
                  <a:ext uri="{FF2B5EF4-FFF2-40B4-BE49-F238E27FC236}">
                    <a16:creationId xmlns:a16="http://schemas.microsoft.com/office/drawing/2014/main" id="{52F59C6B-1EC3-FE51-A039-066474D84289}"/>
                  </a:ext>
                </a:extLst>
              </p:cNvPr>
              <p:cNvSpPr>
                <a:spLocks noChangeArrowheads="1"/>
              </p:cNvSpPr>
              <p:nvPr/>
            </p:nvSpPr>
            <p:spPr bwMode="auto">
              <a:xfrm>
                <a:off x="2347098" y="5364907"/>
                <a:ext cx="166341" cy="16634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Rectangle 9">
                <a:extLst>
                  <a:ext uri="{FF2B5EF4-FFF2-40B4-BE49-F238E27FC236}">
                    <a16:creationId xmlns:a16="http://schemas.microsoft.com/office/drawing/2014/main" id="{4E3284C5-8266-6D31-56BD-9DE4EB2E8D83}"/>
                  </a:ext>
                </a:extLst>
              </p:cNvPr>
              <p:cNvSpPr>
                <a:spLocks noChangeArrowheads="1"/>
              </p:cNvSpPr>
              <p:nvPr/>
            </p:nvSpPr>
            <p:spPr bwMode="auto">
              <a:xfrm>
                <a:off x="2347098" y="4333594"/>
                <a:ext cx="166341" cy="16634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Rectangle 10">
                <a:extLst>
                  <a:ext uri="{FF2B5EF4-FFF2-40B4-BE49-F238E27FC236}">
                    <a16:creationId xmlns:a16="http://schemas.microsoft.com/office/drawing/2014/main" id="{D358D9C7-0E10-E1CF-CFFF-035198C9BD6F}"/>
                  </a:ext>
                </a:extLst>
              </p:cNvPr>
              <p:cNvSpPr>
                <a:spLocks noChangeArrowheads="1"/>
              </p:cNvSpPr>
              <p:nvPr/>
            </p:nvSpPr>
            <p:spPr bwMode="auto">
              <a:xfrm>
                <a:off x="4077049" y="4666276"/>
                <a:ext cx="177431" cy="177430"/>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11">
                <a:extLst>
                  <a:ext uri="{FF2B5EF4-FFF2-40B4-BE49-F238E27FC236}">
                    <a16:creationId xmlns:a16="http://schemas.microsoft.com/office/drawing/2014/main" id="{4C39E986-08E1-D117-9700-701FD0A372A8}"/>
                  </a:ext>
                </a:extLst>
              </p:cNvPr>
              <p:cNvSpPr>
                <a:spLocks/>
              </p:cNvSpPr>
              <p:nvPr/>
            </p:nvSpPr>
            <p:spPr bwMode="auto">
              <a:xfrm>
                <a:off x="4077049" y="5364907"/>
                <a:ext cx="177431" cy="166341"/>
              </a:xfrm>
              <a:custGeom>
                <a:avLst/>
                <a:gdLst>
                  <a:gd name="T0" fmla="*/ 0 w 16"/>
                  <a:gd name="T1" fmla="*/ 0 h 15"/>
                  <a:gd name="T2" fmla="*/ 0 w 16"/>
                  <a:gd name="T3" fmla="*/ 15 h 15"/>
                  <a:gd name="T4" fmla="*/ 15 w 16"/>
                  <a:gd name="T5" fmla="*/ 15 h 15"/>
                  <a:gd name="T6" fmla="*/ 16 w 16"/>
                  <a:gd name="T7" fmla="*/ 15 h 15"/>
                  <a:gd name="T8" fmla="*/ 16 w 16"/>
                  <a:gd name="T9" fmla="*/ 0 h 15"/>
                  <a:gd name="T10" fmla="*/ 15 w 16"/>
                  <a:gd name="T11" fmla="*/ 0 h 15"/>
                  <a:gd name="T12" fmla="*/ 0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0" y="0"/>
                    </a:moveTo>
                    <a:lnTo>
                      <a:pt x="0" y="15"/>
                    </a:lnTo>
                    <a:lnTo>
                      <a:pt x="15" y="15"/>
                    </a:lnTo>
                    <a:lnTo>
                      <a:pt x="16" y="15"/>
                    </a:lnTo>
                    <a:lnTo>
                      <a:pt x="16" y="0"/>
                    </a:lnTo>
                    <a:lnTo>
                      <a:pt x="15" y="0"/>
                    </a:lnTo>
                    <a:lnTo>
                      <a:pt x="0" y="0"/>
                    </a:lnTo>
                    <a:close/>
                  </a:path>
                </a:pathLst>
              </a:custGeom>
              <a:solidFill>
                <a:srgbClr val="8D08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Rectangle 12">
                <a:extLst>
                  <a:ext uri="{FF2B5EF4-FFF2-40B4-BE49-F238E27FC236}">
                    <a16:creationId xmlns:a16="http://schemas.microsoft.com/office/drawing/2014/main" id="{7319EFBD-F907-27D0-8DFA-8B08CAB1C501}"/>
                  </a:ext>
                </a:extLst>
              </p:cNvPr>
              <p:cNvSpPr>
                <a:spLocks noChangeArrowheads="1"/>
              </p:cNvSpPr>
              <p:nvPr/>
            </p:nvSpPr>
            <p:spPr bwMode="auto">
              <a:xfrm>
                <a:off x="3045732" y="5719767"/>
                <a:ext cx="166341" cy="15525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3">
                <a:extLst>
                  <a:ext uri="{FF2B5EF4-FFF2-40B4-BE49-F238E27FC236}">
                    <a16:creationId xmlns:a16="http://schemas.microsoft.com/office/drawing/2014/main" id="{BC7DC7F7-56FF-4F9D-39DA-8B5A891C2E18}"/>
                  </a:ext>
                </a:extLst>
              </p:cNvPr>
              <p:cNvSpPr>
                <a:spLocks noChangeArrowheads="1"/>
              </p:cNvSpPr>
              <p:nvPr/>
            </p:nvSpPr>
            <p:spPr bwMode="auto">
              <a:xfrm>
                <a:off x="2701960" y="5719767"/>
                <a:ext cx="166341" cy="15525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14">
                <a:extLst>
                  <a:ext uri="{FF2B5EF4-FFF2-40B4-BE49-F238E27FC236}">
                    <a16:creationId xmlns:a16="http://schemas.microsoft.com/office/drawing/2014/main" id="{6F1D5076-89DC-7F85-EA1A-3E613111E1EB}"/>
                  </a:ext>
                </a:extLst>
              </p:cNvPr>
              <p:cNvSpPr>
                <a:spLocks/>
              </p:cNvSpPr>
              <p:nvPr/>
            </p:nvSpPr>
            <p:spPr bwMode="auto">
              <a:xfrm>
                <a:off x="2690870" y="3978734"/>
                <a:ext cx="166341" cy="177430"/>
              </a:xfrm>
              <a:custGeom>
                <a:avLst/>
                <a:gdLst>
                  <a:gd name="T0" fmla="*/ 15 w 15"/>
                  <a:gd name="T1" fmla="*/ 1 h 16"/>
                  <a:gd name="T2" fmla="*/ 15 w 15"/>
                  <a:gd name="T3" fmla="*/ 0 h 16"/>
                  <a:gd name="T4" fmla="*/ 0 w 15"/>
                  <a:gd name="T5" fmla="*/ 0 h 16"/>
                  <a:gd name="T6" fmla="*/ 0 w 15"/>
                  <a:gd name="T7" fmla="*/ 1 h 16"/>
                  <a:gd name="T8" fmla="*/ 0 w 15"/>
                  <a:gd name="T9" fmla="*/ 16 h 16"/>
                  <a:gd name="T10" fmla="*/ 15 w 15"/>
                  <a:gd name="T11" fmla="*/ 16 h 16"/>
                  <a:gd name="T12" fmla="*/ 15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5" y="1"/>
                    </a:moveTo>
                    <a:lnTo>
                      <a:pt x="15" y="0"/>
                    </a:lnTo>
                    <a:lnTo>
                      <a:pt x="0" y="0"/>
                    </a:lnTo>
                    <a:lnTo>
                      <a:pt x="0" y="1"/>
                    </a:lnTo>
                    <a:lnTo>
                      <a:pt x="0" y="16"/>
                    </a:lnTo>
                    <a:lnTo>
                      <a:pt x="15" y="16"/>
                    </a:lnTo>
                    <a:lnTo>
                      <a:pt x="15" y="1"/>
                    </a:lnTo>
                    <a:close/>
                  </a:path>
                </a:pathLst>
              </a:custGeom>
              <a:solidFill>
                <a:srgbClr val="8D08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5">
                <a:extLst>
                  <a:ext uri="{FF2B5EF4-FFF2-40B4-BE49-F238E27FC236}">
                    <a16:creationId xmlns:a16="http://schemas.microsoft.com/office/drawing/2014/main" id="{E325B769-F486-6220-2066-B431ED29F6E2}"/>
                  </a:ext>
                </a:extLst>
              </p:cNvPr>
              <p:cNvSpPr>
                <a:spLocks noChangeArrowheads="1"/>
              </p:cNvSpPr>
              <p:nvPr/>
            </p:nvSpPr>
            <p:spPr bwMode="auto">
              <a:xfrm>
                <a:off x="3733277" y="5719767"/>
                <a:ext cx="177431" cy="15525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6">
                <a:extLst>
                  <a:ext uri="{FF2B5EF4-FFF2-40B4-BE49-F238E27FC236}">
                    <a16:creationId xmlns:a16="http://schemas.microsoft.com/office/drawing/2014/main" id="{FFDF1F8F-36C8-40EF-FEF8-76247C6F775B}"/>
                  </a:ext>
                </a:extLst>
              </p:cNvPr>
              <p:cNvSpPr>
                <a:spLocks noChangeArrowheads="1"/>
              </p:cNvSpPr>
              <p:nvPr/>
            </p:nvSpPr>
            <p:spPr bwMode="auto">
              <a:xfrm>
                <a:off x="3378415" y="5719767"/>
                <a:ext cx="177431" cy="15525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17">
                <a:extLst>
                  <a:ext uri="{FF2B5EF4-FFF2-40B4-BE49-F238E27FC236}">
                    <a16:creationId xmlns:a16="http://schemas.microsoft.com/office/drawing/2014/main" id="{8C1AA67B-876F-8499-96BA-772290446FE7}"/>
                  </a:ext>
                </a:extLst>
              </p:cNvPr>
              <p:cNvSpPr>
                <a:spLocks/>
              </p:cNvSpPr>
              <p:nvPr/>
            </p:nvSpPr>
            <p:spPr bwMode="auto">
              <a:xfrm>
                <a:off x="4077049" y="5010047"/>
                <a:ext cx="177431" cy="177430"/>
              </a:xfrm>
              <a:custGeom>
                <a:avLst/>
                <a:gdLst>
                  <a:gd name="T0" fmla="*/ 16 w 16"/>
                  <a:gd name="T1" fmla="*/ 0 h 16"/>
                  <a:gd name="T2" fmla="*/ 0 w 16"/>
                  <a:gd name="T3" fmla="*/ 0 h 16"/>
                  <a:gd name="T4" fmla="*/ 0 w 16"/>
                  <a:gd name="T5" fmla="*/ 1 h 16"/>
                  <a:gd name="T6" fmla="*/ 0 w 16"/>
                  <a:gd name="T7" fmla="*/ 16 h 16"/>
                  <a:gd name="T8" fmla="*/ 16 w 16"/>
                  <a:gd name="T9" fmla="*/ 16 h 16"/>
                  <a:gd name="T10" fmla="*/ 16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16" y="0"/>
                    </a:moveTo>
                    <a:lnTo>
                      <a:pt x="0" y="0"/>
                    </a:lnTo>
                    <a:lnTo>
                      <a:pt x="0" y="1"/>
                    </a:lnTo>
                    <a:lnTo>
                      <a:pt x="0" y="16"/>
                    </a:lnTo>
                    <a:lnTo>
                      <a:pt x="16" y="16"/>
                    </a:lnTo>
                    <a:lnTo>
                      <a:pt x="16" y="0"/>
                    </a:lnTo>
                    <a:close/>
                  </a:path>
                </a:pathLst>
              </a:custGeom>
              <a:solidFill>
                <a:srgbClr val="8D08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18">
                <a:extLst>
                  <a:ext uri="{FF2B5EF4-FFF2-40B4-BE49-F238E27FC236}">
                    <a16:creationId xmlns:a16="http://schemas.microsoft.com/office/drawing/2014/main" id="{EEE1F2F7-1F60-6226-12A8-8A0B495B8C39}"/>
                  </a:ext>
                </a:extLst>
              </p:cNvPr>
              <p:cNvSpPr>
                <a:spLocks/>
              </p:cNvSpPr>
              <p:nvPr/>
            </p:nvSpPr>
            <p:spPr bwMode="auto">
              <a:xfrm>
                <a:off x="4032691" y="4311415"/>
                <a:ext cx="221789" cy="177430"/>
              </a:xfrm>
              <a:custGeom>
                <a:avLst/>
                <a:gdLst>
                  <a:gd name="T0" fmla="*/ 0 w 20"/>
                  <a:gd name="T1" fmla="*/ 16 h 16"/>
                  <a:gd name="T2" fmla="*/ 20 w 20"/>
                  <a:gd name="T3" fmla="*/ 16 h 16"/>
                  <a:gd name="T4" fmla="*/ 20 w 20"/>
                  <a:gd name="T5" fmla="*/ 2 h 16"/>
                  <a:gd name="T6" fmla="*/ 20 w 20"/>
                  <a:gd name="T7" fmla="*/ 0 h 16"/>
                  <a:gd name="T8" fmla="*/ 4 w 20"/>
                  <a:gd name="T9" fmla="*/ 0 h 16"/>
                  <a:gd name="T10" fmla="*/ 4 w 20"/>
                  <a:gd name="T11" fmla="*/ 2 h 16"/>
                  <a:gd name="T12" fmla="*/ 0 w 2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0" h="16">
                    <a:moveTo>
                      <a:pt x="0" y="16"/>
                    </a:moveTo>
                    <a:lnTo>
                      <a:pt x="20" y="16"/>
                    </a:lnTo>
                    <a:lnTo>
                      <a:pt x="20" y="2"/>
                    </a:lnTo>
                    <a:lnTo>
                      <a:pt x="20" y="0"/>
                    </a:lnTo>
                    <a:lnTo>
                      <a:pt x="4" y="0"/>
                    </a:lnTo>
                    <a:lnTo>
                      <a:pt x="4" y="2"/>
                    </a:lnTo>
                    <a:lnTo>
                      <a:pt x="0" y="16"/>
                    </a:lnTo>
                    <a:close/>
                  </a:path>
                </a:pathLst>
              </a:custGeom>
              <a:solidFill>
                <a:srgbClr val="8D08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19">
                <a:extLst>
                  <a:ext uri="{FF2B5EF4-FFF2-40B4-BE49-F238E27FC236}">
                    <a16:creationId xmlns:a16="http://schemas.microsoft.com/office/drawing/2014/main" id="{51A114D1-0941-B1EB-6C42-FE0D257855BA}"/>
                  </a:ext>
                </a:extLst>
              </p:cNvPr>
              <p:cNvSpPr>
                <a:spLocks/>
              </p:cNvSpPr>
              <p:nvPr/>
            </p:nvSpPr>
            <p:spPr bwMode="auto">
              <a:xfrm>
                <a:off x="3045732" y="3978734"/>
                <a:ext cx="864976" cy="232877"/>
              </a:xfrm>
              <a:custGeom>
                <a:avLst/>
                <a:gdLst>
                  <a:gd name="T0" fmla="*/ 0 w 78"/>
                  <a:gd name="T1" fmla="*/ 21 h 21"/>
                  <a:gd name="T2" fmla="*/ 15 w 78"/>
                  <a:gd name="T3" fmla="*/ 21 h 21"/>
                  <a:gd name="T4" fmla="*/ 15 w 78"/>
                  <a:gd name="T5" fmla="*/ 21 h 21"/>
                  <a:gd name="T6" fmla="*/ 32 w 78"/>
                  <a:gd name="T7" fmla="*/ 21 h 21"/>
                  <a:gd name="T8" fmla="*/ 46 w 78"/>
                  <a:gd name="T9" fmla="*/ 21 h 21"/>
                  <a:gd name="T10" fmla="*/ 46 w 78"/>
                  <a:gd name="T11" fmla="*/ 21 h 21"/>
                  <a:gd name="T12" fmla="*/ 62 w 78"/>
                  <a:gd name="T13" fmla="*/ 21 h 21"/>
                  <a:gd name="T14" fmla="*/ 78 w 78"/>
                  <a:gd name="T15" fmla="*/ 21 h 21"/>
                  <a:gd name="T16" fmla="*/ 78 w 78"/>
                  <a:gd name="T17" fmla="*/ 0 h 21"/>
                  <a:gd name="T18" fmla="*/ 62 w 78"/>
                  <a:gd name="T19" fmla="*/ 0 h 21"/>
                  <a:gd name="T20" fmla="*/ 62 w 78"/>
                  <a:gd name="T21" fmla="*/ 21 h 21"/>
                  <a:gd name="T22" fmla="*/ 46 w 78"/>
                  <a:gd name="T23" fmla="*/ 21 h 21"/>
                  <a:gd name="T24" fmla="*/ 46 w 78"/>
                  <a:gd name="T25" fmla="*/ 18 h 21"/>
                  <a:gd name="T26" fmla="*/ 46 w 78"/>
                  <a:gd name="T27" fmla="*/ 0 h 21"/>
                  <a:gd name="T28" fmla="*/ 32 w 78"/>
                  <a:gd name="T29" fmla="*/ 0 h 21"/>
                  <a:gd name="T30" fmla="*/ 32 w 78"/>
                  <a:gd name="T31" fmla="*/ 21 h 21"/>
                  <a:gd name="T32" fmla="*/ 15 w 78"/>
                  <a:gd name="T33" fmla="*/ 21 h 21"/>
                  <a:gd name="T34" fmla="*/ 15 w 78"/>
                  <a:gd name="T35" fmla="*/ 21 h 21"/>
                  <a:gd name="T36" fmla="*/ 15 w 78"/>
                  <a:gd name="T37" fmla="*/ 19 h 21"/>
                  <a:gd name="T38" fmla="*/ 15 w 78"/>
                  <a:gd name="T39" fmla="*/ 18 h 21"/>
                  <a:gd name="T40" fmla="*/ 15 w 78"/>
                  <a:gd name="T41" fmla="*/ 18 h 21"/>
                  <a:gd name="T42" fmla="*/ 15 w 78"/>
                  <a:gd name="T43" fmla="*/ 0 h 21"/>
                  <a:gd name="T44" fmla="*/ 0 w 78"/>
                  <a:gd name="T45" fmla="*/ 0 h 21"/>
                  <a:gd name="T46" fmla="*/ 0 w 78"/>
                  <a:gd name="T47" fmla="*/ 1 h 21"/>
                  <a:gd name="T48" fmla="*/ 0 w 78"/>
                  <a:gd name="T4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21">
                    <a:moveTo>
                      <a:pt x="0" y="21"/>
                    </a:moveTo>
                    <a:lnTo>
                      <a:pt x="15" y="21"/>
                    </a:lnTo>
                    <a:lnTo>
                      <a:pt x="15" y="21"/>
                    </a:lnTo>
                    <a:lnTo>
                      <a:pt x="32" y="21"/>
                    </a:lnTo>
                    <a:lnTo>
                      <a:pt x="46" y="21"/>
                    </a:lnTo>
                    <a:lnTo>
                      <a:pt x="46" y="21"/>
                    </a:lnTo>
                    <a:lnTo>
                      <a:pt x="62" y="21"/>
                    </a:lnTo>
                    <a:lnTo>
                      <a:pt x="78" y="21"/>
                    </a:lnTo>
                    <a:lnTo>
                      <a:pt x="78" y="0"/>
                    </a:lnTo>
                    <a:lnTo>
                      <a:pt x="62" y="0"/>
                    </a:lnTo>
                    <a:lnTo>
                      <a:pt x="62" y="21"/>
                    </a:lnTo>
                    <a:lnTo>
                      <a:pt x="46" y="21"/>
                    </a:lnTo>
                    <a:lnTo>
                      <a:pt x="46" y="18"/>
                    </a:lnTo>
                    <a:lnTo>
                      <a:pt x="46" y="0"/>
                    </a:lnTo>
                    <a:lnTo>
                      <a:pt x="32" y="0"/>
                    </a:lnTo>
                    <a:lnTo>
                      <a:pt x="32" y="21"/>
                    </a:lnTo>
                    <a:lnTo>
                      <a:pt x="15" y="21"/>
                    </a:lnTo>
                    <a:lnTo>
                      <a:pt x="15" y="21"/>
                    </a:lnTo>
                    <a:lnTo>
                      <a:pt x="15" y="19"/>
                    </a:lnTo>
                    <a:lnTo>
                      <a:pt x="15" y="18"/>
                    </a:lnTo>
                    <a:lnTo>
                      <a:pt x="15" y="18"/>
                    </a:lnTo>
                    <a:lnTo>
                      <a:pt x="15" y="0"/>
                    </a:lnTo>
                    <a:lnTo>
                      <a:pt x="0" y="0"/>
                    </a:lnTo>
                    <a:lnTo>
                      <a:pt x="0" y="1"/>
                    </a:lnTo>
                    <a:lnTo>
                      <a:pt x="0" y="21"/>
                    </a:lnTo>
                    <a:close/>
                  </a:path>
                </a:pathLst>
              </a:custGeom>
              <a:solidFill>
                <a:srgbClr val="8D08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22">
                <a:extLst>
                  <a:ext uri="{FF2B5EF4-FFF2-40B4-BE49-F238E27FC236}">
                    <a16:creationId xmlns:a16="http://schemas.microsoft.com/office/drawing/2014/main" id="{56F44386-68C4-48F1-6BC8-AE6771375848}"/>
                  </a:ext>
                </a:extLst>
              </p:cNvPr>
              <p:cNvSpPr>
                <a:spLocks noEditPoints="1"/>
              </p:cNvSpPr>
              <p:nvPr/>
            </p:nvSpPr>
            <p:spPr bwMode="auto">
              <a:xfrm>
                <a:off x="2513439" y="4156164"/>
                <a:ext cx="1563610" cy="1563603"/>
              </a:xfrm>
              <a:custGeom>
                <a:avLst/>
                <a:gdLst>
                  <a:gd name="T0" fmla="*/ 0 w 141"/>
                  <a:gd name="T1" fmla="*/ 0 h 141"/>
                  <a:gd name="T2" fmla="*/ 0 w 141"/>
                  <a:gd name="T3" fmla="*/ 141 h 141"/>
                  <a:gd name="T4" fmla="*/ 141 w 141"/>
                  <a:gd name="T5" fmla="*/ 141 h 141"/>
                  <a:gd name="T6" fmla="*/ 141 w 141"/>
                  <a:gd name="T7" fmla="*/ 0 h 141"/>
                  <a:gd name="T8" fmla="*/ 0 w 141"/>
                  <a:gd name="T9" fmla="*/ 0 h 141"/>
                  <a:gd name="T10" fmla="*/ 126 w 141"/>
                  <a:gd name="T11" fmla="*/ 124 h 141"/>
                  <a:gd name="T12" fmla="*/ 17 w 141"/>
                  <a:gd name="T13" fmla="*/ 124 h 141"/>
                  <a:gd name="T14" fmla="*/ 17 w 141"/>
                  <a:gd name="T15" fmla="*/ 16 h 141"/>
                  <a:gd name="T16" fmla="*/ 126 w 141"/>
                  <a:gd name="T17" fmla="*/ 16 h 141"/>
                  <a:gd name="T18" fmla="*/ 126 w 141"/>
                  <a:gd name="T19" fmla="*/ 12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0" y="0"/>
                    </a:moveTo>
                    <a:lnTo>
                      <a:pt x="0" y="141"/>
                    </a:lnTo>
                    <a:lnTo>
                      <a:pt x="141" y="141"/>
                    </a:lnTo>
                    <a:lnTo>
                      <a:pt x="141" y="0"/>
                    </a:lnTo>
                    <a:lnTo>
                      <a:pt x="0" y="0"/>
                    </a:lnTo>
                    <a:close/>
                    <a:moveTo>
                      <a:pt x="126" y="124"/>
                    </a:moveTo>
                    <a:lnTo>
                      <a:pt x="17" y="124"/>
                    </a:lnTo>
                    <a:lnTo>
                      <a:pt x="17" y="16"/>
                    </a:lnTo>
                    <a:lnTo>
                      <a:pt x="126" y="16"/>
                    </a:lnTo>
                    <a:lnTo>
                      <a:pt x="126" y="124"/>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4" name="Rectangle 20">
              <a:extLst>
                <a:ext uri="{FF2B5EF4-FFF2-40B4-BE49-F238E27FC236}">
                  <a16:creationId xmlns:a16="http://schemas.microsoft.com/office/drawing/2014/main" id="{1FA1DE02-BD45-5BC0-90C0-841B980B8194}"/>
                </a:ext>
              </a:extLst>
            </p:cNvPr>
            <p:cNvSpPr>
              <a:spLocks noChangeArrowheads="1"/>
            </p:cNvSpPr>
            <p:nvPr/>
          </p:nvSpPr>
          <p:spPr bwMode="auto">
            <a:xfrm>
              <a:off x="8619103" y="1264912"/>
              <a:ext cx="415203" cy="411392"/>
            </a:xfrm>
            <a:prstGeom prst="rect">
              <a:avLst/>
            </a:prstGeom>
            <a:solidFill>
              <a:schemeClr val="bg1">
                <a:lumMod val="85000"/>
                <a:lumOff val="15000"/>
              </a:schemeClr>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effectLst/>
                  <a:uLnTx/>
                  <a:uFillTx/>
                  <a:latin typeface="Segoe UI" panose="020B0502040204020203" pitchFamily="34" charset="0"/>
                  <a:cs typeface="Segoe UI" panose="020B0502040204020203" pitchFamily="34" charset="0"/>
                </a:rPr>
                <a:t>CPU 1</a:t>
              </a:r>
            </a:p>
          </p:txBody>
        </p:sp>
        <p:grpSp>
          <p:nvGrpSpPr>
            <p:cNvPr id="35" name="Group 34">
              <a:extLst>
                <a:ext uri="{FF2B5EF4-FFF2-40B4-BE49-F238E27FC236}">
                  <a16:creationId xmlns:a16="http://schemas.microsoft.com/office/drawing/2014/main" id="{F2B0F149-32BD-75E2-C6FA-FC0D2521D870}"/>
                </a:ext>
              </a:extLst>
            </p:cNvPr>
            <p:cNvGrpSpPr/>
            <p:nvPr/>
          </p:nvGrpSpPr>
          <p:grpSpPr>
            <a:xfrm>
              <a:off x="8497209" y="1143018"/>
              <a:ext cx="655182" cy="651370"/>
              <a:chOff x="2347098" y="3978734"/>
              <a:chExt cx="1907382" cy="1896284"/>
            </a:xfrm>
          </p:grpSpPr>
          <p:sp>
            <p:nvSpPr>
              <p:cNvPr id="36" name="Rectangle 6">
                <a:extLst>
                  <a:ext uri="{FF2B5EF4-FFF2-40B4-BE49-F238E27FC236}">
                    <a16:creationId xmlns:a16="http://schemas.microsoft.com/office/drawing/2014/main" id="{56690972-E191-A767-1C53-2C15178006CC}"/>
                  </a:ext>
                </a:extLst>
              </p:cNvPr>
              <p:cNvSpPr>
                <a:spLocks noChangeArrowheads="1"/>
              </p:cNvSpPr>
              <p:nvPr/>
            </p:nvSpPr>
            <p:spPr bwMode="auto">
              <a:xfrm>
                <a:off x="2347098" y="4666276"/>
                <a:ext cx="166341" cy="177430"/>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7">
                <a:extLst>
                  <a:ext uri="{FF2B5EF4-FFF2-40B4-BE49-F238E27FC236}">
                    <a16:creationId xmlns:a16="http://schemas.microsoft.com/office/drawing/2014/main" id="{56698A17-4778-1D17-A6D8-C1ADD770F731}"/>
                  </a:ext>
                </a:extLst>
              </p:cNvPr>
              <p:cNvSpPr>
                <a:spLocks noChangeArrowheads="1"/>
              </p:cNvSpPr>
              <p:nvPr/>
            </p:nvSpPr>
            <p:spPr bwMode="auto">
              <a:xfrm>
                <a:off x="2347098" y="5021136"/>
                <a:ext cx="166341" cy="16634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8">
                <a:extLst>
                  <a:ext uri="{FF2B5EF4-FFF2-40B4-BE49-F238E27FC236}">
                    <a16:creationId xmlns:a16="http://schemas.microsoft.com/office/drawing/2014/main" id="{CA430950-C887-C68D-7197-C82E41519E7D}"/>
                  </a:ext>
                </a:extLst>
              </p:cNvPr>
              <p:cNvSpPr>
                <a:spLocks noChangeArrowheads="1"/>
              </p:cNvSpPr>
              <p:nvPr/>
            </p:nvSpPr>
            <p:spPr bwMode="auto">
              <a:xfrm>
                <a:off x="2347098" y="5364907"/>
                <a:ext cx="166341" cy="16634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9">
                <a:extLst>
                  <a:ext uri="{FF2B5EF4-FFF2-40B4-BE49-F238E27FC236}">
                    <a16:creationId xmlns:a16="http://schemas.microsoft.com/office/drawing/2014/main" id="{B90D83E0-54DA-C036-358B-1E10D7CF97AA}"/>
                  </a:ext>
                </a:extLst>
              </p:cNvPr>
              <p:cNvSpPr>
                <a:spLocks noChangeArrowheads="1"/>
              </p:cNvSpPr>
              <p:nvPr/>
            </p:nvSpPr>
            <p:spPr bwMode="auto">
              <a:xfrm>
                <a:off x="2347098" y="4333594"/>
                <a:ext cx="166341" cy="16634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10">
                <a:extLst>
                  <a:ext uri="{FF2B5EF4-FFF2-40B4-BE49-F238E27FC236}">
                    <a16:creationId xmlns:a16="http://schemas.microsoft.com/office/drawing/2014/main" id="{27DDAC85-3A14-482A-03DF-C1307BCA572E}"/>
                  </a:ext>
                </a:extLst>
              </p:cNvPr>
              <p:cNvSpPr>
                <a:spLocks noChangeArrowheads="1"/>
              </p:cNvSpPr>
              <p:nvPr/>
            </p:nvSpPr>
            <p:spPr bwMode="auto">
              <a:xfrm>
                <a:off x="4077049" y="4666276"/>
                <a:ext cx="177431" cy="177430"/>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11">
                <a:extLst>
                  <a:ext uri="{FF2B5EF4-FFF2-40B4-BE49-F238E27FC236}">
                    <a16:creationId xmlns:a16="http://schemas.microsoft.com/office/drawing/2014/main" id="{EB8C80C4-254E-4D9D-CBA9-F18CDFD4F688}"/>
                  </a:ext>
                </a:extLst>
              </p:cNvPr>
              <p:cNvSpPr>
                <a:spLocks/>
              </p:cNvSpPr>
              <p:nvPr/>
            </p:nvSpPr>
            <p:spPr bwMode="auto">
              <a:xfrm>
                <a:off x="4077049" y="5364907"/>
                <a:ext cx="177431" cy="166341"/>
              </a:xfrm>
              <a:custGeom>
                <a:avLst/>
                <a:gdLst>
                  <a:gd name="T0" fmla="*/ 0 w 16"/>
                  <a:gd name="T1" fmla="*/ 0 h 15"/>
                  <a:gd name="T2" fmla="*/ 0 w 16"/>
                  <a:gd name="T3" fmla="*/ 15 h 15"/>
                  <a:gd name="T4" fmla="*/ 15 w 16"/>
                  <a:gd name="T5" fmla="*/ 15 h 15"/>
                  <a:gd name="T6" fmla="*/ 16 w 16"/>
                  <a:gd name="T7" fmla="*/ 15 h 15"/>
                  <a:gd name="T8" fmla="*/ 16 w 16"/>
                  <a:gd name="T9" fmla="*/ 0 h 15"/>
                  <a:gd name="T10" fmla="*/ 15 w 16"/>
                  <a:gd name="T11" fmla="*/ 0 h 15"/>
                  <a:gd name="T12" fmla="*/ 0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0" y="0"/>
                    </a:moveTo>
                    <a:lnTo>
                      <a:pt x="0" y="15"/>
                    </a:lnTo>
                    <a:lnTo>
                      <a:pt x="15" y="15"/>
                    </a:lnTo>
                    <a:lnTo>
                      <a:pt x="16" y="15"/>
                    </a:lnTo>
                    <a:lnTo>
                      <a:pt x="16" y="0"/>
                    </a:lnTo>
                    <a:lnTo>
                      <a:pt x="15" y="0"/>
                    </a:lnTo>
                    <a:lnTo>
                      <a:pt x="0" y="0"/>
                    </a:lnTo>
                    <a:close/>
                  </a:path>
                </a:pathLst>
              </a:custGeom>
              <a:solidFill>
                <a:srgbClr val="8D08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12">
                <a:extLst>
                  <a:ext uri="{FF2B5EF4-FFF2-40B4-BE49-F238E27FC236}">
                    <a16:creationId xmlns:a16="http://schemas.microsoft.com/office/drawing/2014/main" id="{D4EA2F28-82AB-A6C2-FD64-338F6DB88B4A}"/>
                  </a:ext>
                </a:extLst>
              </p:cNvPr>
              <p:cNvSpPr>
                <a:spLocks noChangeArrowheads="1"/>
              </p:cNvSpPr>
              <p:nvPr/>
            </p:nvSpPr>
            <p:spPr bwMode="auto">
              <a:xfrm>
                <a:off x="3045732" y="5719767"/>
                <a:ext cx="166341" cy="15525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13">
                <a:extLst>
                  <a:ext uri="{FF2B5EF4-FFF2-40B4-BE49-F238E27FC236}">
                    <a16:creationId xmlns:a16="http://schemas.microsoft.com/office/drawing/2014/main" id="{D4C3A664-B08C-4E59-29FE-CB6FAA08D72E}"/>
                  </a:ext>
                </a:extLst>
              </p:cNvPr>
              <p:cNvSpPr>
                <a:spLocks noChangeArrowheads="1"/>
              </p:cNvSpPr>
              <p:nvPr/>
            </p:nvSpPr>
            <p:spPr bwMode="auto">
              <a:xfrm>
                <a:off x="2701960" y="5719767"/>
                <a:ext cx="166341" cy="15525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14">
                <a:extLst>
                  <a:ext uri="{FF2B5EF4-FFF2-40B4-BE49-F238E27FC236}">
                    <a16:creationId xmlns:a16="http://schemas.microsoft.com/office/drawing/2014/main" id="{32E1CC62-E21D-5B3F-4CA7-3E2AC8F572DA}"/>
                  </a:ext>
                </a:extLst>
              </p:cNvPr>
              <p:cNvSpPr>
                <a:spLocks/>
              </p:cNvSpPr>
              <p:nvPr/>
            </p:nvSpPr>
            <p:spPr bwMode="auto">
              <a:xfrm>
                <a:off x="2690870" y="3978734"/>
                <a:ext cx="166341" cy="177430"/>
              </a:xfrm>
              <a:custGeom>
                <a:avLst/>
                <a:gdLst>
                  <a:gd name="T0" fmla="*/ 15 w 15"/>
                  <a:gd name="T1" fmla="*/ 1 h 16"/>
                  <a:gd name="T2" fmla="*/ 15 w 15"/>
                  <a:gd name="T3" fmla="*/ 0 h 16"/>
                  <a:gd name="T4" fmla="*/ 0 w 15"/>
                  <a:gd name="T5" fmla="*/ 0 h 16"/>
                  <a:gd name="T6" fmla="*/ 0 w 15"/>
                  <a:gd name="T7" fmla="*/ 1 h 16"/>
                  <a:gd name="T8" fmla="*/ 0 w 15"/>
                  <a:gd name="T9" fmla="*/ 16 h 16"/>
                  <a:gd name="T10" fmla="*/ 15 w 15"/>
                  <a:gd name="T11" fmla="*/ 16 h 16"/>
                  <a:gd name="T12" fmla="*/ 15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5" y="1"/>
                    </a:moveTo>
                    <a:lnTo>
                      <a:pt x="15" y="0"/>
                    </a:lnTo>
                    <a:lnTo>
                      <a:pt x="0" y="0"/>
                    </a:lnTo>
                    <a:lnTo>
                      <a:pt x="0" y="1"/>
                    </a:lnTo>
                    <a:lnTo>
                      <a:pt x="0" y="16"/>
                    </a:lnTo>
                    <a:lnTo>
                      <a:pt x="15" y="16"/>
                    </a:lnTo>
                    <a:lnTo>
                      <a:pt x="15" y="1"/>
                    </a:lnTo>
                    <a:close/>
                  </a:path>
                </a:pathLst>
              </a:custGeom>
              <a:solidFill>
                <a:srgbClr val="8D08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15">
                <a:extLst>
                  <a:ext uri="{FF2B5EF4-FFF2-40B4-BE49-F238E27FC236}">
                    <a16:creationId xmlns:a16="http://schemas.microsoft.com/office/drawing/2014/main" id="{A1AF52C6-A474-9B1A-6DF4-A77F037C6E55}"/>
                  </a:ext>
                </a:extLst>
              </p:cNvPr>
              <p:cNvSpPr>
                <a:spLocks noChangeArrowheads="1"/>
              </p:cNvSpPr>
              <p:nvPr/>
            </p:nvSpPr>
            <p:spPr bwMode="auto">
              <a:xfrm>
                <a:off x="3733277" y="5719767"/>
                <a:ext cx="177431" cy="15525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16">
                <a:extLst>
                  <a:ext uri="{FF2B5EF4-FFF2-40B4-BE49-F238E27FC236}">
                    <a16:creationId xmlns:a16="http://schemas.microsoft.com/office/drawing/2014/main" id="{0AB64E8D-7019-C07C-7ADE-7C221611159C}"/>
                  </a:ext>
                </a:extLst>
              </p:cNvPr>
              <p:cNvSpPr>
                <a:spLocks noChangeArrowheads="1"/>
              </p:cNvSpPr>
              <p:nvPr/>
            </p:nvSpPr>
            <p:spPr bwMode="auto">
              <a:xfrm>
                <a:off x="3378415" y="5719767"/>
                <a:ext cx="177431" cy="15525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17">
                <a:extLst>
                  <a:ext uri="{FF2B5EF4-FFF2-40B4-BE49-F238E27FC236}">
                    <a16:creationId xmlns:a16="http://schemas.microsoft.com/office/drawing/2014/main" id="{D8E16D16-F3B6-FF20-616D-1B43935640F0}"/>
                  </a:ext>
                </a:extLst>
              </p:cNvPr>
              <p:cNvSpPr>
                <a:spLocks/>
              </p:cNvSpPr>
              <p:nvPr/>
            </p:nvSpPr>
            <p:spPr bwMode="auto">
              <a:xfrm>
                <a:off x="4077049" y="5010047"/>
                <a:ext cx="177431" cy="177430"/>
              </a:xfrm>
              <a:custGeom>
                <a:avLst/>
                <a:gdLst>
                  <a:gd name="T0" fmla="*/ 16 w 16"/>
                  <a:gd name="T1" fmla="*/ 0 h 16"/>
                  <a:gd name="T2" fmla="*/ 0 w 16"/>
                  <a:gd name="T3" fmla="*/ 0 h 16"/>
                  <a:gd name="T4" fmla="*/ 0 w 16"/>
                  <a:gd name="T5" fmla="*/ 1 h 16"/>
                  <a:gd name="T6" fmla="*/ 0 w 16"/>
                  <a:gd name="T7" fmla="*/ 16 h 16"/>
                  <a:gd name="T8" fmla="*/ 16 w 16"/>
                  <a:gd name="T9" fmla="*/ 16 h 16"/>
                  <a:gd name="T10" fmla="*/ 16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16" y="0"/>
                    </a:moveTo>
                    <a:lnTo>
                      <a:pt x="0" y="0"/>
                    </a:lnTo>
                    <a:lnTo>
                      <a:pt x="0" y="1"/>
                    </a:lnTo>
                    <a:lnTo>
                      <a:pt x="0" y="16"/>
                    </a:lnTo>
                    <a:lnTo>
                      <a:pt x="16" y="16"/>
                    </a:lnTo>
                    <a:lnTo>
                      <a:pt x="16" y="0"/>
                    </a:lnTo>
                    <a:close/>
                  </a:path>
                </a:pathLst>
              </a:custGeom>
              <a:solidFill>
                <a:srgbClr val="8D08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18">
                <a:extLst>
                  <a:ext uri="{FF2B5EF4-FFF2-40B4-BE49-F238E27FC236}">
                    <a16:creationId xmlns:a16="http://schemas.microsoft.com/office/drawing/2014/main" id="{3D79C671-3699-9D6A-2B0E-40EFCDAB2D8D}"/>
                  </a:ext>
                </a:extLst>
              </p:cNvPr>
              <p:cNvSpPr>
                <a:spLocks/>
              </p:cNvSpPr>
              <p:nvPr/>
            </p:nvSpPr>
            <p:spPr bwMode="auto">
              <a:xfrm>
                <a:off x="4032691" y="4311415"/>
                <a:ext cx="221789" cy="177430"/>
              </a:xfrm>
              <a:custGeom>
                <a:avLst/>
                <a:gdLst>
                  <a:gd name="T0" fmla="*/ 0 w 20"/>
                  <a:gd name="T1" fmla="*/ 16 h 16"/>
                  <a:gd name="T2" fmla="*/ 20 w 20"/>
                  <a:gd name="T3" fmla="*/ 16 h 16"/>
                  <a:gd name="T4" fmla="*/ 20 w 20"/>
                  <a:gd name="T5" fmla="*/ 2 h 16"/>
                  <a:gd name="T6" fmla="*/ 20 w 20"/>
                  <a:gd name="T7" fmla="*/ 0 h 16"/>
                  <a:gd name="T8" fmla="*/ 4 w 20"/>
                  <a:gd name="T9" fmla="*/ 0 h 16"/>
                  <a:gd name="T10" fmla="*/ 4 w 20"/>
                  <a:gd name="T11" fmla="*/ 2 h 16"/>
                  <a:gd name="T12" fmla="*/ 0 w 2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0" h="16">
                    <a:moveTo>
                      <a:pt x="0" y="16"/>
                    </a:moveTo>
                    <a:lnTo>
                      <a:pt x="20" y="16"/>
                    </a:lnTo>
                    <a:lnTo>
                      <a:pt x="20" y="2"/>
                    </a:lnTo>
                    <a:lnTo>
                      <a:pt x="20" y="0"/>
                    </a:lnTo>
                    <a:lnTo>
                      <a:pt x="4" y="0"/>
                    </a:lnTo>
                    <a:lnTo>
                      <a:pt x="4" y="2"/>
                    </a:lnTo>
                    <a:lnTo>
                      <a:pt x="0" y="16"/>
                    </a:lnTo>
                    <a:close/>
                  </a:path>
                </a:pathLst>
              </a:custGeom>
              <a:solidFill>
                <a:srgbClr val="8D08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19">
                <a:extLst>
                  <a:ext uri="{FF2B5EF4-FFF2-40B4-BE49-F238E27FC236}">
                    <a16:creationId xmlns:a16="http://schemas.microsoft.com/office/drawing/2014/main" id="{349D13E6-C8A9-F7AD-9E92-AC23F9F332A0}"/>
                  </a:ext>
                </a:extLst>
              </p:cNvPr>
              <p:cNvSpPr>
                <a:spLocks/>
              </p:cNvSpPr>
              <p:nvPr/>
            </p:nvSpPr>
            <p:spPr bwMode="auto">
              <a:xfrm>
                <a:off x="3045732" y="3978734"/>
                <a:ext cx="864976" cy="232877"/>
              </a:xfrm>
              <a:custGeom>
                <a:avLst/>
                <a:gdLst>
                  <a:gd name="T0" fmla="*/ 0 w 78"/>
                  <a:gd name="T1" fmla="*/ 21 h 21"/>
                  <a:gd name="T2" fmla="*/ 15 w 78"/>
                  <a:gd name="T3" fmla="*/ 21 h 21"/>
                  <a:gd name="T4" fmla="*/ 15 w 78"/>
                  <a:gd name="T5" fmla="*/ 21 h 21"/>
                  <a:gd name="T6" fmla="*/ 32 w 78"/>
                  <a:gd name="T7" fmla="*/ 21 h 21"/>
                  <a:gd name="T8" fmla="*/ 46 w 78"/>
                  <a:gd name="T9" fmla="*/ 21 h 21"/>
                  <a:gd name="T10" fmla="*/ 46 w 78"/>
                  <a:gd name="T11" fmla="*/ 21 h 21"/>
                  <a:gd name="T12" fmla="*/ 62 w 78"/>
                  <a:gd name="T13" fmla="*/ 21 h 21"/>
                  <a:gd name="T14" fmla="*/ 78 w 78"/>
                  <a:gd name="T15" fmla="*/ 21 h 21"/>
                  <a:gd name="T16" fmla="*/ 78 w 78"/>
                  <a:gd name="T17" fmla="*/ 0 h 21"/>
                  <a:gd name="T18" fmla="*/ 62 w 78"/>
                  <a:gd name="T19" fmla="*/ 0 h 21"/>
                  <a:gd name="T20" fmla="*/ 62 w 78"/>
                  <a:gd name="T21" fmla="*/ 21 h 21"/>
                  <a:gd name="T22" fmla="*/ 46 w 78"/>
                  <a:gd name="T23" fmla="*/ 21 h 21"/>
                  <a:gd name="T24" fmla="*/ 46 w 78"/>
                  <a:gd name="T25" fmla="*/ 18 h 21"/>
                  <a:gd name="T26" fmla="*/ 46 w 78"/>
                  <a:gd name="T27" fmla="*/ 0 h 21"/>
                  <a:gd name="T28" fmla="*/ 32 w 78"/>
                  <a:gd name="T29" fmla="*/ 0 h 21"/>
                  <a:gd name="T30" fmla="*/ 32 w 78"/>
                  <a:gd name="T31" fmla="*/ 21 h 21"/>
                  <a:gd name="T32" fmla="*/ 15 w 78"/>
                  <a:gd name="T33" fmla="*/ 21 h 21"/>
                  <a:gd name="T34" fmla="*/ 15 w 78"/>
                  <a:gd name="T35" fmla="*/ 21 h 21"/>
                  <a:gd name="T36" fmla="*/ 15 w 78"/>
                  <a:gd name="T37" fmla="*/ 19 h 21"/>
                  <a:gd name="T38" fmla="*/ 15 w 78"/>
                  <a:gd name="T39" fmla="*/ 18 h 21"/>
                  <a:gd name="T40" fmla="*/ 15 w 78"/>
                  <a:gd name="T41" fmla="*/ 18 h 21"/>
                  <a:gd name="T42" fmla="*/ 15 w 78"/>
                  <a:gd name="T43" fmla="*/ 0 h 21"/>
                  <a:gd name="T44" fmla="*/ 0 w 78"/>
                  <a:gd name="T45" fmla="*/ 0 h 21"/>
                  <a:gd name="T46" fmla="*/ 0 w 78"/>
                  <a:gd name="T47" fmla="*/ 1 h 21"/>
                  <a:gd name="T48" fmla="*/ 0 w 78"/>
                  <a:gd name="T4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21">
                    <a:moveTo>
                      <a:pt x="0" y="21"/>
                    </a:moveTo>
                    <a:lnTo>
                      <a:pt x="15" y="21"/>
                    </a:lnTo>
                    <a:lnTo>
                      <a:pt x="15" y="21"/>
                    </a:lnTo>
                    <a:lnTo>
                      <a:pt x="32" y="21"/>
                    </a:lnTo>
                    <a:lnTo>
                      <a:pt x="46" y="21"/>
                    </a:lnTo>
                    <a:lnTo>
                      <a:pt x="46" y="21"/>
                    </a:lnTo>
                    <a:lnTo>
                      <a:pt x="62" y="21"/>
                    </a:lnTo>
                    <a:lnTo>
                      <a:pt x="78" y="21"/>
                    </a:lnTo>
                    <a:lnTo>
                      <a:pt x="78" y="0"/>
                    </a:lnTo>
                    <a:lnTo>
                      <a:pt x="62" y="0"/>
                    </a:lnTo>
                    <a:lnTo>
                      <a:pt x="62" y="21"/>
                    </a:lnTo>
                    <a:lnTo>
                      <a:pt x="46" y="21"/>
                    </a:lnTo>
                    <a:lnTo>
                      <a:pt x="46" y="18"/>
                    </a:lnTo>
                    <a:lnTo>
                      <a:pt x="46" y="0"/>
                    </a:lnTo>
                    <a:lnTo>
                      <a:pt x="32" y="0"/>
                    </a:lnTo>
                    <a:lnTo>
                      <a:pt x="32" y="21"/>
                    </a:lnTo>
                    <a:lnTo>
                      <a:pt x="15" y="21"/>
                    </a:lnTo>
                    <a:lnTo>
                      <a:pt x="15" y="21"/>
                    </a:lnTo>
                    <a:lnTo>
                      <a:pt x="15" y="19"/>
                    </a:lnTo>
                    <a:lnTo>
                      <a:pt x="15" y="18"/>
                    </a:lnTo>
                    <a:lnTo>
                      <a:pt x="15" y="18"/>
                    </a:lnTo>
                    <a:lnTo>
                      <a:pt x="15" y="0"/>
                    </a:lnTo>
                    <a:lnTo>
                      <a:pt x="0" y="0"/>
                    </a:lnTo>
                    <a:lnTo>
                      <a:pt x="0" y="1"/>
                    </a:lnTo>
                    <a:lnTo>
                      <a:pt x="0" y="21"/>
                    </a:lnTo>
                    <a:close/>
                  </a:path>
                </a:pathLst>
              </a:custGeom>
              <a:solidFill>
                <a:srgbClr val="8D08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22">
                <a:extLst>
                  <a:ext uri="{FF2B5EF4-FFF2-40B4-BE49-F238E27FC236}">
                    <a16:creationId xmlns:a16="http://schemas.microsoft.com/office/drawing/2014/main" id="{01ABE63E-DF88-CDA4-C2ED-D6E75E294850}"/>
                  </a:ext>
                </a:extLst>
              </p:cNvPr>
              <p:cNvSpPr>
                <a:spLocks noEditPoints="1"/>
              </p:cNvSpPr>
              <p:nvPr/>
            </p:nvSpPr>
            <p:spPr bwMode="auto">
              <a:xfrm>
                <a:off x="2513439" y="4156164"/>
                <a:ext cx="1563610" cy="1563603"/>
              </a:xfrm>
              <a:custGeom>
                <a:avLst/>
                <a:gdLst>
                  <a:gd name="T0" fmla="*/ 0 w 141"/>
                  <a:gd name="T1" fmla="*/ 0 h 141"/>
                  <a:gd name="T2" fmla="*/ 0 w 141"/>
                  <a:gd name="T3" fmla="*/ 141 h 141"/>
                  <a:gd name="T4" fmla="*/ 141 w 141"/>
                  <a:gd name="T5" fmla="*/ 141 h 141"/>
                  <a:gd name="T6" fmla="*/ 141 w 141"/>
                  <a:gd name="T7" fmla="*/ 0 h 141"/>
                  <a:gd name="T8" fmla="*/ 0 w 141"/>
                  <a:gd name="T9" fmla="*/ 0 h 141"/>
                  <a:gd name="T10" fmla="*/ 126 w 141"/>
                  <a:gd name="T11" fmla="*/ 124 h 141"/>
                  <a:gd name="T12" fmla="*/ 17 w 141"/>
                  <a:gd name="T13" fmla="*/ 124 h 141"/>
                  <a:gd name="T14" fmla="*/ 17 w 141"/>
                  <a:gd name="T15" fmla="*/ 16 h 141"/>
                  <a:gd name="T16" fmla="*/ 126 w 141"/>
                  <a:gd name="T17" fmla="*/ 16 h 141"/>
                  <a:gd name="T18" fmla="*/ 126 w 141"/>
                  <a:gd name="T19" fmla="*/ 12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0" y="0"/>
                    </a:moveTo>
                    <a:lnTo>
                      <a:pt x="0" y="141"/>
                    </a:lnTo>
                    <a:lnTo>
                      <a:pt x="141" y="141"/>
                    </a:lnTo>
                    <a:lnTo>
                      <a:pt x="141" y="0"/>
                    </a:lnTo>
                    <a:lnTo>
                      <a:pt x="0" y="0"/>
                    </a:lnTo>
                    <a:close/>
                    <a:moveTo>
                      <a:pt x="126" y="124"/>
                    </a:moveTo>
                    <a:lnTo>
                      <a:pt x="17" y="124"/>
                    </a:lnTo>
                    <a:lnTo>
                      <a:pt x="17" y="16"/>
                    </a:lnTo>
                    <a:lnTo>
                      <a:pt x="126" y="16"/>
                    </a:lnTo>
                    <a:lnTo>
                      <a:pt x="126" y="124"/>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031" name="Group 1030">
              <a:extLst>
                <a:ext uri="{FF2B5EF4-FFF2-40B4-BE49-F238E27FC236}">
                  <a16:creationId xmlns:a16="http://schemas.microsoft.com/office/drawing/2014/main" id="{02BC596E-E57E-3C40-EFC4-F90EB0D9384B}"/>
                </a:ext>
              </a:extLst>
            </p:cNvPr>
            <p:cNvGrpSpPr/>
            <p:nvPr/>
          </p:nvGrpSpPr>
          <p:grpSpPr>
            <a:xfrm>
              <a:off x="1536004" y="3641101"/>
              <a:ext cx="655182" cy="651370"/>
              <a:chOff x="1198910" y="3860325"/>
              <a:chExt cx="655182" cy="651370"/>
            </a:xfrm>
          </p:grpSpPr>
          <p:sp>
            <p:nvSpPr>
              <p:cNvPr id="56" name="Rectangle 20">
                <a:extLst>
                  <a:ext uri="{FF2B5EF4-FFF2-40B4-BE49-F238E27FC236}">
                    <a16:creationId xmlns:a16="http://schemas.microsoft.com/office/drawing/2014/main" id="{C8422202-BD5A-1B0E-2AE7-847525771342}"/>
                  </a:ext>
                </a:extLst>
              </p:cNvPr>
              <p:cNvSpPr>
                <a:spLocks noChangeArrowheads="1"/>
              </p:cNvSpPr>
              <p:nvPr/>
            </p:nvSpPr>
            <p:spPr bwMode="auto">
              <a:xfrm>
                <a:off x="1320804" y="3982219"/>
                <a:ext cx="415203" cy="411392"/>
              </a:xfrm>
              <a:prstGeom prst="rect">
                <a:avLst/>
              </a:prstGeom>
              <a:solidFill>
                <a:schemeClr val="bg1">
                  <a:lumMod val="85000"/>
                  <a:lumOff val="15000"/>
                </a:schemeClr>
              </a:solid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effectLst/>
                    <a:uLnTx/>
                    <a:uFillTx/>
                    <a:latin typeface="Segoe UI" panose="020B0502040204020203" pitchFamily="34" charset="0"/>
                    <a:cs typeface="Segoe UI" panose="020B0502040204020203" pitchFamily="34" charset="0"/>
                  </a:rPr>
                  <a:t>GPU 0</a:t>
                </a:r>
              </a:p>
            </p:txBody>
          </p:sp>
          <p:sp>
            <p:nvSpPr>
              <p:cNvPr id="58" name="Rectangle 6">
                <a:extLst>
                  <a:ext uri="{FF2B5EF4-FFF2-40B4-BE49-F238E27FC236}">
                    <a16:creationId xmlns:a16="http://schemas.microsoft.com/office/drawing/2014/main" id="{2CC2E37C-10A1-26BA-5DA6-10DE346F22AC}"/>
                  </a:ext>
                </a:extLst>
              </p:cNvPr>
              <p:cNvSpPr>
                <a:spLocks noChangeArrowheads="1"/>
              </p:cNvSpPr>
              <p:nvPr/>
            </p:nvSpPr>
            <p:spPr bwMode="auto">
              <a:xfrm>
                <a:off x="1198910" y="4096494"/>
                <a:ext cx="57138" cy="60947"/>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
                <a:extLst>
                  <a:ext uri="{FF2B5EF4-FFF2-40B4-BE49-F238E27FC236}">
                    <a16:creationId xmlns:a16="http://schemas.microsoft.com/office/drawing/2014/main" id="{5BACAC83-E5CF-4C6F-9180-4FC433529DC0}"/>
                  </a:ext>
                </a:extLst>
              </p:cNvPr>
              <p:cNvSpPr>
                <a:spLocks noChangeArrowheads="1"/>
              </p:cNvSpPr>
              <p:nvPr/>
            </p:nvSpPr>
            <p:spPr bwMode="auto">
              <a:xfrm>
                <a:off x="1198910" y="4218388"/>
                <a:ext cx="57138" cy="57138"/>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8">
                <a:extLst>
                  <a:ext uri="{FF2B5EF4-FFF2-40B4-BE49-F238E27FC236}">
                    <a16:creationId xmlns:a16="http://schemas.microsoft.com/office/drawing/2014/main" id="{56235ABD-681D-F57C-8FB0-94B9CD5E54E2}"/>
                  </a:ext>
                </a:extLst>
              </p:cNvPr>
              <p:cNvSpPr>
                <a:spLocks noChangeArrowheads="1"/>
              </p:cNvSpPr>
              <p:nvPr/>
            </p:nvSpPr>
            <p:spPr bwMode="auto">
              <a:xfrm>
                <a:off x="1198910" y="4336473"/>
                <a:ext cx="57138" cy="57138"/>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9">
                <a:extLst>
                  <a:ext uri="{FF2B5EF4-FFF2-40B4-BE49-F238E27FC236}">
                    <a16:creationId xmlns:a16="http://schemas.microsoft.com/office/drawing/2014/main" id="{4B952FE5-8518-ADA7-1023-CAB3F780C958}"/>
                  </a:ext>
                </a:extLst>
              </p:cNvPr>
              <p:cNvSpPr>
                <a:spLocks noChangeArrowheads="1"/>
              </p:cNvSpPr>
              <p:nvPr/>
            </p:nvSpPr>
            <p:spPr bwMode="auto">
              <a:xfrm>
                <a:off x="1198910" y="3982219"/>
                <a:ext cx="57138" cy="57138"/>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10">
                <a:extLst>
                  <a:ext uri="{FF2B5EF4-FFF2-40B4-BE49-F238E27FC236}">
                    <a16:creationId xmlns:a16="http://schemas.microsoft.com/office/drawing/2014/main" id="{E9D03551-342D-48C7-752E-BFD29F1CF192}"/>
                  </a:ext>
                </a:extLst>
              </p:cNvPr>
              <p:cNvSpPr>
                <a:spLocks noChangeArrowheads="1"/>
              </p:cNvSpPr>
              <p:nvPr/>
            </p:nvSpPr>
            <p:spPr bwMode="auto">
              <a:xfrm>
                <a:off x="1793145" y="4096494"/>
                <a:ext cx="60947" cy="60947"/>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11">
                <a:extLst>
                  <a:ext uri="{FF2B5EF4-FFF2-40B4-BE49-F238E27FC236}">
                    <a16:creationId xmlns:a16="http://schemas.microsoft.com/office/drawing/2014/main" id="{199E4FC2-2F98-FAB1-DC3F-A6409B901141}"/>
                  </a:ext>
                </a:extLst>
              </p:cNvPr>
              <p:cNvSpPr>
                <a:spLocks/>
              </p:cNvSpPr>
              <p:nvPr/>
            </p:nvSpPr>
            <p:spPr bwMode="auto">
              <a:xfrm>
                <a:off x="1793145" y="4336473"/>
                <a:ext cx="60947" cy="57138"/>
              </a:xfrm>
              <a:custGeom>
                <a:avLst/>
                <a:gdLst>
                  <a:gd name="T0" fmla="*/ 0 w 16"/>
                  <a:gd name="T1" fmla="*/ 0 h 15"/>
                  <a:gd name="T2" fmla="*/ 0 w 16"/>
                  <a:gd name="T3" fmla="*/ 15 h 15"/>
                  <a:gd name="T4" fmla="*/ 15 w 16"/>
                  <a:gd name="T5" fmla="*/ 15 h 15"/>
                  <a:gd name="T6" fmla="*/ 16 w 16"/>
                  <a:gd name="T7" fmla="*/ 15 h 15"/>
                  <a:gd name="T8" fmla="*/ 16 w 16"/>
                  <a:gd name="T9" fmla="*/ 0 h 15"/>
                  <a:gd name="T10" fmla="*/ 15 w 16"/>
                  <a:gd name="T11" fmla="*/ 0 h 15"/>
                  <a:gd name="T12" fmla="*/ 0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0" y="0"/>
                    </a:moveTo>
                    <a:lnTo>
                      <a:pt x="0" y="15"/>
                    </a:lnTo>
                    <a:lnTo>
                      <a:pt x="15" y="15"/>
                    </a:lnTo>
                    <a:lnTo>
                      <a:pt x="16" y="15"/>
                    </a:lnTo>
                    <a:lnTo>
                      <a:pt x="16" y="0"/>
                    </a:lnTo>
                    <a:lnTo>
                      <a:pt x="15" y="0"/>
                    </a:lnTo>
                    <a:lnTo>
                      <a:pt x="0"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12">
                <a:extLst>
                  <a:ext uri="{FF2B5EF4-FFF2-40B4-BE49-F238E27FC236}">
                    <a16:creationId xmlns:a16="http://schemas.microsoft.com/office/drawing/2014/main" id="{61DA3957-E5A3-9603-46D3-0F726CCA2FF9}"/>
                  </a:ext>
                </a:extLst>
              </p:cNvPr>
              <p:cNvSpPr>
                <a:spLocks noChangeArrowheads="1"/>
              </p:cNvSpPr>
              <p:nvPr/>
            </p:nvSpPr>
            <p:spPr bwMode="auto">
              <a:xfrm>
                <a:off x="1438889" y="4458367"/>
                <a:ext cx="57138" cy="53328"/>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13">
                <a:extLst>
                  <a:ext uri="{FF2B5EF4-FFF2-40B4-BE49-F238E27FC236}">
                    <a16:creationId xmlns:a16="http://schemas.microsoft.com/office/drawing/2014/main" id="{8F75E190-FE2B-7B85-9247-515E31925964}"/>
                  </a:ext>
                </a:extLst>
              </p:cNvPr>
              <p:cNvSpPr>
                <a:spLocks noChangeArrowheads="1"/>
              </p:cNvSpPr>
              <p:nvPr/>
            </p:nvSpPr>
            <p:spPr bwMode="auto">
              <a:xfrm>
                <a:off x="1320804" y="4458367"/>
                <a:ext cx="57138" cy="53328"/>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14">
                <a:extLst>
                  <a:ext uri="{FF2B5EF4-FFF2-40B4-BE49-F238E27FC236}">
                    <a16:creationId xmlns:a16="http://schemas.microsoft.com/office/drawing/2014/main" id="{528CC62B-294C-2BD9-BC93-0DC31B528E93}"/>
                  </a:ext>
                </a:extLst>
              </p:cNvPr>
              <p:cNvSpPr>
                <a:spLocks/>
              </p:cNvSpPr>
              <p:nvPr/>
            </p:nvSpPr>
            <p:spPr bwMode="auto">
              <a:xfrm>
                <a:off x="1316995" y="3860325"/>
                <a:ext cx="57138" cy="60947"/>
              </a:xfrm>
              <a:custGeom>
                <a:avLst/>
                <a:gdLst>
                  <a:gd name="T0" fmla="*/ 15 w 15"/>
                  <a:gd name="T1" fmla="*/ 1 h 16"/>
                  <a:gd name="T2" fmla="*/ 15 w 15"/>
                  <a:gd name="T3" fmla="*/ 0 h 16"/>
                  <a:gd name="T4" fmla="*/ 0 w 15"/>
                  <a:gd name="T5" fmla="*/ 0 h 16"/>
                  <a:gd name="T6" fmla="*/ 0 w 15"/>
                  <a:gd name="T7" fmla="*/ 1 h 16"/>
                  <a:gd name="T8" fmla="*/ 0 w 15"/>
                  <a:gd name="T9" fmla="*/ 16 h 16"/>
                  <a:gd name="T10" fmla="*/ 15 w 15"/>
                  <a:gd name="T11" fmla="*/ 16 h 16"/>
                  <a:gd name="T12" fmla="*/ 15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5" y="1"/>
                    </a:moveTo>
                    <a:lnTo>
                      <a:pt x="15" y="0"/>
                    </a:lnTo>
                    <a:lnTo>
                      <a:pt x="0" y="0"/>
                    </a:lnTo>
                    <a:lnTo>
                      <a:pt x="0" y="1"/>
                    </a:lnTo>
                    <a:lnTo>
                      <a:pt x="0" y="16"/>
                    </a:lnTo>
                    <a:lnTo>
                      <a:pt x="15" y="16"/>
                    </a:lnTo>
                    <a:lnTo>
                      <a:pt x="15" y="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15">
                <a:extLst>
                  <a:ext uri="{FF2B5EF4-FFF2-40B4-BE49-F238E27FC236}">
                    <a16:creationId xmlns:a16="http://schemas.microsoft.com/office/drawing/2014/main" id="{ACFCC024-9ACD-B968-BBC4-5E3EC63DAF5C}"/>
                  </a:ext>
                </a:extLst>
              </p:cNvPr>
              <p:cNvSpPr>
                <a:spLocks noChangeArrowheads="1"/>
              </p:cNvSpPr>
              <p:nvPr/>
            </p:nvSpPr>
            <p:spPr bwMode="auto">
              <a:xfrm>
                <a:off x="1675060" y="4458367"/>
                <a:ext cx="60947" cy="53328"/>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16">
                <a:extLst>
                  <a:ext uri="{FF2B5EF4-FFF2-40B4-BE49-F238E27FC236}">
                    <a16:creationId xmlns:a16="http://schemas.microsoft.com/office/drawing/2014/main" id="{87059581-9876-0E39-88CC-5C16B19569E3}"/>
                  </a:ext>
                </a:extLst>
              </p:cNvPr>
              <p:cNvSpPr>
                <a:spLocks noChangeArrowheads="1"/>
              </p:cNvSpPr>
              <p:nvPr/>
            </p:nvSpPr>
            <p:spPr bwMode="auto">
              <a:xfrm>
                <a:off x="1553165" y="4458367"/>
                <a:ext cx="60947" cy="53328"/>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17">
                <a:extLst>
                  <a:ext uri="{FF2B5EF4-FFF2-40B4-BE49-F238E27FC236}">
                    <a16:creationId xmlns:a16="http://schemas.microsoft.com/office/drawing/2014/main" id="{B4690E96-3E12-A8BF-464D-3A5A486472C2}"/>
                  </a:ext>
                </a:extLst>
              </p:cNvPr>
              <p:cNvSpPr>
                <a:spLocks/>
              </p:cNvSpPr>
              <p:nvPr/>
            </p:nvSpPr>
            <p:spPr bwMode="auto">
              <a:xfrm>
                <a:off x="1793145" y="4214579"/>
                <a:ext cx="60947" cy="60947"/>
              </a:xfrm>
              <a:custGeom>
                <a:avLst/>
                <a:gdLst>
                  <a:gd name="T0" fmla="*/ 16 w 16"/>
                  <a:gd name="T1" fmla="*/ 0 h 16"/>
                  <a:gd name="T2" fmla="*/ 0 w 16"/>
                  <a:gd name="T3" fmla="*/ 0 h 16"/>
                  <a:gd name="T4" fmla="*/ 0 w 16"/>
                  <a:gd name="T5" fmla="*/ 1 h 16"/>
                  <a:gd name="T6" fmla="*/ 0 w 16"/>
                  <a:gd name="T7" fmla="*/ 16 h 16"/>
                  <a:gd name="T8" fmla="*/ 16 w 16"/>
                  <a:gd name="T9" fmla="*/ 16 h 16"/>
                  <a:gd name="T10" fmla="*/ 16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16" y="0"/>
                    </a:moveTo>
                    <a:lnTo>
                      <a:pt x="0" y="0"/>
                    </a:lnTo>
                    <a:lnTo>
                      <a:pt x="0" y="1"/>
                    </a:lnTo>
                    <a:lnTo>
                      <a:pt x="0" y="16"/>
                    </a:lnTo>
                    <a:lnTo>
                      <a:pt x="16" y="16"/>
                    </a:lnTo>
                    <a:lnTo>
                      <a:pt x="16"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18">
                <a:extLst>
                  <a:ext uri="{FF2B5EF4-FFF2-40B4-BE49-F238E27FC236}">
                    <a16:creationId xmlns:a16="http://schemas.microsoft.com/office/drawing/2014/main" id="{29EA2179-5C0A-9FCD-5550-1A58AC4E3757}"/>
                  </a:ext>
                </a:extLst>
              </p:cNvPr>
              <p:cNvSpPr>
                <a:spLocks/>
              </p:cNvSpPr>
              <p:nvPr/>
            </p:nvSpPr>
            <p:spPr bwMode="auto">
              <a:xfrm>
                <a:off x="1777908" y="3974600"/>
                <a:ext cx="76184" cy="60947"/>
              </a:xfrm>
              <a:custGeom>
                <a:avLst/>
                <a:gdLst>
                  <a:gd name="T0" fmla="*/ 0 w 20"/>
                  <a:gd name="T1" fmla="*/ 16 h 16"/>
                  <a:gd name="T2" fmla="*/ 20 w 20"/>
                  <a:gd name="T3" fmla="*/ 16 h 16"/>
                  <a:gd name="T4" fmla="*/ 20 w 20"/>
                  <a:gd name="T5" fmla="*/ 2 h 16"/>
                  <a:gd name="T6" fmla="*/ 20 w 20"/>
                  <a:gd name="T7" fmla="*/ 0 h 16"/>
                  <a:gd name="T8" fmla="*/ 4 w 20"/>
                  <a:gd name="T9" fmla="*/ 0 h 16"/>
                  <a:gd name="T10" fmla="*/ 4 w 20"/>
                  <a:gd name="T11" fmla="*/ 2 h 16"/>
                  <a:gd name="T12" fmla="*/ 0 w 2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0" h="16">
                    <a:moveTo>
                      <a:pt x="0" y="16"/>
                    </a:moveTo>
                    <a:lnTo>
                      <a:pt x="20" y="16"/>
                    </a:lnTo>
                    <a:lnTo>
                      <a:pt x="20" y="2"/>
                    </a:lnTo>
                    <a:lnTo>
                      <a:pt x="20" y="0"/>
                    </a:lnTo>
                    <a:lnTo>
                      <a:pt x="4" y="0"/>
                    </a:lnTo>
                    <a:lnTo>
                      <a:pt x="4" y="2"/>
                    </a:lnTo>
                    <a:lnTo>
                      <a:pt x="0" y="16"/>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19">
                <a:extLst>
                  <a:ext uri="{FF2B5EF4-FFF2-40B4-BE49-F238E27FC236}">
                    <a16:creationId xmlns:a16="http://schemas.microsoft.com/office/drawing/2014/main" id="{40FE4836-BBBB-9B81-A6C8-8F060C41E03F}"/>
                  </a:ext>
                </a:extLst>
              </p:cNvPr>
              <p:cNvSpPr>
                <a:spLocks/>
              </p:cNvSpPr>
              <p:nvPr/>
            </p:nvSpPr>
            <p:spPr bwMode="auto">
              <a:xfrm>
                <a:off x="1438889" y="3860325"/>
                <a:ext cx="297118" cy="79993"/>
              </a:xfrm>
              <a:custGeom>
                <a:avLst/>
                <a:gdLst>
                  <a:gd name="T0" fmla="*/ 0 w 78"/>
                  <a:gd name="T1" fmla="*/ 21 h 21"/>
                  <a:gd name="T2" fmla="*/ 15 w 78"/>
                  <a:gd name="T3" fmla="*/ 21 h 21"/>
                  <a:gd name="T4" fmla="*/ 15 w 78"/>
                  <a:gd name="T5" fmla="*/ 21 h 21"/>
                  <a:gd name="T6" fmla="*/ 32 w 78"/>
                  <a:gd name="T7" fmla="*/ 21 h 21"/>
                  <a:gd name="T8" fmla="*/ 46 w 78"/>
                  <a:gd name="T9" fmla="*/ 21 h 21"/>
                  <a:gd name="T10" fmla="*/ 46 w 78"/>
                  <a:gd name="T11" fmla="*/ 21 h 21"/>
                  <a:gd name="T12" fmla="*/ 62 w 78"/>
                  <a:gd name="T13" fmla="*/ 21 h 21"/>
                  <a:gd name="T14" fmla="*/ 78 w 78"/>
                  <a:gd name="T15" fmla="*/ 21 h 21"/>
                  <a:gd name="T16" fmla="*/ 78 w 78"/>
                  <a:gd name="T17" fmla="*/ 0 h 21"/>
                  <a:gd name="T18" fmla="*/ 62 w 78"/>
                  <a:gd name="T19" fmla="*/ 0 h 21"/>
                  <a:gd name="T20" fmla="*/ 62 w 78"/>
                  <a:gd name="T21" fmla="*/ 21 h 21"/>
                  <a:gd name="T22" fmla="*/ 46 w 78"/>
                  <a:gd name="T23" fmla="*/ 21 h 21"/>
                  <a:gd name="T24" fmla="*/ 46 w 78"/>
                  <a:gd name="T25" fmla="*/ 18 h 21"/>
                  <a:gd name="T26" fmla="*/ 46 w 78"/>
                  <a:gd name="T27" fmla="*/ 0 h 21"/>
                  <a:gd name="T28" fmla="*/ 32 w 78"/>
                  <a:gd name="T29" fmla="*/ 0 h 21"/>
                  <a:gd name="T30" fmla="*/ 32 w 78"/>
                  <a:gd name="T31" fmla="*/ 21 h 21"/>
                  <a:gd name="T32" fmla="*/ 15 w 78"/>
                  <a:gd name="T33" fmla="*/ 21 h 21"/>
                  <a:gd name="T34" fmla="*/ 15 w 78"/>
                  <a:gd name="T35" fmla="*/ 21 h 21"/>
                  <a:gd name="T36" fmla="*/ 15 w 78"/>
                  <a:gd name="T37" fmla="*/ 19 h 21"/>
                  <a:gd name="T38" fmla="*/ 15 w 78"/>
                  <a:gd name="T39" fmla="*/ 18 h 21"/>
                  <a:gd name="T40" fmla="*/ 15 w 78"/>
                  <a:gd name="T41" fmla="*/ 18 h 21"/>
                  <a:gd name="T42" fmla="*/ 15 w 78"/>
                  <a:gd name="T43" fmla="*/ 0 h 21"/>
                  <a:gd name="T44" fmla="*/ 0 w 78"/>
                  <a:gd name="T45" fmla="*/ 0 h 21"/>
                  <a:gd name="T46" fmla="*/ 0 w 78"/>
                  <a:gd name="T47" fmla="*/ 1 h 21"/>
                  <a:gd name="T48" fmla="*/ 0 w 78"/>
                  <a:gd name="T4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21">
                    <a:moveTo>
                      <a:pt x="0" y="21"/>
                    </a:moveTo>
                    <a:lnTo>
                      <a:pt x="15" y="21"/>
                    </a:lnTo>
                    <a:lnTo>
                      <a:pt x="15" y="21"/>
                    </a:lnTo>
                    <a:lnTo>
                      <a:pt x="32" y="21"/>
                    </a:lnTo>
                    <a:lnTo>
                      <a:pt x="46" y="21"/>
                    </a:lnTo>
                    <a:lnTo>
                      <a:pt x="46" y="21"/>
                    </a:lnTo>
                    <a:lnTo>
                      <a:pt x="62" y="21"/>
                    </a:lnTo>
                    <a:lnTo>
                      <a:pt x="78" y="21"/>
                    </a:lnTo>
                    <a:lnTo>
                      <a:pt x="78" y="0"/>
                    </a:lnTo>
                    <a:lnTo>
                      <a:pt x="62" y="0"/>
                    </a:lnTo>
                    <a:lnTo>
                      <a:pt x="62" y="21"/>
                    </a:lnTo>
                    <a:lnTo>
                      <a:pt x="46" y="21"/>
                    </a:lnTo>
                    <a:lnTo>
                      <a:pt x="46" y="18"/>
                    </a:lnTo>
                    <a:lnTo>
                      <a:pt x="46" y="0"/>
                    </a:lnTo>
                    <a:lnTo>
                      <a:pt x="32" y="0"/>
                    </a:lnTo>
                    <a:lnTo>
                      <a:pt x="32" y="21"/>
                    </a:lnTo>
                    <a:lnTo>
                      <a:pt x="15" y="21"/>
                    </a:lnTo>
                    <a:lnTo>
                      <a:pt x="15" y="21"/>
                    </a:lnTo>
                    <a:lnTo>
                      <a:pt x="15" y="19"/>
                    </a:lnTo>
                    <a:lnTo>
                      <a:pt x="15" y="18"/>
                    </a:lnTo>
                    <a:lnTo>
                      <a:pt x="15" y="18"/>
                    </a:lnTo>
                    <a:lnTo>
                      <a:pt x="15" y="0"/>
                    </a:lnTo>
                    <a:lnTo>
                      <a:pt x="0" y="0"/>
                    </a:lnTo>
                    <a:lnTo>
                      <a:pt x="0" y="1"/>
                    </a:lnTo>
                    <a:lnTo>
                      <a:pt x="0" y="2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22">
                <a:extLst>
                  <a:ext uri="{FF2B5EF4-FFF2-40B4-BE49-F238E27FC236}">
                    <a16:creationId xmlns:a16="http://schemas.microsoft.com/office/drawing/2014/main" id="{100A3816-3132-4D16-6C71-821C22C2470C}"/>
                  </a:ext>
                </a:extLst>
              </p:cNvPr>
              <p:cNvSpPr>
                <a:spLocks noEditPoints="1"/>
              </p:cNvSpPr>
              <p:nvPr/>
            </p:nvSpPr>
            <p:spPr bwMode="auto">
              <a:xfrm>
                <a:off x="1256048" y="3921272"/>
                <a:ext cx="537097" cy="537095"/>
              </a:xfrm>
              <a:custGeom>
                <a:avLst/>
                <a:gdLst>
                  <a:gd name="T0" fmla="*/ 0 w 141"/>
                  <a:gd name="T1" fmla="*/ 0 h 141"/>
                  <a:gd name="T2" fmla="*/ 0 w 141"/>
                  <a:gd name="T3" fmla="*/ 141 h 141"/>
                  <a:gd name="T4" fmla="*/ 141 w 141"/>
                  <a:gd name="T5" fmla="*/ 141 h 141"/>
                  <a:gd name="T6" fmla="*/ 141 w 141"/>
                  <a:gd name="T7" fmla="*/ 0 h 141"/>
                  <a:gd name="T8" fmla="*/ 0 w 141"/>
                  <a:gd name="T9" fmla="*/ 0 h 141"/>
                  <a:gd name="T10" fmla="*/ 126 w 141"/>
                  <a:gd name="T11" fmla="*/ 124 h 141"/>
                  <a:gd name="T12" fmla="*/ 17 w 141"/>
                  <a:gd name="T13" fmla="*/ 124 h 141"/>
                  <a:gd name="T14" fmla="*/ 17 w 141"/>
                  <a:gd name="T15" fmla="*/ 16 h 141"/>
                  <a:gd name="T16" fmla="*/ 126 w 141"/>
                  <a:gd name="T17" fmla="*/ 16 h 141"/>
                  <a:gd name="T18" fmla="*/ 126 w 141"/>
                  <a:gd name="T19" fmla="*/ 12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0" y="0"/>
                    </a:moveTo>
                    <a:lnTo>
                      <a:pt x="0" y="141"/>
                    </a:lnTo>
                    <a:lnTo>
                      <a:pt x="141" y="141"/>
                    </a:lnTo>
                    <a:lnTo>
                      <a:pt x="141" y="0"/>
                    </a:lnTo>
                    <a:lnTo>
                      <a:pt x="0" y="0"/>
                    </a:lnTo>
                    <a:close/>
                    <a:moveTo>
                      <a:pt x="126" y="124"/>
                    </a:moveTo>
                    <a:lnTo>
                      <a:pt x="17" y="124"/>
                    </a:lnTo>
                    <a:lnTo>
                      <a:pt x="17" y="16"/>
                    </a:lnTo>
                    <a:lnTo>
                      <a:pt x="126" y="16"/>
                    </a:lnTo>
                    <a:lnTo>
                      <a:pt x="126" y="124"/>
                    </a:lnTo>
                    <a:close/>
                  </a:path>
                </a:pathLst>
              </a:custGeom>
              <a:solidFill>
                <a:schemeClr val="bg1">
                  <a:lumMod val="50000"/>
                  <a:lumOff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3" name="Group 72">
              <a:extLst>
                <a:ext uri="{FF2B5EF4-FFF2-40B4-BE49-F238E27FC236}">
                  <a16:creationId xmlns:a16="http://schemas.microsoft.com/office/drawing/2014/main" id="{7CE22531-8786-F5F2-C798-77711F004D65}"/>
                </a:ext>
              </a:extLst>
            </p:cNvPr>
            <p:cNvGrpSpPr/>
            <p:nvPr/>
          </p:nvGrpSpPr>
          <p:grpSpPr>
            <a:xfrm>
              <a:off x="2538408" y="3641101"/>
              <a:ext cx="655182" cy="651370"/>
              <a:chOff x="2347098" y="3978734"/>
              <a:chExt cx="1907382" cy="1896284"/>
            </a:xfrm>
          </p:grpSpPr>
          <p:sp>
            <p:nvSpPr>
              <p:cNvPr id="74" name="Rectangle 20">
                <a:extLst>
                  <a:ext uri="{FF2B5EF4-FFF2-40B4-BE49-F238E27FC236}">
                    <a16:creationId xmlns:a16="http://schemas.microsoft.com/office/drawing/2014/main" id="{88C33406-5601-BCB1-6C8A-D191BDCD51E3}"/>
                  </a:ext>
                </a:extLst>
              </p:cNvPr>
              <p:cNvSpPr>
                <a:spLocks noChangeArrowheads="1"/>
              </p:cNvSpPr>
              <p:nvPr/>
            </p:nvSpPr>
            <p:spPr bwMode="auto">
              <a:xfrm>
                <a:off x="2701960" y="4333594"/>
                <a:ext cx="1208748" cy="1197654"/>
              </a:xfrm>
              <a:prstGeom prst="rect">
                <a:avLst/>
              </a:prstGeom>
              <a:solidFill>
                <a:schemeClr val="bg1">
                  <a:lumMod val="85000"/>
                  <a:lumOff val="15000"/>
                </a:schemeClr>
              </a:solidFill>
              <a:ln w="9525">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effectLst/>
                    <a:uLnTx/>
                    <a:uFillTx/>
                    <a:latin typeface="Segoe UI" panose="020B0502040204020203" pitchFamily="34" charset="0"/>
                    <a:cs typeface="Segoe UI" panose="020B0502040204020203" pitchFamily="34" charset="0"/>
                  </a:rPr>
                  <a:t>GPU 1</a:t>
                </a:r>
              </a:p>
            </p:txBody>
          </p:sp>
          <p:grpSp>
            <p:nvGrpSpPr>
              <p:cNvPr id="75" name="Group 74">
                <a:extLst>
                  <a:ext uri="{FF2B5EF4-FFF2-40B4-BE49-F238E27FC236}">
                    <a16:creationId xmlns:a16="http://schemas.microsoft.com/office/drawing/2014/main" id="{72ED767C-277F-2BD4-1252-36575CBDA2F5}"/>
                  </a:ext>
                </a:extLst>
              </p:cNvPr>
              <p:cNvGrpSpPr/>
              <p:nvPr/>
            </p:nvGrpSpPr>
            <p:grpSpPr>
              <a:xfrm>
                <a:off x="2347098" y="3978734"/>
                <a:ext cx="1907382" cy="1896284"/>
                <a:chOff x="2347098" y="3978734"/>
                <a:chExt cx="1907382" cy="1896284"/>
              </a:xfrm>
            </p:grpSpPr>
            <p:sp>
              <p:nvSpPr>
                <p:cNvPr id="76" name="Rectangle 6">
                  <a:extLst>
                    <a:ext uri="{FF2B5EF4-FFF2-40B4-BE49-F238E27FC236}">
                      <a16:creationId xmlns:a16="http://schemas.microsoft.com/office/drawing/2014/main" id="{A53FAD8A-27C3-3A77-385B-8D1E2CB4C610}"/>
                    </a:ext>
                  </a:extLst>
                </p:cNvPr>
                <p:cNvSpPr>
                  <a:spLocks noChangeArrowheads="1"/>
                </p:cNvSpPr>
                <p:nvPr/>
              </p:nvSpPr>
              <p:spPr bwMode="auto">
                <a:xfrm>
                  <a:off x="2347098" y="4666276"/>
                  <a:ext cx="16634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77" name="Rectangle 7">
                  <a:extLst>
                    <a:ext uri="{FF2B5EF4-FFF2-40B4-BE49-F238E27FC236}">
                      <a16:creationId xmlns:a16="http://schemas.microsoft.com/office/drawing/2014/main" id="{29E57468-CA8C-ED89-F06C-3BF37831C7AF}"/>
                    </a:ext>
                  </a:extLst>
                </p:cNvPr>
                <p:cNvSpPr>
                  <a:spLocks noChangeArrowheads="1"/>
                </p:cNvSpPr>
                <p:nvPr/>
              </p:nvSpPr>
              <p:spPr bwMode="auto">
                <a:xfrm>
                  <a:off x="2347098" y="5021136"/>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78" name="Rectangle 8">
                  <a:extLst>
                    <a:ext uri="{FF2B5EF4-FFF2-40B4-BE49-F238E27FC236}">
                      <a16:creationId xmlns:a16="http://schemas.microsoft.com/office/drawing/2014/main" id="{251E5847-103A-E059-BA1A-C588A3E465B8}"/>
                    </a:ext>
                  </a:extLst>
                </p:cNvPr>
                <p:cNvSpPr>
                  <a:spLocks noChangeArrowheads="1"/>
                </p:cNvSpPr>
                <p:nvPr/>
              </p:nvSpPr>
              <p:spPr bwMode="auto">
                <a:xfrm>
                  <a:off x="2347098" y="5364907"/>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79" name="Rectangle 9">
                  <a:extLst>
                    <a:ext uri="{FF2B5EF4-FFF2-40B4-BE49-F238E27FC236}">
                      <a16:creationId xmlns:a16="http://schemas.microsoft.com/office/drawing/2014/main" id="{3E9E3251-952A-4231-D72C-0C026D259467}"/>
                    </a:ext>
                  </a:extLst>
                </p:cNvPr>
                <p:cNvSpPr>
                  <a:spLocks noChangeArrowheads="1"/>
                </p:cNvSpPr>
                <p:nvPr/>
              </p:nvSpPr>
              <p:spPr bwMode="auto">
                <a:xfrm>
                  <a:off x="2347098" y="4333594"/>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0" name="Rectangle 10">
                  <a:extLst>
                    <a:ext uri="{FF2B5EF4-FFF2-40B4-BE49-F238E27FC236}">
                      <a16:creationId xmlns:a16="http://schemas.microsoft.com/office/drawing/2014/main" id="{70ED716F-6287-CE92-8217-9B89C04A030A}"/>
                    </a:ext>
                  </a:extLst>
                </p:cNvPr>
                <p:cNvSpPr>
                  <a:spLocks noChangeArrowheads="1"/>
                </p:cNvSpPr>
                <p:nvPr/>
              </p:nvSpPr>
              <p:spPr bwMode="auto">
                <a:xfrm>
                  <a:off x="4077049" y="4666276"/>
                  <a:ext cx="17743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1" name="Freeform 11">
                  <a:extLst>
                    <a:ext uri="{FF2B5EF4-FFF2-40B4-BE49-F238E27FC236}">
                      <a16:creationId xmlns:a16="http://schemas.microsoft.com/office/drawing/2014/main" id="{86F82045-4CF7-ABE0-4D12-DE6C2842C399}"/>
                    </a:ext>
                  </a:extLst>
                </p:cNvPr>
                <p:cNvSpPr>
                  <a:spLocks/>
                </p:cNvSpPr>
                <p:nvPr/>
              </p:nvSpPr>
              <p:spPr bwMode="auto">
                <a:xfrm>
                  <a:off x="4077049" y="5364907"/>
                  <a:ext cx="177431" cy="166341"/>
                </a:xfrm>
                <a:custGeom>
                  <a:avLst/>
                  <a:gdLst>
                    <a:gd name="T0" fmla="*/ 0 w 16"/>
                    <a:gd name="T1" fmla="*/ 0 h 15"/>
                    <a:gd name="T2" fmla="*/ 0 w 16"/>
                    <a:gd name="T3" fmla="*/ 15 h 15"/>
                    <a:gd name="T4" fmla="*/ 15 w 16"/>
                    <a:gd name="T5" fmla="*/ 15 h 15"/>
                    <a:gd name="T6" fmla="*/ 16 w 16"/>
                    <a:gd name="T7" fmla="*/ 15 h 15"/>
                    <a:gd name="T8" fmla="*/ 16 w 16"/>
                    <a:gd name="T9" fmla="*/ 0 h 15"/>
                    <a:gd name="T10" fmla="*/ 15 w 16"/>
                    <a:gd name="T11" fmla="*/ 0 h 15"/>
                    <a:gd name="T12" fmla="*/ 0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0" y="0"/>
                      </a:moveTo>
                      <a:lnTo>
                        <a:pt x="0" y="15"/>
                      </a:lnTo>
                      <a:lnTo>
                        <a:pt x="15" y="15"/>
                      </a:lnTo>
                      <a:lnTo>
                        <a:pt x="16" y="15"/>
                      </a:lnTo>
                      <a:lnTo>
                        <a:pt x="16" y="0"/>
                      </a:lnTo>
                      <a:lnTo>
                        <a:pt x="15" y="0"/>
                      </a:lnTo>
                      <a:lnTo>
                        <a:pt x="0"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2" name="Rectangle 12">
                  <a:extLst>
                    <a:ext uri="{FF2B5EF4-FFF2-40B4-BE49-F238E27FC236}">
                      <a16:creationId xmlns:a16="http://schemas.microsoft.com/office/drawing/2014/main" id="{764739A0-1D0D-81CB-9E07-0A1901F96AA0}"/>
                    </a:ext>
                  </a:extLst>
                </p:cNvPr>
                <p:cNvSpPr>
                  <a:spLocks noChangeArrowheads="1"/>
                </p:cNvSpPr>
                <p:nvPr/>
              </p:nvSpPr>
              <p:spPr bwMode="auto">
                <a:xfrm>
                  <a:off x="3045732"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3" name="Rectangle 13">
                  <a:extLst>
                    <a:ext uri="{FF2B5EF4-FFF2-40B4-BE49-F238E27FC236}">
                      <a16:creationId xmlns:a16="http://schemas.microsoft.com/office/drawing/2014/main" id="{BDB0DB07-6D0F-E1D7-104E-13615A004869}"/>
                    </a:ext>
                  </a:extLst>
                </p:cNvPr>
                <p:cNvSpPr>
                  <a:spLocks noChangeArrowheads="1"/>
                </p:cNvSpPr>
                <p:nvPr/>
              </p:nvSpPr>
              <p:spPr bwMode="auto">
                <a:xfrm>
                  <a:off x="2701960"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4" name="Freeform 14">
                  <a:extLst>
                    <a:ext uri="{FF2B5EF4-FFF2-40B4-BE49-F238E27FC236}">
                      <a16:creationId xmlns:a16="http://schemas.microsoft.com/office/drawing/2014/main" id="{2194CF19-57DD-2A42-6600-EB678C9AFECA}"/>
                    </a:ext>
                  </a:extLst>
                </p:cNvPr>
                <p:cNvSpPr>
                  <a:spLocks/>
                </p:cNvSpPr>
                <p:nvPr/>
              </p:nvSpPr>
              <p:spPr bwMode="auto">
                <a:xfrm>
                  <a:off x="2690870" y="3978734"/>
                  <a:ext cx="166341" cy="177430"/>
                </a:xfrm>
                <a:custGeom>
                  <a:avLst/>
                  <a:gdLst>
                    <a:gd name="T0" fmla="*/ 15 w 15"/>
                    <a:gd name="T1" fmla="*/ 1 h 16"/>
                    <a:gd name="T2" fmla="*/ 15 w 15"/>
                    <a:gd name="T3" fmla="*/ 0 h 16"/>
                    <a:gd name="T4" fmla="*/ 0 w 15"/>
                    <a:gd name="T5" fmla="*/ 0 h 16"/>
                    <a:gd name="T6" fmla="*/ 0 w 15"/>
                    <a:gd name="T7" fmla="*/ 1 h 16"/>
                    <a:gd name="T8" fmla="*/ 0 w 15"/>
                    <a:gd name="T9" fmla="*/ 16 h 16"/>
                    <a:gd name="T10" fmla="*/ 15 w 15"/>
                    <a:gd name="T11" fmla="*/ 16 h 16"/>
                    <a:gd name="T12" fmla="*/ 15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5" y="1"/>
                      </a:moveTo>
                      <a:lnTo>
                        <a:pt x="15" y="0"/>
                      </a:lnTo>
                      <a:lnTo>
                        <a:pt x="0" y="0"/>
                      </a:lnTo>
                      <a:lnTo>
                        <a:pt x="0" y="1"/>
                      </a:lnTo>
                      <a:lnTo>
                        <a:pt x="0" y="16"/>
                      </a:lnTo>
                      <a:lnTo>
                        <a:pt x="15" y="16"/>
                      </a:lnTo>
                      <a:lnTo>
                        <a:pt x="15" y="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5" name="Rectangle 15">
                  <a:extLst>
                    <a:ext uri="{FF2B5EF4-FFF2-40B4-BE49-F238E27FC236}">
                      <a16:creationId xmlns:a16="http://schemas.microsoft.com/office/drawing/2014/main" id="{01C81C4F-7F8A-72C3-5F80-C43B99DF1782}"/>
                    </a:ext>
                  </a:extLst>
                </p:cNvPr>
                <p:cNvSpPr>
                  <a:spLocks noChangeArrowheads="1"/>
                </p:cNvSpPr>
                <p:nvPr/>
              </p:nvSpPr>
              <p:spPr bwMode="auto">
                <a:xfrm>
                  <a:off x="3733277"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6" name="Rectangle 16">
                  <a:extLst>
                    <a:ext uri="{FF2B5EF4-FFF2-40B4-BE49-F238E27FC236}">
                      <a16:creationId xmlns:a16="http://schemas.microsoft.com/office/drawing/2014/main" id="{6BD89317-894B-40C5-9EBA-6BCF110C4C0E}"/>
                    </a:ext>
                  </a:extLst>
                </p:cNvPr>
                <p:cNvSpPr>
                  <a:spLocks noChangeArrowheads="1"/>
                </p:cNvSpPr>
                <p:nvPr/>
              </p:nvSpPr>
              <p:spPr bwMode="auto">
                <a:xfrm>
                  <a:off x="3378415"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7" name="Freeform 17">
                  <a:extLst>
                    <a:ext uri="{FF2B5EF4-FFF2-40B4-BE49-F238E27FC236}">
                      <a16:creationId xmlns:a16="http://schemas.microsoft.com/office/drawing/2014/main" id="{1CFCACEA-E386-D565-2A50-5FF555D7CA0B}"/>
                    </a:ext>
                  </a:extLst>
                </p:cNvPr>
                <p:cNvSpPr>
                  <a:spLocks/>
                </p:cNvSpPr>
                <p:nvPr/>
              </p:nvSpPr>
              <p:spPr bwMode="auto">
                <a:xfrm>
                  <a:off x="4077049" y="5010047"/>
                  <a:ext cx="177431" cy="177430"/>
                </a:xfrm>
                <a:custGeom>
                  <a:avLst/>
                  <a:gdLst>
                    <a:gd name="T0" fmla="*/ 16 w 16"/>
                    <a:gd name="T1" fmla="*/ 0 h 16"/>
                    <a:gd name="T2" fmla="*/ 0 w 16"/>
                    <a:gd name="T3" fmla="*/ 0 h 16"/>
                    <a:gd name="T4" fmla="*/ 0 w 16"/>
                    <a:gd name="T5" fmla="*/ 1 h 16"/>
                    <a:gd name="T6" fmla="*/ 0 w 16"/>
                    <a:gd name="T7" fmla="*/ 16 h 16"/>
                    <a:gd name="T8" fmla="*/ 16 w 16"/>
                    <a:gd name="T9" fmla="*/ 16 h 16"/>
                    <a:gd name="T10" fmla="*/ 16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16" y="0"/>
                      </a:moveTo>
                      <a:lnTo>
                        <a:pt x="0" y="0"/>
                      </a:lnTo>
                      <a:lnTo>
                        <a:pt x="0" y="1"/>
                      </a:lnTo>
                      <a:lnTo>
                        <a:pt x="0" y="16"/>
                      </a:lnTo>
                      <a:lnTo>
                        <a:pt x="16" y="16"/>
                      </a:lnTo>
                      <a:lnTo>
                        <a:pt x="16"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8" name="Freeform 18">
                  <a:extLst>
                    <a:ext uri="{FF2B5EF4-FFF2-40B4-BE49-F238E27FC236}">
                      <a16:creationId xmlns:a16="http://schemas.microsoft.com/office/drawing/2014/main" id="{943E0F5A-5731-EA12-13BE-DD3590DFDB45}"/>
                    </a:ext>
                  </a:extLst>
                </p:cNvPr>
                <p:cNvSpPr>
                  <a:spLocks/>
                </p:cNvSpPr>
                <p:nvPr/>
              </p:nvSpPr>
              <p:spPr bwMode="auto">
                <a:xfrm>
                  <a:off x="4032691" y="4311415"/>
                  <a:ext cx="221789" cy="177430"/>
                </a:xfrm>
                <a:custGeom>
                  <a:avLst/>
                  <a:gdLst>
                    <a:gd name="T0" fmla="*/ 0 w 20"/>
                    <a:gd name="T1" fmla="*/ 16 h 16"/>
                    <a:gd name="T2" fmla="*/ 20 w 20"/>
                    <a:gd name="T3" fmla="*/ 16 h 16"/>
                    <a:gd name="T4" fmla="*/ 20 w 20"/>
                    <a:gd name="T5" fmla="*/ 2 h 16"/>
                    <a:gd name="T6" fmla="*/ 20 w 20"/>
                    <a:gd name="T7" fmla="*/ 0 h 16"/>
                    <a:gd name="T8" fmla="*/ 4 w 20"/>
                    <a:gd name="T9" fmla="*/ 0 h 16"/>
                    <a:gd name="T10" fmla="*/ 4 w 20"/>
                    <a:gd name="T11" fmla="*/ 2 h 16"/>
                    <a:gd name="T12" fmla="*/ 0 w 2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0" h="16">
                      <a:moveTo>
                        <a:pt x="0" y="16"/>
                      </a:moveTo>
                      <a:lnTo>
                        <a:pt x="20" y="16"/>
                      </a:lnTo>
                      <a:lnTo>
                        <a:pt x="20" y="2"/>
                      </a:lnTo>
                      <a:lnTo>
                        <a:pt x="20" y="0"/>
                      </a:lnTo>
                      <a:lnTo>
                        <a:pt x="4" y="0"/>
                      </a:lnTo>
                      <a:lnTo>
                        <a:pt x="4" y="2"/>
                      </a:lnTo>
                      <a:lnTo>
                        <a:pt x="0" y="16"/>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9" name="Freeform 19">
                  <a:extLst>
                    <a:ext uri="{FF2B5EF4-FFF2-40B4-BE49-F238E27FC236}">
                      <a16:creationId xmlns:a16="http://schemas.microsoft.com/office/drawing/2014/main" id="{7B02DD69-3E6A-12B8-A97B-AB2E4063E9F6}"/>
                    </a:ext>
                  </a:extLst>
                </p:cNvPr>
                <p:cNvSpPr>
                  <a:spLocks/>
                </p:cNvSpPr>
                <p:nvPr/>
              </p:nvSpPr>
              <p:spPr bwMode="auto">
                <a:xfrm>
                  <a:off x="3045732" y="3978734"/>
                  <a:ext cx="864976" cy="232877"/>
                </a:xfrm>
                <a:custGeom>
                  <a:avLst/>
                  <a:gdLst>
                    <a:gd name="T0" fmla="*/ 0 w 78"/>
                    <a:gd name="T1" fmla="*/ 21 h 21"/>
                    <a:gd name="T2" fmla="*/ 15 w 78"/>
                    <a:gd name="T3" fmla="*/ 21 h 21"/>
                    <a:gd name="T4" fmla="*/ 15 w 78"/>
                    <a:gd name="T5" fmla="*/ 21 h 21"/>
                    <a:gd name="T6" fmla="*/ 32 w 78"/>
                    <a:gd name="T7" fmla="*/ 21 h 21"/>
                    <a:gd name="T8" fmla="*/ 46 w 78"/>
                    <a:gd name="T9" fmla="*/ 21 h 21"/>
                    <a:gd name="T10" fmla="*/ 46 w 78"/>
                    <a:gd name="T11" fmla="*/ 21 h 21"/>
                    <a:gd name="T12" fmla="*/ 62 w 78"/>
                    <a:gd name="T13" fmla="*/ 21 h 21"/>
                    <a:gd name="T14" fmla="*/ 78 w 78"/>
                    <a:gd name="T15" fmla="*/ 21 h 21"/>
                    <a:gd name="T16" fmla="*/ 78 w 78"/>
                    <a:gd name="T17" fmla="*/ 0 h 21"/>
                    <a:gd name="T18" fmla="*/ 62 w 78"/>
                    <a:gd name="T19" fmla="*/ 0 h 21"/>
                    <a:gd name="T20" fmla="*/ 62 w 78"/>
                    <a:gd name="T21" fmla="*/ 21 h 21"/>
                    <a:gd name="T22" fmla="*/ 46 w 78"/>
                    <a:gd name="T23" fmla="*/ 21 h 21"/>
                    <a:gd name="T24" fmla="*/ 46 w 78"/>
                    <a:gd name="T25" fmla="*/ 18 h 21"/>
                    <a:gd name="T26" fmla="*/ 46 w 78"/>
                    <a:gd name="T27" fmla="*/ 0 h 21"/>
                    <a:gd name="T28" fmla="*/ 32 w 78"/>
                    <a:gd name="T29" fmla="*/ 0 h 21"/>
                    <a:gd name="T30" fmla="*/ 32 w 78"/>
                    <a:gd name="T31" fmla="*/ 21 h 21"/>
                    <a:gd name="T32" fmla="*/ 15 w 78"/>
                    <a:gd name="T33" fmla="*/ 21 h 21"/>
                    <a:gd name="T34" fmla="*/ 15 w 78"/>
                    <a:gd name="T35" fmla="*/ 21 h 21"/>
                    <a:gd name="T36" fmla="*/ 15 w 78"/>
                    <a:gd name="T37" fmla="*/ 19 h 21"/>
                    <a:gd name="T38" fmla="*/ 15 w 78"/>
                    <a:gd name="T39" fmla="*/ 18 h 21"/>
                    <a:gd name="T40" fmla="*/ 15 w 78"/>
                    <a:gd name="T41" fmla="*/ 18 h 21"/>
                    <a:gd name="T42" fmla="*/ 15 w 78"/>
                    <a:gd name="T43" fmla="*/ 0 h 21"/>
                    <a:gd name="T44" fmla="*/ 0 w 78"/>
                    <a:gd name="T45" fmla="*/ 0 h 21"/>
                    <a:gd name="T46" fmla="*/ 0 w 78"/>
                    <a:gd name="T47" fmla="*/ 1 h 21"/>
                    <a:gd name="T48" fmla="*/ 0 w 78"/>
                    <a:gd name="T4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21">
                      <a:moveTo>
                        <a:pt x="0" y="21"/>
                      </a:moveTo>
                      <a:lnTo>
                        <a:pt x="15" y="21"/>
                      </a:lnTo>
                      <a:lnTo>
                        <a:pt x="15" y="21"/>
                      </a:lnTo>
                      <a:lnTo>
                        <a:pt x="32" y="21"/>
                      </a:lnTo>
                      <a:lnTo>
                        <a:pt x="46" y="21"/>
                      </a:lnTo>
                      <a:lnTo>
                        <a:pt x="46" y="21"/>
                      </a:lnTo>
                      <a:lnTo>
                        <a:pt x="62" y="21"/>
                      </a:lnTo>
                      <a:lnTo>
                        <a:pt x="78" y="21"/>
                      </a:lnTo>
                      <a:lnTo>
                        <a:pt x="78" y="0"/>
                      </a:lnTo>
                      <a:lnTo>
                        <a:pt x="62" y="0"/>
                      </a:lnTo>
                      <a:lnTo>
                        <a:pt x="62" y="21"/>
                      </a:lnTo>
                      <a:lnTo>
                        <a:pt x="46" y="21"/>
                      </a:lnTo>
                      <a:lnTo>
                        <a:pt x="46" y="18"/>
                      </a:lnTo>
                      <a:lnTo>
                        <a:pt x="46" y="0"/>
                      </a:lnTo>
                      <a:lnTo>
                        <a:pt x="32" y="0"/>
                      </a:lnTo>
                      <a:lnTo>
                        <a:pt x="32" y="21"/>
                      </a:lnTo>
                      <a:lnTo>
                        <a:pt x="15" y="21"/>
                      </a:lnTo>
                      <a:lnTo>
                        <a:pt x="15" y="21"/>
                      </a:lnTo>
                      <a:lnTo>
                        <a:pt x="15" y="19"/>
                      </a:lnTo>
                      <a:lnTo>
                        <a:pt x="15" y="18"/>
                      </a:lnTo>
                      <a:lnTo>
                        <a:pt x="15" y="18"/>
                      </a:lnTo>
                      <a:lnTo>
                        <a:pt x="15" y="0"/>
                      </a:lnTo>
                      <a:lnTo>
                        <a:pt x="0" y="0"/>
                      </a:lnTo>
                      <a:lnTo>
                        <a:pt x="0" y="1"/>
                      </a:lnTo>
                      <a:lnTo>
                        <a:pt x="0" y="2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90" name="Freeform 22">
                  <a:extLst>
                    <a:ext uri="{FF2B5EF4-FFF2-40B4-BE49-F238E27FC236}">
                      <a16:creationId xmlns:a16="http://schemas.microsoft.com/office/drawing/2014/main" id="{D4AD6996-366A-0DA5-B146-CB14FEF7B363}"/>
                    </a:ext>
                  </a:extLst>
                </p:cNvPr>
                <p:cNvSpPr>
                  <a:spLocks noEditPoints="1"/>
                </p:cNvSpPr>
                <p:nvPr/>
              </p:nvSpPr>
              <p:spPr bwMode="auto">
                <a:xfrm>
                  <a:off x="2513439" y="4156164"/>
                  <a:ext cx="1563610" cy="1563603"/>
                </a:xfrm>
                <a:custGeom>
                  <a:avLst/>
                  <a:gdLst>
                    <a:gd name="T0" fmla="*/ 0 w 141"/>
                    <a:gd name="T1" fmla="*/ 0 h 141"/>
                    <a:gd name="T2" fmla="*/ 0 w 141"/>
                    <a:gd name="T3" fmla="*/ 141 h 141"/>
                    <a:gd name="T4" fmla="*/ 141 w 141"/>
                    <a:gd name="T5" fmla="*/ 141 h 141"/>
                    <a:gd name="T6" fmla="*/ 141 w 141"/>
                    <a:gd name="T7" fmla="*/ 0 h 141"/>
                    <a:gd name="T8" fmla="*/ 0 w 141"/>
                    <a:gd name="T9" fmla="*/ 0 h 141"/>
                    <a:gd name="T10" fmla="*/ 126 w 141"/>
                    <a:gd name="T11" fmla="*/ 124 h 141"/>
                    <a:gd name="T12" fmla="*/ 17 w 141"/>
                    <a:gd name="T13" fmla="*/ 124 h 141"/>
                    <a:gd name="T14" fmla="*/ 17 w 141"/>
                    <a:gd name="T15" fmla="*/ 16 h 141"/>
                    <a:gd name="T16" fmla="*/ 126 w 141"/>
                    <a:gd name="T17" fmla="*/ 16 h 141"/>
                    <a:gd name="T18" fmla="*/ 126 w 141"/>
                    <a:gd name="T19" fmla="*/ 12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0" y="0"/>
                      </a:moveTo>
                      <a:lnTo>
                        <a:pt x="0" y="141"/>
                      </a:lnTo>
                      <a:lnTo>
                        <a:pt x="141" y="141"/>
                      </a:lnTo>
                      <a:lnTo>
                        <a:pt x="141" y="0"/>
                      </a:lnTo>
                      <a:lnTo>
                        <a:pt x="0" y="0"/>
                      </a:lnTo>
                      <a:close/>
                      <a:moveTo>
                        <a:pt x="126" y="124"/>
                      </a:moveTo>
                      <a:lnTo>
                        <a:pt x="17" y="124"/>
                      </a:lnTo>
                      <a:lnTo>
                        <a:pt x="17" y="16"/>
                      </a:lnTo>
                      <a:lnTo>
                        <a:pt x="126" y="16"/>
                      </a:lnTo>
                      <a:lnTo>
                        <a:pt x="126" y="124"/>
                      </a:lnTo>
                      <a:close/>
                    </a:path>
                  </a:pathLst>
                </a:custGeom>
                <a:solidFill>
                  <a:schemeClr val="tx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grpSp>
        <p:grpSp>
          <p:nvGrpSpPr>
            <p:cNvPr id="91" name="Group 90">
              <a:extLst>
                <a:ext uri="{FF2B5EF4-FFF2-40B4-BE49-F238E27FC236}">
                  <a16:creationId xmlns:a16="http://schemas.microsoft.com/office/drawing/2014/main" id="{895BC787-4399-4307-6962-83A583E76065}"/>
                </a:ext>
              </a:extLst>
            </p:cNvPr>
            <p:cNvGrpSpPr/>
            <p:nvPr/>
          </p:nvGrpSpPr>
          <p:grpSpPr>
            <a:xfrm>
              <a:off x="3540812" y="3641101"/>
              <a:ext cx="655182" cy="651370"/>
              <a:chOff x="2347098" y="3978734"/>
              <a:chExt cx="1907382" cy="1896284"/>
            </a:xfrm>
          </p:grpSpPr>
          <p:sp>
            <p:nvSpPr>
              <p:cNvPr id="92" name="Rectangle 20">
                <a:extLst>
                  <a:ext uri="{FF2B5EF4-FFF2-40B4-BE49-F238E27FC236}">
                    <a16:creationId xmlns:a16="http://schemas.microsoft.com/office/drawing/2014/main" id="{B6777AA4-548A-6C0A-416F-E3D910D84D38}"/>
                  </a:ext>
                </a:extLst>
              </p:cNvPr>
              <p:cNvSpPr>
                <a:spLocks noChangeArrowheads="1"/>
              </p:cNvSpPr>
              <p:nvPr/>
            </p:nvSpPr>
            <p:spPr bwMode="auto">
              <a:xfrm>
                <a:off x="2701960" y="4333594"/>
                <a:ext cx="1208748" cy="1197654"/>
              </a:xfrm>
              <a:prstGeom prst="rect">
                <a:avLst/>
              </a:prstGeom>
              <a:solidFill>
                <a:schemeClr val="bg1">
                  <a:lumMod val="85000"/>
                  <a:lumOff val="15000"/>
                </a:schemeClr>
              </a:solidFill>
              <a:ln w="9525">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effectLst/>
                    <a:uLnTx/>
                    <a:uFillTx/>
                    <a:latin typeface="Segoe UI" panose="020B0502040204020203" pitchFamily="34" charset="0"/>
                    <a:cs typeface="Segoe UI" panose="020B0502040204020203" pitchFamily="34" charset="0"/>
                  </a:rPr>
                  <a:t>GPU 0</a:t>
                </a:r>
              </a:p>
            </p:txBody>
          </p:sp>
          <p:grpSp>
            <p:nvGrpSpPr>
              <p:cNvPr id="93" name="Group 92">
                <a:extLst>
                  <a:ext uri="{FF2B5EF4-FFF2-40B4-BE49-F238E27FC236}">
                    <a16:creationId xmlns:a16="http://schemas.microsoft.com/office/drawing/2014/main" id="{E461A1D5-03AC-C97D-5683-79956031391D}"/>
                  </a:ext>
                </a:extLst>
              </p:cNvPr>
              <p:cNvGrpSpPr/>
              <p:nvPr/>
            </p:nvGrpSpPr>
            <p:grpSpPr>
              <a:xfrm>
                <a:off x="2347098" y="3978734"/>
                <a:ext cx="1907382" cy="1896284"/>
                <a:chOff x="2347098" y="3978734"/>
                <a:chExt cx="1907382" cy="1896284"/>
              </a:xfrm>
            </p:grpSpPr>
            <p:sp>
              <p:nvSpPr>
                <p:cNvPr id="94" name="Rectangle 6">
                  <a:extLst>
                    <a:ext uri="{FF2B5EF4-FFF2-40B4-BE49-F238E27FC236}">
                      <a16:creationId xmlns:a16="http://schemas.microsoft.com/office/drawing/2014/main" id="{ED31C1A8-3245-EF5E-ADDA-9E84BF8E9B45}"/>
                    </a:ext>
                  </a:extLst>
                </p:cNvPr>
                <p:cNvSpPr>
                  <a:spLocks noChangeArrowheads="1"/>
                </p:cNvSpPr>
                <p:nvPr/>
              </p:nvSpPr>
              <p:spPr bwMode="auto">
                <a:xfrm>
                  <a:off x="2347098" y="4666276"/>
                  <a:ext cx="16634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95" name="Rectangle 7">
                  <a:extLst>
                    <a:ext uri="{FF2B5EF4-FFF2-40B4-BE49-F238E27FC236}">
                      <a16:creationId xmlns:a16="http://schemas.microsoft.com/office/drawing/2014/main" id="{1C255951-AA38-EA3F-A80A-E9F7F5A4DC04}"/>
                    </a:ext>
                  </a:extLst>
                </p:cNvPr>
                <p:cNvSpPr>
                  <a:spLocks noChangeArrowheads="1"/>
                </p:cNvSpPr>
                <p:nvPr/>
              </p:nvSpPr>
              <p:spPr bwMode="auto">
                <a:xfrm>
                  <a:off x="2347098" y="5021136"/>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96" name="Rectangle 8">
                  <a:extLst>
                    <a:ext uri="{FF2B5EF4-FFF2-40B4-BE49-F238E27FC236}">
                      <a16:creationId xmlns:a16="http://schemas.microsoft.com/office/drawing/2014/main" id="{2173993F-F0C6-F486-A14E-660B367184DC}"/>
                    </a:ext>
                  </a:extLst>
                </p:cNvPr>
                <p:cNvSpPr>
                  <a:spLocks noChangeArrowheads="1"/>
                </p:cNvSpPr>
                <p:nvPr/>
              </p:nvSpPr>
              <p:spPr bwMode="auto">
                <a:xfrm>
                  <a:off x="2347098" y="5364907"/>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97" name="Rectangle 9">
                  <a:extLst>
                    <a:ext uri="{FF2B5EF4-FFF2-40B4-BE49-F238E27FC236}">
                      <a16:creationId xmlns:a16="http://schemas.microsoft.com/office/drawing/2014/main" id="{E77A49B3-1D52-2D5D-DFBA-D10C78421B07}"/>
                    </a:ext>
                  </a:extLst>
                </p:cNvPr>
                <p:cNvSpPr>
                  <a:spLocks noChangeArrowheads="1"/>
                </p:cNvSpPr>
                <p:nvPr/>
              </p:nvSpPr>
              <p:spPr bwMode="auto">
                <a:xfrm>
                  <a:off x="2347098" y="4333594"/>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98" name="Rectangle 10">
                  <a:extLst>
                    <a:ext uri="{FF2B5EF4-FFF2-40B4-BE49-F238E27FC236}">
                      <a16:creationId xmlns:a16="http://schemas.microsoft.com/office/drawing/2014/main" id="{BC28C6D3-AAE9-0E88-8FDF-55C099A7C13F}"/>
                    </a:ext>
                  </a:extLst>
                </p:cNvPr>
                <p:cNvSpPr>
                  <a:spLocks noChangeArrowheads="1"/>
                </p:cNvSpPr>
                <p:nvPr/>
              </p:nvSpPr>
              <p:spPr bwMode="auto">
                <a:xfrm>
                  <a:off x="4077049" y="4666276"/>
                  <a:ext cx="17743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99" name="Freeform 11">
                  <a:extLst>
                    <a:ext uri="{FF2B5EF4-FFF2-40B4-BE49-F238E27FC236}">
                      <a16:creationId xmlns:a16="http://schemas.microsoft.com/office/drawing/2014/main" id="{7B754E69-B95D-0A36-D476-4B62E08025C0}"/>
                    </a:ext>
                  </a:extLst>
                </p:cNvPr>
                <p:cNvSpPr>
                  <a:spLocks/>
                </p:cNvSpPr>
                <p:nvPr/>
              </p:nvSpPr>
              <p:spPr bwMode="auto">
                <a:xfrm>
                  <a:off x="4077049" y="5364907"/>
                  <a:ext cx="177431" cy="166341"/>
                </a:xfrm>
                <a:custGeom>
                  <a:avLst/>
                  <a:gdLst>
                    <a:gd name="T0" fmla="*/ 0 w 16"/>
                    <a:gd name="T1" fmla="*/ 0 h 15"/>
                    <a:gd name="T2" fmla="*/ 0 w 16"/>
                    <a:gd name="T3" fmla="*/ 15 h 15"/>
                    <a:gd name="T4" fmla="*/ 15 w 16"/>
                    <a:gd name="T5" fmla="*/ 15 h 15"/>
                    <a:gd name="T6" fmla="*/ 16 w 16"/>
                    <a:gd name="T7" fmla="*/ 15 h 15"/>
                    <a:gd name="T8" fmla="*/ 16 w 16"/>
                    <a:gd name="T9" fmla="*/ 0 h 15"/>
                    <a:gd name="T10" fmla="*/ 15 w 16"/>
                    <a:gd name="T11" fmla="*/ 0 h 15"/>
                    <a:gd name="T12" fmla="*/ 0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0" y="0"/>
                      </a:moveTo>
                      <a:lnTo>
                        <a:pt x="0" y="15"/>
                      </a:lnTo>
                      <a:lnTo>
                        <a:pt x="15" y="15"/>
                      </a:lnTo>
                      <a:lnTo>
                        <a:pt x="16" y="15"/>
                      </a:lnTo>
                      <a:lnTo>
                        <a:pt x="16" y="0"/>
                      </a:lnTo>
                      <a:lnTo>
                        <a:pt x="15" y="0"/>
                      </a:lnTo>
                      <a:lnTo>
                        <a:pt x="0"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00" name="Rectangle 12">
                  <a:extLst>
                    <a:ext uri="{FF2B5EF4-FFF2-40B4-BE49-F238E27FC236}">
                      <a16:creationId xmlns:a16="http://schemas.microsoft.com/office/drawing/2014/main" id="{F1AF67B4-2CA1-0930-2357-5AD11E088827}"/>
                    </a:ext>
                  </a:extLst>
                </p:cNvPr>
                <p:cNvSpPr>
                  <a:spLocks noChangeArrowheads="1"/>
                </p:cNvSpPr>
                <p:nvPr/>
              </p:nvSpPr>
              <p:spPr bwMode="auto">
                <a:xfrm>
                  <a:off x="3045732"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01" name="Rectangle 13">
                  <a:extLst>
                    <a:ext uri="{FF2B5EF4-FFF2-40B4-BE49-F238E27FC236}">
                      <a16:creationId xmlns:a16="http://schemas.microsoft.com/office/drawing/2014/main" id="{57342DAD-95C9-F1F7-B976-8B1389040A82}"/>
                    </a:ext>
                  </a:extLst>
                </p:cNvPr>
                <p:cNvSpPr>
                  <a:spLocks noChangeArrowheads="1"/>
                </p:cNvSpPr>
                <p:nvPr/>
              </p:nvSpPr>
              <p:spPr bwMode="auto">
                <a:xfrm>
                  <a:off x="2701960"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02" name="Freeform 14">
                  <a:extLst>
                    <a:ext uri="{FF2B5EF4-FFF2-40B4-BE49-F238E27FC236}">
                      <a16:creationId xmlns:a16="http://schemas.microsoft.com/office/drawing/2014/main" id="{ABDA81F6-6E09-CEF0-4263-7C8F552A8FF3}"/>
                    </a:ext>
                  </a:extLst>
                </p:cNvPr>
                <p:cNvSpPr>
                  <a:spLocks/>
                </p:cNvSpPr>
                <p:nvPr/>
              </p:nvSpPr>
              <p:spPr bwMode="auto">
                <a:xfrm>
                  <a:off x="2690870" y="3978734"/>
                  <a:ext cx="166341" cy="177430"/>
                </a:xfrm>
                <a:custGeom>
                  <a:avLst/>
                  <a:gdLst>
                    <a:gd name="T0" fmla="*/ 15 w 15"/>
                    <a:gd name="T1" fmla="*/ 1 h 16"/>
                    <a:gd name="T2" fmla="*/ 15 w 15"/>
                    <a:gd name="T3" fmla="*/ 0 h 16"/>
                    <a:gd name="T4" fmla="*/ 0 w 15"/>
                    <a:gd name="T5" fmla="*/ 0 h 16"/>
                    <a:gd name="T6" fmla="*/ 0 w 15"/>
                    <a:gd name="T7" fmla="*/ 1 h 16"/>
                    <a:gd name="T8" fmla="*/ 0 w 15"/>
                    <a:gd name="T9" fmla="*/ 16 h 16"/>
                    <a:gd name="T10" fmla="*/ 15 w 15"/>
                    <a:gd name="T11" fmla="*/ 16 h 16"/>
                    <a:gd name="T12" fmla="*/ 15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5" y="1"/>
                      </a:moveTo>
                      <a:lnTo>
                        <a:pt x="15" y="0"/>
                      </a:lnTo>
                      <a:lnTo>
                        <a:pt x="0" y="0"/>
                      </a:lnTo>
                      <a:lnTo>
                        <a:pt x="0" y="1"/>
                      </a:lnTo>
                      <a:lnTo>
                        <a:pt x="0" y="16"/>
                      </a:lnTo>
                      <a:lnTo>
                        <a:pt x="15" y="16"/>
                      </a:lnTo>
                      <a:lnTo>
                        <a:pt x="15" y="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03" name="Rectangle 15">
                  <a:extLst>
                    <a:ext uri="{FF2B5EF4-FFF2-40B4-BE49-F238E27FC236}">
                      <a16:creationId xmlns:a16="http://schemas.microsoft.com/office/drawing/2014/main" id="{AB2E018D-3BFD-1EA4-7F65-61EB46EFC049}"/>
                    </a:ext>
                  </a:extLst>
                </p:cNvPr>
                <p:cNvSpPr>
                  <a:spLocks noChangeArrowheads="1"/>
                </p:cNvSpPr>
                <p:nvPr/>
              </p:nvSpPr>
              <p:spPr bwMode="auto">
                <a:xfrm>
                  <a:off x="3733277"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04" name="Rectangle 16">
                  <a:extLst>
                    <a:ext uri="{FF2B5EF4-FFF2-40B4-BE49-F238E27FC236}">
                      <a16:creationId xmlns:a16="http://schemas.microsoft.com/office/drawing/2014/main" id="{2D9B2D5F-659E-BB13-12D8-B6FAFC0A2D7B}"/>
                    </a:ext>
                  </a:extLst>
                </p:cNvPr>
                <p:cNvSpPr>
                  <a:spLocks noChangeArrowheads="1"/>
                </p:cNvSpPr>
                <p:nvPr/>
              </p:nvSpPr>
              <p:spPr bwMode="auto">
                <a:xfrm>
                  <a:off x="3378415"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05" name="Freeform 17">
                  <a:extLst>
                    <a:ext uri="{FF2B5EF4-FFF2-40B4-BE49-F238E27FC236}">
                      <a16:creationId xmlns:a16="http://schemas.microsoft.com/office/drawing/2014/main" id="{2E2EE796-89A8-44B0-DA99-50FAE2AA4AEF}"/>
                    </a:ext>
                  </a:extLst>
                </p:cNvPr>
                <p:cNvSpPr>
                  <a:spLocks/>
                </p:cNvSpPr>
                <p:nvPr/>
              </p:nvSpPr>
              <p:spPr bwMode="auto">
                <a:xfrm>
                  <a:off x="4077049" y="5010047"/>
                  <a:ext cx="177431" cy="177430"/>
                </a:xfrm>
                <a:custGeom>
                  <a:avLst/>
                  <a:gdLst>
                    <a:gd name="T0" fmla="*/ 16 w 16"/>
                    <a:gd name="T1" fmla="*/ 0 h 16"/>
                    <a:gd name="T2" fmla="*/ 0 w 16"/>
                    <a:gd name="T3" fmla="*/ 0 h 16"/>
                    <a:gd name="T4" fmla="*/ 0 w 16"/>
                    <a:gd name="T5" fmla="*/ 1 h 16"/>
                    <a:gd name="T6" fmla="*/ 0 w 16"/>
                    <a:gd name="T7" fmla="*/ 16 h 16"/>
                    <a:gd name="T8" fmla="*/ 16 w 16"/>
                    <a:gd name="T9" fmla="*/ 16 h 16"/>
                    <a:gd name="T10" fmla="*/ 16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16" y="0"/>
                      </a:moveTo>
                      <a:lnTo>
                        <a:pt x="0" y="0"/>
                      </a:lnTo>
                      <a:lnTo>
                        <a:pt x="0" y="1"/>
                      </a:lnTo>
                      <a:lnTo>
                        <a:pt x="0" y="16"/>
                      </a:lnTo>
                      <a:lnTo>
                        <a:pt x="16" y="16"/>
                      </a:lnTo>
                      <a:lnTo>
                        <a:pt x="16"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06" name="Freeform 18">
                  <a:extLst>
                    <a:ext uri="{FF2B5EF4-FFF2-40B4-BE49-F238E27FC236}">
                      <a16:creationId xmlns:a16="http://schemas.microsoft.com/office/drawing/2014/main" id="{281845EF-C74B-FAA3-5100-D12132A961FF}"/>
                    </a:ext>
                  </a:extLst>
                </p:cNvPr>
                <p:cNvSpPr>
                  <a:spLocks/>
                </p:cNvSpPr>
                <p:nvPr/>
              </p:nvSpPr>
              <p:spPr bwMode="auto">
                <a:xfrm>
                  <a:off x="4032691" y="4311415"/>
                  <a:ext cx="221789" cy="177430"/>
                </a:xfrm>
                <a:custGeom>
                  <a:avLst/>
                  <a:gdLst>
                    <a:gd name="T0" fmla="*/ 0 w 20"/>
                    <a:gd name="T1" fmla="*/ 16 h 16"/>
                    <a:gd name="T2" fmla="*/ 20 w 20"/>
                    <a:gd name="T3" fmla="*/ 16 h 16"/>
                    <a:gd name="T4" fmla="*/ 20 w 20"/>
                    <a:gd name="T5" fmla="*/ 2 h 16"/>
                    <a:gd name="T6" fmla="*/ 20 w 20"/>
                    <a:gd name="T7" fmla="*/ 0 h 16"/>
                    <a:gd name="T8" fmla="*/ 4 w 20"/>
                    <a:gd name="T9" fmla="*/ 0 h 16"/>
                    <a:gd name="T10" fmla="*/ 4 w 20"/>
                    <a:gd name="T11" fmla="*/ 2 h 16"/>
                    <a:gd name="T12" fmla="*/ 0 w 2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0" h="16">
                      <a:moveTo>
                        <a:pt x="0" y="16"/>
                      </a:moveTo>
                      <a:lnTo>
                        <a:pt x="20" y="16"/>
                      </a:lnTo>
                      <a:lnTo>
                        <a:pt x="20" y="2"/>
                      </a:lnTo>
                      <a:lnTo>
                        <a:pt x="20" y="0"/>
                      </a:lnTo>
                      <a:lnTo>
                        <a:pt x="4" y="0"/>
                      </a:lnTo>
                      <a:lnTo>
                        <a:pt x="4" y="2"/>
                      </a:lnTo>
                      <a:lnTo>
                        <a:pt x="0" y="16"/>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07" name="Freeform 19">
                  <a:extLst>
                    <a:ext uri="{FF2B5EF4-FFF2-40B4-BE49-F238E27FC236}">
                      <a16:creationId xmlns:a16="http://schemas.microsoft.com/office/drawing/2014/main" id="{1569DCE4-8287-AB09-199B-6B24576E94A1}"/>
                    </a:ext>
                  </a:extLst>
                </p:cNvPr>
                <p:cNvSpPr>
                  <a:spLocks/>
                </p:cNvSpPr>
                <p:nvPr/>
              </p:nvSpPr>
              <p:spPr bwMode="auto">
                <a:xfrm>
                  <a:off x="3045732" y="3978734"/>
                  <a:ext cx="864976" cy="232877"/>
                </a:xfrm>
                <a:custGeom>
                  <a:avLst/>
                  <a:gdLst>
                    <a:gd name="T0" fmla="*/ 0 w 78"/>
                    <a:gd name="T1" fmla="*/ 21 h 21"/>
                    <a:gd name="T2" fmla="*/ 15 w 78"/>
                    <a:gd name="T3" fmla="*/ 21 h 21"/>
                    <a:gd name="T4" fmla="*/ 15 w 78"/>
                    <a:gd name="T5" fmla="*/ 21 h 21"/>
                    <a:gd name="T6" fmla="*/ 32 w 78"/>
                    <a:gd name="T7" fmla="*/ 21 h 21"/>
                    <a:gd name="T8" fmla="*/ 46 w 78"/>
                    <a:gd name="T9" fmla="*/ 21 h 21"/>
                    <a:gd name="T10" fmla="*/ 46 w 78"/>
                    <a:gd name="T11" fmla="*/ 21 h 21"/>
                    <a:gd name="T12" fmla="*/ 62 w 78"/>
                    <a:gd name="T13" fmla="*/ 21 h 21"/>
                    <a:gd name="T14" fmla="*/ 78 w 78"/>
                    <a:gd name="T15" fmla="*/ 21 h 21"/>
                    <a:gd name="T16" fmla="*/ 78 w 78"/>
                    <a:gd name="T17" fmla="*/ 0 h 21"/>
                    <a:gd name="T18" fmla="*/ 62 w 78"/>
                    <a:gd name="T19" fmla="*/ 0 h 21"/>
                    <a:gd name="T20" fmla="*/ 62 w 78"/>
                    <a:gd name="T21" fmla="*/ 21 h 21"/>
                    <a:gd name="T22" fmla="*/ 46 w 78"/>
                    <a:gd name="T23" fmla="*/ 21 h 21"/>
                    <a:gd name="T24" fmla="*/ 46 w 78"/>
                    <a:gd name="T25" fmla="*/ 18 h 21"/>
                    <a:gd name="T26" fmla="*/ 46 w 78"/>
                    <a:gd name="T27" fmla="*/ 0 h 21"/>
                    <a:gd name="T28" fmla="*/ 32 w 78"/>
                    <a:gd name="T29" fmla="*/ 0 h 21"/>
                    <a:gd name="T30" fmla="*/ 32 w 78"/>
                    <a:gd name="T31" fmla="*/ 21 h 21"/>
                    <a:gd name="T32" fmla="*/ 15 w 78"/>
                    <a:gd name="T33" fmla="*/ 21 h 21"/>
                    <a:gd name="T34" fmla="*/ 15 w 78"/>
                    <a:gd name="T35" fmla="*/ 21 h 21"/>
                    <a:gd name="T36" fmla="*/ 15 w 78"/>
                    <a:gd name="T37" fmla="*/ 19 h 21"/>
                    <a:gd name="T38" fmla="*/ 15 w 78"/>
                    <a:gd name="T39" fmla="*/ 18 h 21"/>
                    <a:gd name="T40" fmla="*/ 15 w 78"/>
                    <a:gd name="T41" fmla="*/ 18 h 21"/>
                    <a:gd name="T42" fmla="*/ 15 w 78"/>
                    <a:gd name="T43" fmla="*/ 0 h 21"/>
                    <a:gd name="T44" fmla="*/ 0 w 78"/>
                    <a:gd name="T45" fmla="*/ 0 h 21"/>
                    <a:gd name="T46" fmla="*/ 0 w 78"/>
                    <a:gd name="T47" fmla="*/ 1 h 21"/>
                    <a:gd name="T48" fmla="*/ 0 w 78"/>
                    <a:gd name="T4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21">
                      <a:moveTo>
                        <a:pt x="0" y="21"/>
                      </a:moveTo>
                      <a:lnTo>
                        <a:pt x="15" y="21"/>
                      </a:lnTo>
                      <a:lnTo>
                        <a:pt x="15" y="21"/>
                      </a:lnTo>
                      <a:lnTo>
                        <a:pt x="32" y="21"/>
                      </a:lnTo>
                      <a:lnTo>
                        <a:pt x="46" y="21"/>
                      </a:lnTo>
                      <a:lnTo>
                        <a:pt x="46" y="21"/>
                      </a:lnTo>
                      <a:lnTo>
                        <a:pt x="62" y="21"/>
                      </a:lnTo>
                      <a:lnTo>
                        <a:pt x="78" y="21"/>
                      </a:lnTo>
                      <a:lnTo>
                        <a:pt x="78" y="0"/>
                      </a:lnTo>
                      <a:lnTo>
                        <a:pt x="62" y="0"/>
                      </a:lnTo>
                      <a:lnTo>
                        <a:pt x="62" y="21"/>
                      </a:lnTo>
                      <a:lnTo>
                        <a:pt x="46" y="21"/>
                      </a:lnTo>
                      <a:lnTo>
                        <a:pt x="46" y="18"/>
                      </a:lnTo>
                      <a:lnTo>
                        <a:pt x="46" y="0"/>
                      </a:lnTo>
                      <a:lnTo>
                        <a:pt x="32" y="0"/>
                      </a:lnTo>
                      <a:lnTo>
                        <a:pt x="32" y="21"/>
                      </a:lnTo>
                      <a:lnTo>
                        <a:pt x="15" y="21"/>
                      </a:lnTo>
                      <a:lnTo>
                        <a:pt x="15" y="21"/>
                      </a:lnTo>
                      <a:lnTo>
                        <a:pt x="15" y="19"/>
                      </a:lnTo>
                      <a:lnTo>
                        <a:pt x="15" y="18"/>
                      </a:lnTo>
                      <a:lnTo>
                        <a:pt x="15" y="18"/>
                      </a:lnTo>
                      <a:lnTo>
                        <a:pt x="15" y="0"/>
                      </a:lnTo>
                      <a:lnTo>
                        <a:pt x="0" y="0"/>
                      </a:lnTo>
                      <a:lnTo>
                        <a:pt x="0" y="1"/>
                      </a:lnTo>
                      <a:lnTo>
                        <a:pt x="0" y="2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08" name="Freeform 22">
                  <a:extLst>
                    <a:ext uri="{FF2B5EF4-FFF2-40B4-BE49-F238E27FC236}">
                      <a16:creationId xmlns:a16="http://schemas.microsoft.com/office/drawing/2014/main" id="{25412459-A541-DD3E-A800-F6BE2C5FDA1C}"/>
                    </a:ext>
                  </a:extLst>
                </p:cNvPr>
                <p:cNvSpPr>
                  <a:spLocks noEditPoints="1"/>
                </p:cNvSpPr>
                <p:nvPr/>
              </p:nvSpPr>
              <p:spPr bwMode="auto">
                <a:xfrm>
                  <a:off x="2513439" y="4156164"/>
                  <a:ext cx="1563610" cy="1563603"/>
                </a:xfrm>
                <a:custGeom>
                  <a:avLst/>
                  <a:gdLst>
                    <a:gd name="T0" fmla="*/ 0 w 141"/>
                    <a:gd name="T1" fmla="*/ 0 h 141"/>
                    <a:gd name="T2" fmla="*/ 0 w 141"/>
                    <a:gd name="T3" fmla="*/ 141 h 141"/>
                    <a:gd name="T4" fmla="*/ 141 w 141"/>
                    <a:gd name="T5" fmla="*/ 141 h 141"/>
                    <a:gd name="T6" fmla="*/ 141 w 141"/>
                    <a:gd name="T7" fmla="*/ 0 h 141"/>
                    <a:gd name="T8" fmla="*/ 0 w 141"/>
                    <a:gd name="T9" fmla="*/ 0 h 141"/>
                    <a:gd name="T10" fmla="*/ 126 w 141"/>
                    <a:gd name="T11" fmla="*/ 124 h 141"/>
                    <a:gd name="T12" fmla="*/ 17 w 141"/>
                    <a:gd name="T13" fmla="*/ 124 h 141"/>
                    <a:gd name="T14" fmla="*/ 17 w 141"/>
                    <a:gd name="T15" fmla="*/ 16 h 141"/>
                    <a:gd name="T16" fmla="*/ 126 w 141"/>
                    <a:gd name="T17" fmla="*/ 16 h 141"/>
                    <a:gd name="T18" fmla="*/ 126 w 141"/>
                    <a:gd name="T19" fmla="*/ 12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0" y="0"/>
                      </a:moveTo>
                      <a:lnTo>
                        <a:pt x="0" y="141"/>
                      </a:lnTo>
                      <a:lnTo>
                        <a:pt x="141" y="141"/>
                      </a:lnTo>
                      <a:lnTo>
                        <a:pt x="141" y="0"/>
                      </a:lnTo>
                      <a:lnTo>
                        <a:pt x="0" y="0"/>
                      </a:lnTo>
                      <a:close/>
                      <a:moveTo>
                        <a:pt x="126" y="124"/>
                      </a:moveTo>
                      <a:lnTo>
                        <a:pt x="17" y="124"/>
                      </a:lnTo>
                      <a:lnTo>
                        <a:pt x="17" y="16"/>
                      </a:lnTo>
                      <a:lnTo>
                        <a:pt x="126" y="16"/>
                      </a:lnTo>
                      <a:lnTo>
                        <a:pt x="126" y="124"/>
                      </a:lnTo>
                      <a:close/>
                    </a:path>
                  </a:pathLst>
                </a:custGeom>
                <a:solidFill>
                  <a:schemeClr val="tx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grpSp>
        <p:grpSp>
          <p:nvGrpSpPr>
            <p:cNvPr id="109" name="Group 108">
              <a:extLst>
                <a:ext uri="{FF2B5EF4-FFF2-40B4-BE49-F238E27FC236}">
                  <a16:creationId xmlns:a16="http://schemas.microsoft.com/office/drawing/2014/main" id="{CF60CEAF-D634-F845-CB83-FCD15B013F2D}"/>
                </a:ext>
              </a:extLst>
            </p:cNvPr>
            <p:cNvGrpSpPr/>
            <p:nvPr/>
          </p:nvGrpSpPr>
          <p:grpSpPr>
            <a:xfrm>
              <a:off x="4543216" y="3641101"/>
              <a:ext cx="655182" cy="651370"/>
              <a:chOff x="2347098" y="3978734"/>
              <a:chExt cx="1907382" cy="1896284"/>
            </a:xfrm>
          </p:grpSpPr>
          <p:sp>
            <p:nvSpPr>
              <p:cNvPr id="110" name="Rectangle 20">
                <a:extLst>
                  <a:ext uri="{FF2B5EF4-FFF2-40B4-BE49-F238E27FC236}">
                    <a16:creationId xmlns:a16="http://schemas.microsoft.com/office/drawing/2014/main" id="{9CA7B0E4-62B0-9852-A6F6-9393CFF2617B}"/>
                  </a:ext>
                </a:extLst>
              </p:cNvPr>
              <p:cNvSpPr>
                <a:spLocks noChangeArrowheads="1"/>
              </p:cNvSpPr>
              <p:nvPr/>
            </p:nvSpPr>
            <p:spPr bwMode="auto">
              <a:xfrm>
                <a:off x="2701960" y="4333594"/>
                <a:ext cx="1208748" cy="1197654"/>
              </a:xfrm>
              <a:prstGeom prst="rect">
                <a:avLst/>
              </a:prstGeom>
              <a:solidFill>
                <a:schemeClr val="bg1">
                  <a:lumMod val="85000"/>
                  <a:lumOff val="15000"/>
                </a:schemeClr>
              </a:solidFill>
              <a:ln w="9525">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effectLst/>
                    <a:uLnTx/>
                    <a:uFillTx/>
                    <a:latin typeface="Segoe UI" panose="020B0502040204020203" pitchFamily="34" charset="0"/>
                    <a:cs typeface="Segoe UI" panose="020B0502040204020203" pitchFamily="34" charset="0"/>
                  </a:rPr>
                  <a:t>GPU 1</a:t>
                </a:r>
              </a:p>
            </p:txBody>
          </p:sp>
          <p:grpSp>
            <p:nvGrpSpPr>
              <p:cNvPr id="111" name="Group 110">
                <a:extLst>
                  <a:ext uri="{FF2B5EF4-FFF2-40B4-BE49-F238E27FC236}">
                    <a16:creationId xmlns:a16="http://schemas.microsoft.com/office/drawing/2014/main" id="{EADF1E96-6444-A82D-8D91-E43CC6D38977}"/>
                  </a:ext>
                </a:extLst>
              </p:cNvPr>
              <p:cNvGrpSpPr/>
              <p:nvPr/>
            </p:nvGrpSpPr>
            <p:grpSpPr>
              <a:xfrm>
                <a:off x="2347098" y="3978734"/>
                <a:ext cx="1907382" cy="1896284"/>
                <a:chOff x="2347098" y="3978734"/>
                <a:chExt cx="1907382" cy="1896284"/>
              </a:xfrm>
            </p:grpSpPr>
            <p:sp>
              <p:nvSpPr>
                <p:cNvPr id="112" name="Rectangle 6">
                  <a:extLst>
                    <a:ext uri="{FF2B5EF4-FFF2-40B4-BE49-F238E27FC236}">
                      <a16:creationId xmlns:a16="http://schemas.microsoft.com/office/drawing/2014/main" id="{0E196293-E40A-3F95-1328-343E9984905E}"/>
                    </a:ext>
                  </a:extLst>
                </p:cNvPr>
                <p:cNvSpPr>
                  <a:spLocks noChangeArrowheads="1"/>
                </p:cNvSpPr>
                <p:nvPr/>
              </p:nvSpPr>
              <p:spPr bwMode="auto">
                <a:xfrm>
                  <a:off x="2347098" y="4666276"/>
                  <a:ext cx="16634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13" name="Rectangle 7">
                  <a:extLst>
                    <a:ext uri="{FF2B5EF4-FFF2-40B4-BE49-F238E27FC236}">
                      <a16:creationId xmlns:a16="http://schemas.microsoft.com/office/drawing/2014/main" id="{72B5D61A-F21C-8454-78A6-57727869CCA6}"/>
                    </a:ext>
                  </a:extLst>
                </p:cNvPr>
                <p:cNvSpPr>
                  <a:spLocks noChangeArrowheads="1"/>
                </p:cNvSpPr>
                <p:nvPr/>
              </p:nvSpPr>
              <p:spPr bwMode="auto">
                <a:xfrm>
                  <a:off x="2347098" y="5021136"/>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14" name="Rectangle 8">
                  <a:extLst>
                    <a:ext uri="{FF2B5EF4-FFF2-40B4-BE49-F238E27FC236}">
                      <a16:creationId xmlns:a16="http://schemas.microsoft.com/office/drawing/2014/main" id="{6BB0D7D8-1DD1-C1BC-5F28-F40D5E8A6793}"/>
                    </a:ext>
                  </a:extLst>
                </p:cNvPr>
                <p:cNvSpPr>
                  <a:spLocks noChangeArrowheads="1"/>
                </p:cNvSpPr>
                <p:nvPr/>
              </p:nvSpPr>
              <p:spPr bwMode="auto">
                <a:xfrm>
                  <a:off x="2347098" y="5364907"/>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15" name="Rectangle 9">
                  <a:extLst>
                    <a:ext uri="{FF2B5EF4-FFF2-40B4-BE49-F238E27FC236}">
                      <a16:creationId xmlns:a16="http://schemas.microsoft.com/office/drawing/2014/main" id="{2B5D2ADA-B1DD-A40D-421D-72A3E58C00C6}"/>
                    </a:ext>
                  </a:extLst>
                </p:cNvPr>
                <p:cNvSpPr>
                  <a:spLocks noChangeArrowheads="1"/>
                </p:cNvSpPr>
                <p:nvPr/>
              </p:nvSpPr>
              <p:spPr bwMode="auto">
                <a:xfrm>
                  <a:off x="2347098" y="4333594"/>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16" name="Rectangle 10">
                  <a:extLst>
                    <a:ext uri="{FF2B5EF4-FFF2-40B4-BE49-F238E27FC236}">
                      <a16:creationId xmlns:a16="http://schemas.microsoft.com/office/drawing/2014/main" id="{B9B9B7ED-8447-9072-4D0B-C68FC13FB72C}"/>
                    </a:ext>
                  </a:extLst>
                </p:cNvPr>
                <p:cNvSpPr>
                  <a:spLocks noChangeArrowheads="1"/>
                </p:cNvSpPr>
                <p:nvPr/>
              </p:nvSpPr>
              <p:spPr bwMode="auto">
                <a:xfrm>
                  <a:off x="4077049" y="4666276"/>
                  <a:ext cx="17743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17" name="Freeform 11">
                  <a:extLst>
                    <a:ext uri="{FF2B5EF4-FFF2-40B4-BE49-F238E27FC236}">
                      <a16:creationId xmlns:a16="http://schemas.microsoft.com/office/drawing/2014/main" id="{E997A473-6FED-1719-9D8F-5E6BCCCB50A2}"/>
                    </a:ext>
                  </a:extLst>
                </p:cNvPr>
                <p:cNvSpPr>
                  <a:spLocks/>
                </p:cNvSpPr>
                <p:nvPr/>
              </p:nvSpPr>
              <p:spPr bwMode="auto">
                <a:xfrm>
                  <a:off x="4077049" y="5364907"/>
                  <a:ext cx="177431" cy="166341"/>
                </a:xfrm>
                <a:custGeom>
                  <a:avLst/>
                  <a:gdLst>
                    <a:gd name="T0" fmla="*/ 0 w 16"/>
                    <a:gd name="T1" fmla="*/ 0 h 15"/>
                    <a:gd name="T2" fmla="*/ 0 w 16"/>
                    <a:gd name="T3" fmla="*/ 15 h 15"/>
                    <a:gd name="T4" fmla="*/ 15 w 16"/>
                    <a:gd name="T5" fmla="*/ 15 h 15"/>
                    <a:gd name="T6" fmla="*/ 16 w 16"/>
                    <a:gd name="T7" fmla="*/ 15 h 15"/>
                    <a:gd name="T8" fmla="*/ 16 w 16"/>
                    <a:gd name="T9" fmla="*/ 0 h 15"/>
                    <a:gd name="T10" fmla="*/ 15 w 16"/>
                    <a:gd name="T11" fmla="*/ 0 h 15"/>
                    <a:gd name="T12" fmla="*/ 0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0" y="0"/>
                      </a:moveTo>
                      <a:lnTo>
                        <a:pt x="0" y="15"/>
                      </a:lnTo>
                      <a:lnTo>
                        <a:pt x="15" y="15"/>
                      </a:lnTo>
                      <a:lnTo>
                        <a:pt x="16" y="15"/>
                      </a:lnTo>
                      <a:lnTo>
                        <a:pt x="16" y="0"/>
                      </a:lnTo>
                      <a:lnTo>
                        <a:pt x="15" y="0"/>
                      </a:lnTo>
                      <a:lnTo>
                        <a:pt x="0"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18" name="Rectangle 12">
                  <a:extLst>
                    <a:ext uri="{FF2B5EF4-FFF2-40B4-BE49-F238E27FC236}">
                      <a16:creationId xmlns:a16="http://schemas.microsoft.com/office/drawing/2014/main" id="{EA68B7EA-7661-91EC-2D50-12889175A807}"/>
                    </a:ext>
                  </a:extLst>
                </p:cNvPr>
                <p:cNvSpPr>
                  <a:spLocks noChangeArrowheads="1"/>
                </p:cNvSpPr>
                <p:nvPr/>
              </p:nvSpPr>
              <p:spPr bwMode="auto">
                <a:xfrm>
                  <a:off x="3045732"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19" name="Rectangle 13">
                  <a:extLst>
                    <a:ext uri="{FF2B5EF4-FFF2-40B4-BE49-F238E27FC236}">
                      <a16:creationId xmlns:a16="http://schemas.microsoft.com/office/drawing/2014/main" id="{0C312A9E-F35A-548B-92C1-9367149633F6}"/>
                    </a:ext>
                  </a:extLst>
                </p:cNvPr>
                <p:cNvSpPr>
                  <a:spLocks noChangeArrowheads="1"/>
                </p:cNvSpPr>
                <p:nvPr/>
              </p:nvSpPr>
              <p:spPr bwMode="auto">
                <a:xfrm>
                  <a:off x="2701960"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20" name="Freeform 14">
                  <a:extLst>
                    <a:ext uri="{FF2B5EF4-FFF2-40B4-BE49-F238E27FC236}">
                      <a16:creationId xmlns:a16="http://schemas.microsoft.com/office/drawing/2014/main" id="{0322EEF5-A2EF-DF88-2B5A-B3D5916CA739}"/>
                    </a:ext>
                  </a:extLst>
                </p:cNvPr>
                <p:cNvSpPr>
                  <a:spLocks/>
                </p:cNvSpPr>
                <p:nvPr/>
              </p:nvSpPr>
              <p:spPr bwMode="auto">
                <a:xfrm>
                  <a:off x="2690870" y="3978734"/>
                  <a:ext cx="166341" cy="177430"/>
                </a:xfrm>
                <a:custGeom>
                  <a:avLst/>
                  <a:gdLst>
                    <a:gd name="T0" fmla="*/ 15 w 15"/>
                    <a:gd name="T1" fmla="*/ 1 h 16"/>
                    <a:gd name="T2" fmla="*/ 15 w 15"/>
                    <a:gd name="T3" fmla="*/ 0 h 16"/>
                    <a:gd name="T4" fmla="*/ 0 w 15"/>
                    <a:gd name="T5" fmla="*/ 0 h 16"/>
                    <a:gd name="T6" fmla="*/ 0 w 15"/>
                    <a:gd name="T7" fmla="*/ 1 h 16"/>
                    <a:gd name="T8" fmla="*/ 0 w 15"/>
                    <a:gd name="T9" fmla="*/ 16 h 16"/>
                    <a:gd name="T10" fmla="*/ 15 w 15"/>
                    <a:gd name="T11" fmla="*/ 16 h 16"/>
                    <a:gd name="T12" fmla="*/ 15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5" y="1"/>
                      </a:moveTo>
                      <a:lnTo>
                        <a:pt x="15" y="0"/>
                      </a:lnTo>
                      <a:lnTo>
                        <a:pt x="0" y="0"/>
                      </a:lnTo>
                      <a:lnTo>
                        <a:pt x="0" y="1"/>
                      </a:lnTo>
                      <a:lnTo>
                        <a:pt x="0" y="16"/>
                      </a:lnTo>
                      <a:lnTo>
                        <a:pt x="15" y="16"/>
                      </a:lnTo>
                      <a:lnTo>
                        <a:pt x="15" y="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21" name="Rectangle 15">
                  <a:extLst>
                    <a:ext uri="{FF2B5EF4-FFF2-40B4-BE49-F238E27FC236}">
                      <a16:creationId xmlns:a16="http://schemas.microsoft.com/office/drawing/2014/main" id="{3B0F736B-4A92-DB7F-FC1F-4110B81B208A}"/>
                    </a:ext>
                  </a:extLst>
                </p:cNvPr>
                <p:cNvSpPr>
                  <a:spLocks noChangeArrowheads="1"/>
                </p:cNvSpPr>
                <p:nvPr/>
              </p:nvSpPr>
              <p:spPr bwMode="auto">
                <a:xfrm>
                  <a:off x="3733277"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22" name="Rectangle 16">
                  <a:extLst>
                    <a:ext uri="{FF2B5EF4-FFF2-40B4-BE49-F238E27FC236}">
                      <a16:creationId xmlns:a16="http://schemas.microsoft.com/office/drawing/2014/main" id="{B9705205-2E9D-C2D9-3D44-5F42DCC0C149}"/>
                    </a:ext>
                  </a:extLst>
                </p:cNvPr>
                <p:cNvSpPr>
                  <a:spLocks noChangeArrowheads="1"/>
                </p:cNvSpPr>
                <p:nvPr/>
              </p:nvSpPr>
              <p:spPr bwMode="auto">
                <a:xfrm>
                  <a:off x="3378415"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23" name="Freeform 17">
                  <a:extLst>
                    <a:ext uri="{FF2B5EF4-FFF2-40B4-BE49-F238E27FC236}">
                      <a16:creationId xmlns:a16="http://schemas.microsoft.com/office/drawing/2014/main" id="{6DF3A2FE-E8A6-23F6-29CD-0C30421DA64D}"/>
                    </a:ext>
                  </a:extLst>
                </p:cNvPr>
                <p:cNvSpPr>
                  <a:spLocks/>
                </p:cNvSpPr>
                <p:nvPr/>
              </p:nvSpPr>
              <p:spPr bwMode="auto">
                <a:xfrm>
                  <a:off x="4077049" y="5010047"/>
                  <a:ext cx="177431" cy="177430"/>
                </a:xfrm>
                <a:custGeom>
                  <a:avLst/>
                  <a:gdLst>
                    <a:gd name="T0" fmla="*/ 16 w 16"/>
                    <a:gd name="T1" fmla="*/ 0 h 16"/>
                    <a:gd name="T2" fmla="*/ 0 w 16"/>
                    <a:gd name="T3" fmla="*/ 0 h 16"/>
                    <a:gd name="T4" fmla="*/ 0 w 16"/>
                    <a:gd name="T5" fmla="*/ 1 h 16"/>
                    <a:gd name="T6" fmla="*/ 0 w 16"/>
                    <a:gd name="T7" fmla="*/ 16 h 16"/>
                    <a:gd name="T8" fmla="*/ 16 w 16"/>
                    <a:gd name="T9" fmla="*/ 16 h 16"/>
                    <a:gd name="T10" fmla="*/ 16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16" y="0"/>
                      </a:moveTo>
                      <a:lnTo>
                        <a:pt x="0" y="0"/>
                      </a:lnTo>
                      <a:lnTo>
                        <a:pt x="0" y="1"/>
                      </a:lnTo>
                      <a:lnTo>
                        <a:pt x="0" y="16"/>
                      </a:lnTo>
                      <a:lnTo>
                        <a:pt x="16" y="16"/>
                      </a:lnTo>
                      <a:lnTo>
                        <a:pt x="16"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24" name="Freeform 18">
                  <a:extLst>
                    <a:ext uri="{FF2B5EF4-FFF2-40B4-BE49-F238E27FC236}">
                      <a16:creationId xmlns:a16="http://schemas.microsoft.com/office/drawing/2014/main" id="{91A4D7CD-E509-EB9E-FCB3-F394E831BAED}"/>
                    </a:ext>
                  </a:extLst>
                </p:cNvPr>
                <p:cNvSpPr>
                  <a:spLocks/>
                </p:cNvSpPr>
                <p:nvPr/>
              </p:nvSpPr>
              <p:spPr bwMode="auto">
                <a:xfrm>
                  <a:off x="4032691" y="4311415"/>
                  <a:ext cx="221789" cy="177430"/>
                </a:xfrm>
                <a:custGeom>
                  <a:avLst/>
                  <a:gdLst>
                    <a:gd name="T0" fmla="*/ 0 w 20"/>
                    <a:gd name="T1" fmla="*/ 16 h 16"/>
                    <a:gd name="T2" fmla="*/ 20 w 20"/>
                    <a:gd name="T3" fmla="*/ 16 h 16"/>
                    <a:gd name="T4" fmla="*/ 20 w 20"/>
                    <a:gd name="T5" fmla="*/ 2 h 16"/>
                    <a:gd name="T6" fmla="*/ 20 w 20"/>
                    <a:gd name="T7" fmla="*/ 0 h 16"/>
                    <a:gd name="T8" fmla="*/ 4 w 20"/>
                    <a:gd name="T9" fmla="*/ 0 h 16"/>
                    <a:gd name="T10" fmla="*/ 4 w 20"/>
                    <a:gd name="T11" fmla="*/ 2 h 16"/>
                    <a:gd name="T12" fmla="*/ 0 w 2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0" h="16">
                      <a:moveTo>
                        <a:pt x="0" y="16"/>
                      </a:moveTo>
                      <a:lnTo>
                        <a:pt x="20" y="16"/>
                      </a:lnTo>
                      <a:lnTo>
                        <a:pt x="20" y="2"/>
                      </a:lnTo>
                      <a:lnTo>
                        <a:pt x="20" y="0"/>
                      </a:lnTo>
                      <a:lnTo>
                        <a:pt x="4" y="0"/>
                      </a:lnTo>
                      <a:lnTo>
                        <a:pt x="4" y="2"/>
                      </a:lnTo>
                      <a:lnTo>
                        <a:pt x="0" y="16"/>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25" name="Freeform 19">
                  <a:extLst>
                    <a:ext uri="{FF2B5EF4-FFF2-40B4-BE49-F238E27FC236}">
                      <a16:creationId xmlns:a16="http://schemas.microsoft.com/office/drawing/2014/main" id="{1B664B83-40E6-D7F4-08FA-A24057271F5C}"/>
                    </a:ext>
                  </a:extLst>
                </p:cNvPr>
                <p:cNvSpPr>
                  <a:spLocks/>
                </p:cNvSpPr>
                <p:nvPr/>
              </p:nvSpPr>
              <p:spPr bwMode="auto">
                <a:xfrm>
                  <a:off x="3045732" y="3978734"/>
                  <a:ext cx="864976" cy="232877"/>
                </a:xfrm>
                <a:custGeom>
                  <a:avLst/>
                  <a:gdLst>
                    <a:gd name="T0" fmla="*/ 0 w 78"/>
                    <a:gd name="T1" fmla="*/ 21 h 21"/>
                    <a:gd name="T2" fmla="*/ 15 w 78"/>
                    <a:gd name="T3" fmla="*/ 21 h 21"/>
                    <a:gd name="T4" fmla="*/ 15 w 78"/>
                    <a:gd name="T5" fmla="*/ 21 h 21"/>
                    <a:gd name="T6" fmla="*/ 32 w 78"/>
                    <a:gd name="T7" fmla="*/ 21 h 21"/>
                    <a:gd name="T8" fmla="*/ 46 w 78"/>
                    <a:gd name="T9" fmla="*/ 21 h 21"/>
                    <a:gd name="T10" fmla="*/ 46 w 78"/>
                    <a:gd name="T11" fmla="*/ 21 h 21"/>
                    <a:gd name="T12" fmla="*/ 62 w 78"/>
                    <a:gd name="T13" fmla="*/ 21 h 21"/>
                    <a:gd name="T14" fmla="*/ 78 w 78"/>
                    <a:gd name="T15" fmla="*/ 21 h 21"/>
                    <a:gd name="T16" fmla="*/ 78 w 78"/>
                    <a:gd name="T17" fmla="*/ 0 h 21"/>
                    <a:gd name="T18" fmla="*/ 62 w 78"/>
                    <a:gd name="T19" fmla="*/ 0 h 21"/>
                    <a:gd name="T20" fmla="*/ 62 w 78"/>
                    <a:gd name="T21" fmla="*/ 21 h 21"/>
                    <a:gd name="T22" fmla="*/ 46 w 78"/>
                    <a:gd name="T23" fmla="*/ 21 h 21"/>
                    <a:gd name="T24" fmla="*/ 46 w 78"/>
                    <a:gd name="T25" fmla="*/ 18 h 21"/>
                    <a:gd name="T26" fmla="*/ 46 w 78"/>
                    <a:gd name="T27" fmla="*/ 0 h 21"/>
                    <a:gd name="T28" fmla="*/ 32 w 78"/>
                    <a:gd name="T29" fmla="*/ 0 h 21"/>
                    <a:gd name="T30" fmla="*/ 32 w 78"/>
                    <a:gd name="T31" fmla="*/ 21 h 21"/>
                    <a:gd name="T32" fmla="*/ 15 w 78"/>
                    <a:gd name="T33" fmla="*/ 21 h 21"/>
                    <a:gd name="T34" fmla="*/ 15 w 78"/>
                    <a:gd name="T35" fmla="*/ 21 h 21"/>
                    <a:gd name="T36" fmla="*/ 15 w 78"/>
                    <a:gd name="T37" fmla="*/ 19 h 21"/>
                    <a:gd name="T38" fmla="*/ 15 w 78"/>
                    <a:gd name="T39" fmla="*/ 18 h 21"/>
                    <a:gd name="T40" fmla="*/ 15 w 78"/>
                    <a:gd name="T41" fmla="*/ 18 h 21"/>
                    <a:gd name="T42" fmla="*/ 15 w 78"/>
                    <a:gd name="T43" fmla="*/ 0 h 21"/>
                    <a:gd name="T44" fmla="*/ 0 w 78"/>
                    <a:gd name="T45" fmla="*/ 0 h 21"/>
                    <a:gd name="T46" fmla="*/ 0 w 78"/>
                    <a:gd name="T47" fmla="*/ 1 h 21"/>
                    <a:gd name="T48" fmla="*/ 0 w 78"/>
                    <a:gd name="T4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21">
                      <a:moveTo>
                        <a:pt x="0" y="21"/>
                      </a:moveTo>
                      <a:lnTo>
                        <a:pt x="15" y="21"/>
                      </a:lnTo>
                      <a:lnTo>
                        <a:pt x="15" y="21"/>
                      </a:lnTo>
                      <a:lnTo>
                        <a:pt x="32" y="21"/>
                      </a:lnTo>
                      <a:lnTo>
                        <a:pt x="46" y="21"/>
                      </a:lnTo>
                      <a:lnTo>
                        <a:pt x="46" y="21"/>
                      </a:lnTo>
                      <a:lnTo>
                        <a:pt x="62" y="21"/>
                      </a:lnTo>
                      <a:lnTo>
                        <a:pt x="78" y="21"/>
                      </a:lnTo>
                      <a:lnTo>
                        <a:pt x="78" y="0"/>
                      </a:lnTo>
                      <a:lnTo>
                        <a:pt x="62" y="0"/>
                      </a:lnTo>
                      <a:lnTo>
                        <a:pt x="62" y="21"/>
                      </a:lnTo>
                      <a:lnTo>
                        <a:pt x="46" y="21"/>
                      </a:lnTo>
                      <a:lnTo>
                        <a:pt x="46" y="18"/>
                      </a:lnTo>
                      <a:lnTo>
                        <a:pt x="46" y="0"/>
                      </a:lnTo>
                      <a:lnTo>
                        <a:pt x="32" y="0"/>
                      </a:lnTo>
                      <a:lnTo>
                        <a:pt x="32" y="21"/>
                      </a:lnTo>
                      <a:lnTo>
                        <a:pt x="15" y="21"/>
                      </a:lnTo>
                      <a:lnTo>
                        <a:pt x="15" y="21"/>
                      </a:lnTo>
                      <a:lnTo>
                        <a:pt x="15" y="19"/>
                      </a:lnTo>
                      <a:lnTo>
                        <a:pt x="15" y="18"/>
                      </a:lnTo>
                      <a:lnTo>
                        <a:pt x="15" y="18"/>
                      </a:lnTo>
                      <a:lnTo>
                        <a:pt x="15" y="0"/>
                      </a:lnTo>
                      <a:lnTo>
                        <a:pt x="0" y="0"/>
                      </a:lnTo>
                      <a:lnTo>
                        <a:pt x="0" y="1"/>
                      </a:lnTo>
                      <a:lnTo>
                        <a:pt x="0" y="2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26" name="Freeform 22">
                  <a:extLst>
                    <a:ext uri="{FF2B5EF4-FFF2-40B4-BE49-F238E27FC236}">
                      <a16:creationId xmlns:a16="http://schemas.microsoft.com/office/drawing/2014/main" id="{DE52E3D3-1876-7FB6-A728-5D85B1CB71AA}"/>
                    </a:ext>
                  </a:extLst>
                </p:cNvPr>
                <p:cNvSpPr>
                  <a:spLocks noEditPoints="1"/>
                </p:cNvSpPr>
                <p:nvPr/>
              </p:nvSpPr>
              <p:spPr bwMode="auto">
                <a:xfrm>
                  <a:off x="2513439" y="4156164"/>
                  <a:ext cx="1563610" cy="1563603"/>
                </a:xfrm>
                <a:custGeom>
                  <a:avLst/>
                  <a:gdLst>
                    <a:gd name="T0" fmla="*/ 0 w 141"/>
                    <a:gd name="T1" fmla="*/ 0 h 141"/>
                    <a:gd name="T2" fmla="*/ 0 w 141"/>
                    <a:gd name="T3" fmla="*/ 141 h 141"/>
                    <a:gd name="T4" fmla="*/ 141 w 141"/>
                    <a:gd name="T5" fmla="*/ 141 h 141"/>
                    <a:gd name="T6" fmla="*/ 141 w 141"/>
                    <a:gd name="T7" fmla="*/ 0 h 141"/>
                    <a:gd name="T8" fmla="*/ 0 w 141"/>
                    <a:gd name="T9" fmla="*/ 0 h 141"/>
                    <a:gd name="T10" fmla="*/ 126 w 141"/>
                    <a:gd name="T11" fmla="*/ 124 h 141"/>
                    <a:gd name="T12" fmla="*/ 17 w 141"/>
                    <a:gd name="T13" fmla="*/ 124 h 141"/>
                    <a:gd name="T14" fmla="*/ 17 w 141"/>
                    <a:gd name="T15" fmla="*/ 16 h 141"/>
                    <a:gd name="T16" fmla="*/ 126 w 141"/>
                    <a:gd name="T17" fmla="*/ 16 h 141"/>
                    <a:gd name="T18" fmla="*/ 126 w 141"/>
                    <a:gd name="T19" fmla="*/ 12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0" y="0"/>
                      </a:moveTo>
                      <a:lnTo>
                        <a:pt x="0" y="141"/>
                      </a:lnTo>
                      <a:lnTo>
                        <a:pt x="141" y="141"/>
                      </a:lnTo>
                      <a:lnTo>
                        <a:pt x="141" y="0"/>
                      </a:lnTo>
                      <a:lnTo>
                        <a:pt x="0" y="0"/>
                      </a:lnTo>
                      <a:close/>
                      <a:moveTo>
                        <a:pt x="126" y="124"/>
                      </a:moveTo>
                      <a:lnTo>
                        <a:pt x="17" y="124"/>
                      </a:lnTo>
                      <a:lnTo>
                        <a:pt x="17" y="16"/>
                      </a:lnTo>
                      <a:lnTo>
                        <a:pt x="126" y="16"/>
                      </a:lnTo>
                      <a:lnTo>
                        <a:pt x="126" y="124"/>
                      </a:lnTo>
                      <a:close/>
                    </a:path>
                  </a:pathLst>
                </a:custGeom>
                <a:solidFill>
                  <a:schemeClr val="tx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grpSp>
        <p:grpSp>
          <p:nvGrpSpPr>
            <p:cNvPr id="127" name="Group 126">
              <a:extLst>
                <a:ext uri="{FF2B5EF4-FFF2-40B4-BE49-F238E27FC236}">
                  <a16:creationId xmlns:a16="http://schemas.microsoft.com/office/drawing/2014/main" id="{CB14875D-115B-9D9E-479C-38FAC51EECD3}"/>
                </a:ext>
              </a:extLst>
            </p:cNvPr>
            <p:cNvGrpSpPr/>
            <p:nvPr/>
          </p:nvGrpSpPr>
          <p:grpSpPr>
            <a:xfrm>
              <a:off x="6993602" y="3641101"/>
              <a:ext cx="655182" cy="651370"/>
              <a:chOff x="2347098" y="3978734"/>
              <a:chExt cx="1907382" cy="1896284"/>
            </a:xfrm>
          </p:grpSpPr>
          <p:sp>
            <p:nvSpPr>
              <p:cNvPr id="128" name="Rectangle 20">
                <a:extLst>
                  <a:ext uri="{FF2B5EF4-FFF2-40B4-BE49-F238E27FC236}">
                    <a16:creationId xmlns:a16="http://schemas.microsoft.com/office/drawing/2014/main" id="{41AB9492-57C9-421F-7034-64B00254DF0C}"/>
                  </a:ext>
                </a:extLst>
              </p:cNvPr>
              <p:cNvSpPr>
                <a:spLocks noChangeArrowheads="1"/>
              </p:cNvSpPr>
              <p:nvPr/>
            </p:nvSpPr>
            <p:spPr bwMode="auto">
              <a:xfrm>
                <a:off x="2701960" y="4333594"/>
                <a:ext cx="1208748" cy="1197654"/>
              </a:xfrm>
              <a:prstGeom prst="rect">
                <a:avLst/>
              </a:prstGeom>
              <a:solidFill>
                <a:schemeClr val="bg1">
                  <a:lumMod val="85000"/>
                  <a:lumOff val="15000"/>
                </a:schemeClr>
              </a:solidFill>
              <a:ln w="9525">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effectLst/>
                    <a:uLnTx/>
                    <a:uFillTx/>
                    <a:latin typeface="Segoe UI" panose="020B0502040204020203" pitchFamily="34" charset="0"/>
                    <a:cs typeface="Segoe UI" panose="020B0502040204020203" pitchFamily="34" charset="0"/>
                  </a:rPr>
                  <a:t>GPU 0</a:t>
                </a:r>
              </a:p>
            </p:txBody>
          </p:sp>
          <p:grpSp>
            <p:nvGrpSpPr>
              <p:cNvPr id="129" name="Group 128">
                <a:extLst>
                  <a:ext uri="{FF2B5EF4-FFF2-40B4-BE49-F238E27FC236}">
                    <a16:creationId xmlns:a16="http://schemas.microsoft.com/office/drawing/2014/main" id="{61EA9709-8659-966C-BC87-31F55C906EB6}"/>
                  </a:ext>
                </a:extLst>
              </p:cNvPr>
              <p:cNvGrpSpPr/>
              <p:nvPr/>
            </p:nvGrpSpPr>
            <p:grpSpPr>
              <a:xfrm>
                <a:off x="2347098" y="3978734"/>
                <a:ext cx="1907382" cy="1896284"/>
                <a:chOff x="2347098" y="3978734"/>
                <a:chExt cx="1907382" cy="1896284"/>
              </a:xfrm>
            </p:grpSpPr>
            <p:sp>
              <p:nvSpPr>
                <p:cNvPr id="130" name="Rectangle 6">
                  <a:extLst>
                    <a:ext uri="{FF2B5EF4-FFF2-40B4-BE49-F238E27FC236}">
                      <a16:creationId xmlns:a16="http://schemas.microsoft.com/office/drawing/2014/main" id="{6002009A-9500-2294-B09D-20759D832311}"/>
                    </a:ext>
                  </a:extLst>
                </p:cNvPr>
                <p:cNvSpPr>
                  <a:spLocks noChangeArrowheads="1"/>
                </p:cNvSpPr>
                <p:nvPr/>
              </p:nvSpPr>
              <p:spPr bwMode="auto">
                <a:xfrm>
                  <a:off x="2347098" y="4666276"/>
                  <a:ext cx="16634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31" name="Rectangle 7">
                  <a:extLst>
                    <a:ext uri="{FF2B5EF4-FFF2-40B4-BE49-F238E27FC236}">
                      <a16:creationId xmlns:a16="http://schemas.microsoft.com/office/drawing/2014/main" id="{90B6ACFE-7394-E0C2-01E5-3ECBF265FE25}"/>
                    </a:ext>
                  </a:extLst>
                </p:cNvPr>
                <p:cNvSpPr>
                  <a:spLocks noChangeArrowheads="1"/>
                </p:cNvSpPr>
                <p:nvPr/>
              </p:nvSpPr>
              <p:spPr bwMode="auto">
                <a:xfrm>
                  <a:off x="2347098" y="5021136"/>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32" name="Rectangle 8">
                  <a:extLst>
                    <a:ext uri="{FF2B5EF4-FFF2-40B4-BE49-F238E27FC236}">
                      <a16:creationId xmlns:a16="http://schemas.microsoft.com/office/drawing/2014/main" id="{C5DEF7C9-8DA6-93E4-8AF4-13A813AC7FB1}"/>
                    </a:ext>
                  </a:extLst>
                </p:cNvPr>
                <p:cNvSpPr>
                  <a:spLocks noChangeArrowheads="1"/>
                </p:cNvSpPr>
                <p:nvPr/>
              </p:nvSpPr>
              <p:spPr bwMode="auto">
                <a:xfrm>
                  <a:off x="2347098" y="5364907"/>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33" name="Rectangle 9">
                  <a:extLst>
                    <a:ext uri="{FF2B5EF4-FFF2-40B4-BE49-F238E27FC236}">
                      <a16:creationId xmlns:a16="http://schemas.microsoft.com/office/drawing/2014/main" id="{01439D00-9F2C-0C97-833D-C3AB5CD20FBE}"/>
                    </a:ext>
                  </a:extLst>
                </p:cNvPr>
                <p:cNvSpPr>
                  <a:spLocks noChangeArrowheads="1"/>
                </p:cNvSpPr>
                <p:nvPr/>
              </p:nvSpPr>
              <p:spPr bwMode="auto">
                <a:xfrm>
                  <a:off x="2347098" y="4333594"/>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34" name="Rectangle 10">
                  <a:extLst>
                    <a:ext uri="{FF2B5EF4-FFF2-40B4-BE49-F238E27FC236}">
                      <a16:creationId xmlns:a16="http://schemas.microsoft.com/office/drawing/2014/main" id="{FC14A36E-DD13-2B41-C7E0-951A300F1306}"/>
                    </a:ext>
                  </a:extLst>
                </p:cNvPr>
                <p:cNvSpPr>
                  <a:spLocks noChangeArrowheads="1"/>
                </p:cNvSpPr>
                <p:nvPr/>
              </p:nvSpPr>
              <p:spPr bwMode="auto">
                <a:xfrm>
                  <a:off x="4077049" y="4666276"/>
                  <a:ext cx="17743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35" name="Freeform 11">
                  <a:extLst>
                    <a:ext uri="{FF2B5EF4-FFF2-40B4-BE49-F238E27FC236}">
                      <a16:creationId xmlns:a16="http://schemas.microsoft.com/office/drawing/2014/main" id="{D34815CC-0AF3-DC4A-E045-D17E0EA053AE}"/>
                    </a:ext>
                  </a:extLst>
                </p:cNvPr>
                <p:cNvSpPr>
                  <a:spLocks/>
                </p:cNvSpPr>
                <p:nvPr/>
              </p:nvSpPr>
              <p:spPr bwMode="auto">
                <a:xfrm>
                  <a:off x="4077049" y="5364907"/>
                  <a:ext cx="177431" cy="166341"/>
                </a:xfrm>
                <a:custGeom>
                  <a:avLst/>
                  <a:gdLst>
                    <a:gd name="T0" fmla="*/ 0 w 16"/>
                    <a:gd name="T1" fmla="*/ 0 h 15"/>
                    <a:gd name="T2" fmla="*/ 0 w 16"/>
                    <a:gd name="T3" fmla="*/ 15 h 15"/>
                    <a:gd name="T4" fmla="*/ 15 w 16"/>
                    <a:gd name="T5" fmla="*/ 15 h 15"/>
                    <a:gd name="T6" fmla="*/ 16 w 16"/>
                    <a:gd name="T7" fmla="*/ 15 h 15"/>
                    <a:gd name="T8" fmla="*/ 16 w 16"/>
                    <a:gd name="T9" fmla="*/ 0 h 15"/>
                    <a:gd name="T10" fmla="*/ 15 w 16"/>
                    <a:gd name="T11" fmla="*/ 0 h 15"/>
                    <a:gd name="T12" fmla="*/ 0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0" y="0"/>
                      </a:moveTo>
                      <a:lnTo>
                        <a:pt x="0" y="15"/>
                      </a:lnTo>
                      <a:lnTo>
                        <a:pt x="15" y="15"/>
                      </a:lnTo>
                      <a:lnTo>
                        <a:pt x="16" y="15"/>
                      </a:lnTo>
                      <a:lnTo>
                        <a:pt x="16" y="0"/>
                      </a:lnTo>
                      <a:lnTo>
                        <a:pt x="15" y="0"/>
                      </a:lnTo>
                      <a:lnTo>
                        <a:pt x="0"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36" name="Rectangle 12">
                  <a:extLst>
                    <a:ext uri="{FF2B5EF4-FFF2-40B4-BE49-F238E27FC236}">
                      <a16:creationId xmlns:a16="http://schemas.microsoft.com/office/drawing/2014/main" id="{6EE491D5-D925-56F1-4AB4-D94B3B494670}"/>
                    </a:ext>
                  </a:extLst>
                </p:cNvPr>
                <p:cNvSpPr>
                  <a:spLocks noChangeArrowheads="1"/>
                </p:cNvSpPr>
                <p:nvPr/>
              </p:nvSpPr>
              <p:spPr bwMode="auto">
                <a:xfrm>
                  <a:off x="3045732"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37" name="Rectangle 13">
                  <a:extLst>
                    <a:ext uri="{FF2B5EF4-FFF2-40B4-BE49-F238E27FC236}">
                      <a16:creationId xmlns:a16="http://schemas.microsoft.com/office/drawing/2014/main" id="{5C2773BB-35AF-423A-841E-D32081772BB6}"/>
                    </a:ext>
                  </a:extLst>
                </p:cNvPr>
                <p:cNvSpPr>
                  <a:spLocks noChangeArrowheads="1"/>
                </p:cNvSpPr>
                <p:nvPr/>
              </p:nvSpPr>
              <p:spPr bwMode="auto">
                <a:xfrm>
                  <a:off x="2701960"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38" name="Freeform 14">
                  <a:extLst>
                    <a:ext uri="{FF2B5EF4-FFF2-40B4-BE49-F238E27FC236}">
                      <a16:creationId xmlns:a16="http://schemas.microsoft.com/office/drawing/2014/main" id="{30EBEF5F-BDBA-B79B-F811-D40976D6AAD3}"/>
                    </a:ext>
                  </a:extLst>
                </p:cNvPr>
                <p:cNvSpPr>
                  <a:spLocks/>
                </p:cNvSpPr>
                <p:nvPr/>
              </p:nvSpPr>
              <p:spPr bwMode="auto">
                <a:xfrm>
                  <a:off x="2690870" y="3978734"/>
                  <a:ext cx="166341" cy="177430"/>
                </a:xfrm>
                <a:custGeom>
                  <a:avLst/>
                  <a:gdLst>
                    <a:gd name="T0" fmla="*/ 15 w 15"/>
                    <a:gd name="T1" fmla="*/ 1 h 16"/>
                    <a:gd name="T2" fmla="*/ 15 w 15"/>
                    <a:gd name="T3" fmla="*/ 0 h 16"/>
                    <a:gd name="T4" fmla="*/ 0 w 15"/>
                    <a:gd name="T5" fmla="*/ 0 h 16"/>
                    <a:gd name="T6" fmla="*/ 0 w 15"/>
                    <a:gd name="T7" fmla="*/ 1 h 16"/>
                    <a:gd name="T8" fmla="*/ 0 w 15"/>
                    <a:gd name="T9" fmla="*/ 16 h 16"/>
                    <a:gd name="T10" fmla="*/ 15 w 15"/>
                    <a:gd name="T11" fmla="*/ 16 h 16"/>
                    <a:gd name="T12" fmla="*/ 15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5" y="1"/>
                      </a:moveTo>
                      <a:lnTo>
                        <a:pt x="15" y="0"/>
                      </a:lnTo>
                      <a:lnTo>
                        <a:pt x="0" y="0"/>
                      </a:lnTo>
                      <a:lnTo>
                        <a:pt x="0" y="1"/>
                      </a:lnTo>
                      <a:lnTo>
                        <a:pt x="0" y="16"/>
                      </a:lnTo>
                      <a:lnTo>
                        <a:pt x="15" y="16"/>
                      </a:lnTo>
                      <a:lnTo>
                        <a:pt x="15" y="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39" name="Rectangle 15">
                  <a:extLst>
                    <a:ext uri="{FF2B5EF4-FFF2-40B4-BE49-F238E27FC236}">
                      <a16:creationId xmlns:a16="http://schemas.microsoft.com/office/drawing/2014/main" id="{12EF1A0A-75A1-6F3F-9B37-14082230EA93}"/>
                    </a:ext>
                  </a:extLst>
                </p:cNvPr>
                <p:cNvSpPr>
                  <a:spLocks noChangeArrowheads="1"/>
                </p:cNvSpPr>
                <p:nvPr/>
              </p:nvSpPr>
              <p:spPr bwMode="auto">
                <a:xfrm>
                  <a:off x="3733277"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40" name="Rectangle 16">
                  <a:extLst>
                    <a:ext uri="{FF2B5EF4-FFF2-40B4-BE49-F238E27FC236}">
                      <a16:creationId xmlns:a16="http://schemas.microsoft.com/office/drawing/2014/main" id="{97FF003D-C37A-21E8-4E48-662CE22B96D1}"/>
                    </a:ext>
                  </a:extLst>
                </p:cNvPr>
                <p:cNvSpPr>
                  <a:spLocks noChangeArrowheads="1"/>
                </p:cNvSpPr>
                <p:nvPr/>
              </p:nvSpPr>
              <p:spPr bwMode="auto">
                <a:xfrm>
                  <a:off x="3378415"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41" name="Freeform 17">
                  <a:extLst>
                    <a:ext uri="{FF2B5EF4-FFF2-40B4-BE49-F238E27FC236}">
                      <a16:creationId xmlns:a16="http://schemas.microsoft.com/office/drawing/2014/main" id="{E0E9FDCB-F9A3-490C-E4E7-B459A97BFCEE}"/>
                    </a:ext>
                  </a:extLst>
                </p:cNvPr>
                <p:cNvSpPr>
                  <a:spLocks/>
                </p:cNvSpPr>
                <p:nvPr/>
              </p:nvSpPr>
              <p:spPr bwMode="auto">
                <a:xfrm>
                  <a:off x="4077049" y="5010047"/>
                  <a:ext cx="177431" cy="177430"/>
                </a:xfrm>
                <a:custGeom>
                  <a:avLst/>
                  <a:gdLst>
                    <a:gd name="T0" fmla="*/ 16 w 16"/>
                    <a:gd name="T1" fmla="*/ 0 h 16"/>
                    <a:gd name="T2" fmla="*/ 0 w 16"/>
                    <a:gd name="T3" fmla="*/ 0 h 16"/>
                    <a:gd name="T4" fmla="*/ 0 w 16"/>
                    <a:gd name="T5" fmla="*/ 1 h 16"/>
                    <a:gd name="T6" fmla="*/ 0 w 16"/>
                    <a:gd name="T7" fmla="*/ 16 h 16"/>
                    <a:gd name="T8" fmla="*/ 16 w 16"/>
                    <a:gd name="T9" fmla="*/ 16 h 16"/>
                    <a:gd name="T10" fmla="*/ 16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16" y="0"/>
                      </a:moveTo>
                      <a:lnTo>
                        <a:pt x="0" y="0"/>
                      </a:lnTo>
                      <a:lnTo>
                        <a:pt x="0" y="1"/>
                      </a:lnTo>
                      <a:lnTo>
                        <a:pt x="0" y="16"/>
                      </a:lnTo>
                      <a:lnTo>
                        <a:pt x="16" y="16"/>
                      </a:lnTo>
                      <a:lnTo>
                        <a:pt x="16"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42" name="Freeform 18">
                  <a:extLst>
                    <a:ext uri="{FF2B5EF4-FFF2-40B4-BE49-F238E27FC236}">
                      <a16:creationId xmlns:a16="http://schemas.microsoft.com/office/drawing/2014/main" id="{B0628DA4-3734-B586-0722-AD19E958B0A5}"/>
                    </a:ext>
                  </a:extLst>
                </p:cNvPr>
                <p:cNvSpPr>
                  <a:spLocks/>
                </p:cNvSpPr>
                <p:nvPr/>
              </p:nvSpPr>
              <p:spPr bwMode="auto">
                <a:xfrm>
                  <a:off x="4032691" y="4311415"/>
                  <a:ext cx="221789" cy="177430"/>
                </a:xfrm>
                <a:custGeom>
                  <a:avLst/>
                  <a:gdLst>
                    <a:gd name="T0" fmla="*/ 0 w 20"/>
                    <a:gd name="T1" fmla="*/ 16 h 16"/>
                    <a:gd name="T2" fmla="*/ 20 w 20"/>
                    <a:gd name="T3" fmla="*/ 16 h 16"/>
                    <a:gd name="T4" fmla="*/ 20 w 20"/>
                    <a:gd name="T5" fmla="*/ 2 h 16"/>
                    <a:gd name="T6" fmla="*/ 20 w 20"/>
                    <a:gd name="T7" fmla="*/ 0 h 16"/>
                    <a:gd name="T8" fmla="*/ 4 w 20"/>
                    <a:gd name="T9" fmla="*/ 0 h 16"/>
                    <a:gd name="T10" fmla="*/ 4 w 20"/>
                    <a:gd name="T11" fmla="*/ 2 h 16"/>
                    <a:gd name="T12" fmla="*/ 0 w 2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0" h="16">
                      <a:moveTo>
                        <a:pt x="0" y="16"/>
                      </a:moveTo>
                      <a:lnTo>
                        <a:pt x="20" y="16"/>
                      </a:lnTo>
                      <a:lnTo>
                        <a:pt x="20" y="2"/>
                      </a:lnTo>
                      <a:lnTo>
                        <a:pt x="20" y="0"/>
                      </a:lnTo>
                      <a:lnTo>
                        <a:pt x="4" y="0"/>
                      </a:lnTo>
                      <a:lnTo>
                        <a:pt x="4" y="2"/>
                      </a:lnTo>
                      <a:lnTo>
                        <a:pt x="0" y="16"/>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43" name="Freeform 19">
                  <a:extLst>
                    <a:ext uri="{FF2B5EF4-FFF2-40B4-BE49-F238E27FC236}">
                      <a16:creationId xmlns:a16="http://schemas.microsoft.com/office/drawing/2014/main" id="{49F8D394-62FB-3D85-934A-DC12C6023011}"/>
                    </a:ext>
                  </a:extLst>
                </p:cNvPr>
                <p:cNvSpPr>
                  <a:spLocks/>
                </p:cNvSpPr>
                <p:nvPr/>
              </p:nvSpPr>
              <p:spPr bwMode="auto">
                <a:xfrm>
                  <a:off x="3045732" y="3978734"/>
                  <a:ext cx="864976" cy="232877"/>
                </a:xfrm>
                <a:custGeom>
                  <a:avLst/>
                  <a:gdLst>
                    <a:gd name="T0" fmla="*/ 0 w 78"/>
                    <a:gd name="T1" fmla="*/ 21 h 21"/>
                    <a:gd name="T2" fmla="*/ 15 w 78"/>
                    <a:gd name="T3" fmla="*/ 21 h 21"/>
                    <a:gd name="T4" fmla="*/ 15 w 78"/>
                    <a:gd name="T5" fmla="*/ 21 h 21"/>
                    <a:gd name="T6" fmla="*/ 32 w 78"/>
                    <a:gd name="T7" fmla="*/ 21 h 21"/>
                    <a:gd name="T8" fmla="*/ 46 w 78"/>
                    <a:gd name="T9" fmla="*/ 21 h 21"/>
                    <a:gd name="T10" fmla="*/ 46 w 78"/>
                    <a:gd name="T11" fmla="*/ 21 h 21"/>
                    <a:gd name="T12" fmla="*/ 62 w 78"/>
                    <a:gd name="T13" fmla="*/ 21 h 21"/>
                    <a:gd name="T14" fmla="*/ 78 w 78"/>
                    <a:gd name="T15" fmla="*/ 21 h 21"/>
                    <a:gd name="T16" fmla="*/ 78 w 78"/>
                    <a:gd name="T17" fmla="*/ 0 h 21"/>
                    <a:gd name="T18" fmla="*/ 62 w 78"/>
                    <a:gd name="T19" fmla="*/ 0 h 21"/>
                    <a:gd name="T20" fmla="*/ 62 w 78"/>
                    <a:gd name="T21" fmla="*/ 21 h 21"/>
                    <a:gd name="T22" fmla="*/ 46 w 78"/>
                    <a:gd name="T23" fmla="*/ 21 h 21"/>
                    <a:gd name="T24" fmla="*/ 46 w 78"/>
                    <a:gd name="T25" fmla="*/ 18 h 21"/>
                    <a:gd name="T26" fmla="*/ 46 w 78"/>
                    <a:gd name="T27" fmla="*/ 0 h 21"/>
                    <a:gd name="T28" fmla="*/ 32 w 78"/>
                    <a:gd name="T29" fmla="*/ 0 h 21"/>
                    <a:gd name="T30" fmla="*/ 32 w 78"/>
                    <a:gd name="T31" fmla="*/ 21 h 21"/>
                    <a:gd name="T32" fmla="*/ 15 w 78"/>
                    <a:gd name="T33" fmla="*/ 21 h 21"/>
                    <a:gd name="T34" fmla="*/ 15 w 78"/>
                    <a:gd name="T35" fmla="*/ 21 h 21"/>
                    <a:gd name="T36" fmla="*/ 15 w 78"/>
                    <a:gd name="T37" fmla="*/ 19 h 21"/>
                    <a:gd name="T38" fmla="*/ 15 w 78"/>
                    <a:gd name="T39" fmla="*/ 18 h 21"/>
                    <a:gd name="T40" fmla="*/ 15 w 78"/>
                    <a:gd name="T41" fmla="*/ 18 h 21"/>
                    <a:gd name="T42" fmla="*/ 15 w 78"/>
                    <a:gd name="T43" fmla="*/ 0 h 21"/>
                    <a:gd name="T44" fmla="*/ 0 w 78"/>
                    <a:gd name="T45" fmla="*/ 0 h 21"/>
                    <a:gd name="T46" fmla="*/ 0 w 78"/>
                    <a:gd name="T47" fmla="*/ 1 h 21"/>
                    <a:gd name="T48" fmla="*/ 0 w 78"/>
                    <a:gd name="T4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21">
                      <a:moveTo>
                        <a:pt x="0" y="21"/>
                      </a:moveTo>
                      <a:lnTo>
                        <a:pt x="15" y="21"/>
                      </a:lnTo>
                      <a:lnTo>
                        <a:pt x="15" y="21"/>
                      </a:lnTo>
                      <a:lnTo>
                        <a:pt x="32" y="21"/>
                      </a:lnTo>
                      <a:lnTo>
                        <a:pt x="46" y="21"/>
                      </a:lnTo>
                      <a:lnTo>
                        <a:pt x="46" y="21"/>
                      </a:lnTo>
                      <a:lnTo>
                        <a:pt x="62" y="21"/>
                      </a:lnTo>
                      <a:lnTo>
                        <a:pt x="78" y="21"/>
                      </a:lnTo>
                      <a:lnTo>
                        <a:pt x="78" y="0"/>
                      </a:lnTo>
                      <a:lnTo>
                        <a:pt x="62" y="0"/>
                      </a:lnTo>
                      <a:lnTo>
                        <a:pt x="62" y="21"/>
                      </a:lnTo>
                      <a:lnTo>
                        <a:pt x="46" y="21"/>
                      </a:lnTo>
                      <a:lnTo>
                        <a:pt x="46" y="18"/>
                      </a:lnTo>
                      <a:lnTo>
                        <a:pt x="46" y="0"/>
                      </a:lnTo>
                      <a:lnTo>
                        <a:pt x="32" y="0"/>
                      </a:lnTo>
                      <a:lnTo>
                        <a:pt x="32" y="21"/>
                      </a:lnTo>
                      <a:lnTo>
                        <a:pt x="15" y="21"/>
                      </a:lnTo>
                      <a:lnTo>
                        <a:pt x="15" y="21"/>
                      </a:lnTo>
                      <a:lnTo>
                        <a:pt x="15" y="19"/>
                      </a:lnTo>
                      <a:lnTo>
                        <a:pt x="15" y="18"/>
                      </a:lnTo>
                      <a:lnTo>
                        <a:pt x="15" y="18"/>
                      </a:lnTo>
                      <a:lnTo>
                        <a:pt x="15" y="0"/>
                      </a:lnTo>
                      <a:lnTo>
                        <a:pt x="0" y="0"/>
                      </a:lnTo>
                      <a:lnTo>
                        <a:pt x="0" y="1"/>
                      </a:lnTo>
                      <a:lnTo>
                        <a:pt x="0" y="2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44" name="Freeform 22">
                  <a:extLst>
                    <a:ext uri="{FF2B5EF4-FFF2-40B4-BE49-F238E27FC236}">
                      <a16:creationId xmlns:a16="http://schemas.microsoft.com/office/drawing/2014/main" id="{4C17A53C-98D5-18BE-52E7-4BBCBEC13408}"/>
                    </a:ext>
                  </a:extLst>
                </p:cNvPr>
                <p:cNvSpPr>
                  <a:spLocks noEditPoints="1"/>
                </p:cNvSpPr>
                <p:nvPr/>
              </p:nvSpPr>
              <p:spPr bwMode="auto">
                <a:xfrm>
                  <a:off x="2513439" y="4156164"/>
                  <a:ext cx="1563610" cy="1563603"/>
                </a:xfrm>
                <a:custGeom>
                  <a:avLst/>
                  <a:gdLst>
                    <a:gd name="T0" fmla="*/ 0 w 141"/>
                    <a:gd name="T1" fmla="*/ 0 h 141"/>
                    <a:gd name="T2" fmla="*/ 0 w 141"/>
                    <a:gd name="T3" fmla="*/ 141 h 141"/>
                    <a:gd name="T4" fmla="*/ 141 w 141"/>
                    <a:gd name="T5" fmla="*/ 141 h 141"/>
                    <a:gd name="T6" fmla="*/ 141 w 141"/>
                    <a:gd name="T7" fmla="*/ 0 h 141"/>
                    <a:gd name="T8" fmla="*/ 0 w 141"/>
                    <a:gd name="T9" fmla="*/ 0 h 141"/>
                    <a:gd name="T10" fmla="*/ 126 w 141"/>
                    <a:gd name="T11" fmla="*/ 124 h 141"/>
                    <a:gd name="T12" fmla="*/ 17 w 141"/>
                    <a:gd name="T13" fmla="*/ 124 h 141"/>
                    <a:gd name="T14" fmla="*/ 17 w 141"/>
                    <a:gd name="T15" fmla="*/ 16 h 141"/>
                    <a:gd name="T16" fmla="*/ 126 w 141"/>
                    <a:gd name="T17" fmla="*/ 16 h 141"/>
                    <a:gd name="T18" fmla="*/ 126 w 141"/>
                    <a:gd name="T19" fmla="*/ 12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0" y="0"/>
                      </a:moveTo>
                      <a:lnTo>
                        <a:pt x="0" y="141"/>
                      </a:lnTo>
                      <a:lnTo>
                        <a:pt x="141" y="141"/>
                      </a:lnTo>
                      <a:lnTo>
                        <a:pt x="141" y="0"/>
                      </a:lnTo>
                      <a:lnTo>
                        <a:pt x="0" y="0"/>
                      </a:lnTo>
                      <a:close/>
                      <a:moveTo>
                        <a:pt x="126" y="124"/>
                      </a:moveTo>
                      <a:lnTo>
                        <a:pt x="17" y="124"/>
                      </a:lnTo>
                      <a:lnTo>
                        <a:pt x="17" y="16"/>
                      </a:lnTo>
                      <a:lnTo>
                        <a:pt x="126" y="16"/>
                      </a:lnTo>
                      <a:lnTo>
                        <a:pt x="126" y="124"/>
                      </a:lnTo>
                      <a:close/>
                    </a:path>
                  </a:pathLst>
                </a:custGeom>
                <a:solidFill>
                  <a:schemeClr val="tx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grpSp>
        <p:grpSp>
          <p:nvGrpSpPr>
            <p:cNvPr id="145" name="Group 144">
              <a:extLst>
                <a:ext uri="{FF2B5EF4-FFF2-40B4-BE49-F238E27FC236}">
                  <a16:creationId xmlns:a16="http://schemas.microsoft.com/office/drawing/2014/main" id="{8323598A-58A2-804C-095B-6435A12A47CA}"/>
                </a:ext>
              </a:extLst>
            </p:cNvPr>
            <p:cNvGrpSpPr/>
            <p:nvPr/>
          </p:nvGrpSpPr>
          <p:grpSpPr>
            <a:xfrm>
              <a:off x="7996007" y="3641101"/>
              <a:ext cx="655182" cy="651370"/>
              <a:chOff x="2347098" y="3978734"/>
              <a:chExt cx="1907382" cy="1896284"/>
            </a:xfrm>
          </p:grpSpPr>
          <p:sp>
            <p:nvSpPr>
              <p:cNvPr id="146" name="Rectangle 20">
                <a:extLst>
                  <a:ext uri="{FF2B5EF4-FFF2-40B4-BE49-F238E27FC236}">
                    <a16:creationId xmlns:a16="http://schemas.microsoft.com/office/drawing/2014/main" id="{C21826EB-67B7-BF9E-0A56-2048A735F26B}"/>
                  </a:ext>
                </a:extLst>
              </p:cNvPr>
              <p:cNvSpPr>
                <a:spLocks noChangeArrowheads="1"/>
              </p:cNvSpPr>
              <p:nvPr/>
            </p:nvSpPr>
            <p:spPr bwMode="auto">
              <a:xfrm>
                <a:off x="2701960" y="4333594"/>
                <a:ext cx="1208748" cy="1197654"/>
              </a:xfrm>
              <a:prstGeom prst="rect">
                <a:avLst/>
              </a:prstGeom>
              <a:solidFill>
                <a:schemeClr val="bg1">
                  <a:lumMod val="85000"/>
                  <a:lumOff val="15000"/>
                </a:schemeClr>
              </a:solidFill>
              <a:ln w="9525">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effectLst/>
                    <a:uLnTx/>
                    <a:uFillTx/>
                    <a:latin typeface="Segoe UI" panose="020B0502040204020203" pitchFamily="34" charset="0"/>
                    <a:cs typeface="Segoe UI" panose="020B0502040204020203" pitchFamily="34" charset="0"/>
                  </a:rPr>
                  <a:t>GPU 1</a:t>
                </a:r>
              </a:p>
            </p:txBody>
          </p:sp>
          <p:grpSp>
            <p:nvGrpSpPr>
              <p:cNvPr id="147" name="Group 146">
                <a:extLst>
                  <a:ext uri="{FF2B5EF4-FFF2-40B4-BE49-F238E27FC236}">
                    <a16:creationId xmlns:a16="http://schemas.microsoft.com/office/drawing/2014/main" id="{BAB23385-FB64-5274-B421-1EB3B3555EF6}"/>
                  </a:ext>
                </a:extLst>
              </p:cNvPr>
              <p:cNvGrpSpPr/>
              <p:nvPr/>
            </p:nvGrpSpPr>
            <p:grpSpPr>
              <a:xfrm>
                <a:off x="2347098" y="3978734"/>
                <a:ext cx="1907382" cy="1896284"/>
                <a:chOff x="2347098" y="3978734"/>
                <a:chExt cx="1907382" cy="1896284"/>
              </a:xfrm>
            </p:grpSpPr>
            <p:sp>
              <p:nvSpPr>
                <p:cNvPr id="148" name="Rectangle 6">
                  <a:extLst>
                    <a:ext uri="{FF2B5EF4-FFF2-40B4-BE49-F238E27FC236}">
                      <a16:creationId xmlns:a16="http://schemas.microsoft.com/office/drawing/2014/main" id="{99E276BD-3EE7-7804-9CBF-D8AEC10DFF3B}"/>
                    </a:ext>
                  </a:extLst>
                </p:cNvPr>
                <p:cNvSpPr>
                  <a:spLocks noChangeArrowheads="1"/>
                </p:cNvSpPr>
                <p:nvPr/>
              </p:nvSpPr>
              <p:spPr bwMode="auto">
                <a:xfrm>
                  <a:off x="2347098" y="4666276"/>
                  <a:ext cx="16634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49" name="Rectangle 7">
                  <a:extLst>
                    <a:ext uri="{FF2B5EF4-FFF2-40B4-BE49-F238E27FC236}">
                      <a16:creationId xmlns:a16="http://schemas.microsoft.com/office/drawing/2014/main" id="{E1708C69-2142-EE64-3D7F-0D13090BC0B2}"/>
                    </a:ext>
                  </a:extLst>
                </p:cNvPr>
                <p:cNvSpPr>
                  <a:spLocks noChangeArrowheads="1"/>
                </p:cNvSpPr>
                <p:nvPr/>
              </p:nvSpPr>
              <p:spPr bwMode="auto">
                <a:xfrm>
                  <a:off x="2347098" y="5021136"/>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50" name="Rectangle 8">
                  <a:extLst>
                    <a:ext uri="{FF2B5EF4-FFF2-40B4-BE49-F238E27FC236}">
                      <a16:creationId xmlns:a16="http://schemas.microsoft.com/office/drawing/2014/main" id="{CA9B6659-420A-B3D9-6E63-BC82CE9D5A05}"/>
                    </a:ext>
                  </a:extLst>
                </p:cNvPr>
                <p:cNvSpPr>
                  <a:spLocks noChangeArrowheads="1"/>
                </p:cNvSpPr>
                <p:nvPr/>
              </p:nvSpPr>
              <p:spPr bwMode="auto">
                <a:xfrm>
                  <a:off x="2347098" y="5364907"/>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51" name="Rectangle 9">
                  <a:extLst>
                    <a:ext uri="{FF2B5EF4-FFF2-40B4-BE49-F238E27FC236}">
                      <a16:creationId xmlns:a16="http://schemas.microsoft.com/office/drawing/2014/main" id="{4AFAA090-97E3-1036-ED3A-6C2CFD1A3F99}"/>
                    </a:ext>
                  </a:extLst>
                </p:cNvPr>
                <p:cNvSpPr>
                  <a:spLocks noChangeArrowheads="1"/>
                </p:cNvSpPr>
                <p:nvPr/>
              </p:nvSpPr>
              <p:spPr bwMode="auto">
                <a:xfrm>
                  <a:off x="2347098" y="4333594"/>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52" name="Rectangle 10">
                  <a:extLst>
                    <a:ext uri="{FF2B5EF4-FFF2-40B4-BE49-F238E27FC236}">
                      <a16:creationId xmlns:a16="http://schemas.microsoft.com/office/drawing/2014/main" id="{664999B8-8047-9218-EF94-43A4130222F6}"/>
                    </a:ext>
                  </a:extLst>
                </p:cNvPr>
                <p:cNvSpPr>
                  <a:spLocks noChangeArrowheads="1"/>
                </p:cNvSpPr>
                <p:nvPr/>
              </p:nvSpPr>
              <p:spPr bwMode="auto">
                <a:xfrm>
                  <a:off x="4077049" y="4666276"/>
                  <a:ext cx="17743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53" name="Freeform 11">
                  <a:extLst>
                    <a:ext uri="{FF2B5EF4-FFF2-40B4-BE49-F238E27FC236}">
                      <a16:creationId xmlns:a16="http://schemas.microsoft.com/office/drawing/2014/main" id="{33E87995-D1D0-DFBC-B29A-8B7B79950750}"/>
                    </a:ext>
                  </a:extLst>
                </p:cNvPr>
                <p:cNvSpPr>
                  <a:spLocks/>
                </p:cNvSpPr>
                <p:nvPr/>
              </p:nvSpPr>
              <p:spPr bwMode="auto">
                <a:xfrm>
                  <a:off x="4077049" y="5364907"/>
                  <a:ext cx="177431" cy="166341"/>
                </a:xfrm>
                <a:custGeom>
                  <a:avLst/>
                  <a:gdLst>
                    <a:gd name="T0" fmla="*/ 0 w 16"/>
                    <a:gd name="T1" fmla="*/ 0 h 15"/>
                    <a:gd name="T2" fmla="*/ 0 w 16"/>
                    <a:gd name="T3" fmla="*/ 15 h 15"/>
                    <a:gd name="T4" fmla="*/ 15 w 16"/>
                    <a:gd name="T5" fmla="*/ 15 h 15"/>
                    <a:gd name="T6" fmla="*/ 16 w 16"/>
                    <a:gd name="T7" fmla="*/ 15 h 15"/>
                    <a:gd name="T8" fmla="*/ 16 w 16"/>
                    <a:gd name="T9" fmla="*/ 0 h 15"/>
                    <a:gd name="T10" fmla="*/ 15 w 16"/>
                    <a:gd name="T11" fmla="*/ 0 h 15"/>
                    <a:gd name="T12" fmla="*/ 0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0" y="0"/>
                      </a:moveTo>
                      <a:lnTo>
                        <a:pt x="0" y="15"/>
                      </a:lnTo>
                      <a:lnTo>
                        <a:pt x="15" y="15"/>
                      </a:lnTo>
                      <a:lnTo>
                        <a:pt x="16" y="15"/>
                      </a:lnTo>
                      <a:lnTo>
                        <a:pt x="16" y="0"/>
                      </a:lnTo>
                      <a:lnTo>
                        <a:pt x="15" y="0"/>
                      </a:lnTo>
                      <a:lnTo>
                        <a:pt x="0"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54" name="Rectangle 12">
                  <a:extLst>
                    <a:ext uri="{FF2B5EF4-FFF2-40B4-BE49-F238E27FC236}">
                      <a16:creationId xmlns:a16="http://schemas.microsoft.com/office/drawing/2014/main" id="{12580674-4CF5-AA40-9AC8-8EDE194BC178}"/>
                    </a:ext>
                  </a:extLst>
                </p:cNvPr>
                <p:cNvSpPr>
                  <a:spLocks noChangeArrowheads="1"/>
                </p:cNvSpPr>
                <p:nvPr/>
              </p:nvSpPr>
              <p:spPr bwMode="auto">
                <a:xfrm>
                  <a:off x="3045732"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55" name="Rectangle 13">
                  <a:extLst>
                    <a:ext uri="{FF2B5EF4-FFF2-40B4-BE49-F238E27FC236}">
                      <a16:creationId xmlns:a16="http://schemas.microsoft.com/office/drawing/2014/main" id="{9206E5AF-39F4-3D2B-DFEB-4DED21D5A121}"/>
                    </a:ext>
                  </a:extLst>
                </p:cNvPr>
                <p:cNvSpPr>
                  <a:spLocks noChangeArrowheads="1"/>
                </p:cNvSpPr>
                <p:nvPr/>
              </p:nvSpPr>
              <p:spPr bwMode="auto">
                <a:xfrm>
                  <a:off x="2701960"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56" name="Freeform 14">
                  <a:extLst>
                    <a:ext uri="{FF2B5EF4-FFF2-40B4-BE49-F238E27FC236}">
                      <a16:creationId xmlns:a16="http://schemas.microsoft.com/office/drawing/2014/main" id="{940AEE0B-EE81-9549-94CE-DCB28B37EE1F}"/>
                    </a:ext>
                  </a:extLst>
                </p:cNvPr>
                <p:cNvSpPr>
                  <a:spLocks/>
                </p:cNvSpPr>
                <p:nvPr/>
              </p:nvSpPr>
              <p:spPr bwMode="auto">
                <a:xfrm>
                  <a:off x="2690870" y="3978734"/>
                  <a:ext cx="166341" cy="177430"/>
                </a:xfrm>
                <a:custGeom>
                  <a:avLst/>
                  <a:gdLst>
                    <a:gd name="T0" fmla="*/ 15 w 15"/>
                    <a:gd name="T1" fmla="*/ 1 h 16"/>
                    <a:gd name="T2" fmla="*/ 15 w 15"/>
                    <a:gd name="T3" fmla="*/ 0 h 16"/>
                    <a:gd name="T4" fmla="*/ 0 w 15"/>
                    <a:gd name="T5" fmla="*/ 0 h 16"/>
                    <a:gd name="T6" fmla="*/ 0 w 15"/>
                    <a:gd name="T7" fmla="*/ 1 h 16"/>
                    <a:gd name="T8" fmla="*/ 0 w 15"/>
                    <a:gd name="T9" fmla="*/ 16 h 16"/>
                    <a:gd name="T10" fmla="*/ 15 w 15"/>
                    <a:gd name="T11" fmla="*/ 16 h 16"/>
                    <a:gd name="T12" fmla="*/ 15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5" y="1"/>
                      </a:moveTo>
                      <a:lnTo>
                        <a:pt x="15" y="0"/>
                      </a:lnTo>
                      <a:lnTo>
                        <a:pt x="0" y="0"/>
                      </a:lnTo>
                      <a:lnTo>
                        <a:pt x="0" y="1"/>
                      </a:lnTo>
                      <a:lnTo>
                        <a:pt x="0" y="16"/>
                      </a:lnTo>
                      <a:lnTo>
                        <a:pt x="15" y="16"/>
                      </a:lnTo>
                      <a:lnTo>
                        <a:pt x="15" y="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57" name="Rectangle 15">
                  <a:extLst>
                    <a:ext uri="{FF2B5EF4-FFF2-40B4-BE49-F238E27FC236}">
                      <a16:creationId xmlns:a16="http://schemas.microsoft.com/office/drawing/2014/main" id="{A6A893B7-B153-1C45-89C3-55EBC0202B38}"/>
                    </a:ext>
                  </a:extLst>
                </p:cNvPr>
                <p:cNvSpPr>
                  <a:spLocks noChangeArrowheads="1"/>
                </p:cNvSpPr>
                <p:nvPr/>
              </p:nvSpPr>
              <p:spPr bwMode="auto">
                <a:xfrm>
                  <a:off x="3733277"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58" name="Rectangle 16">
                  <a:extLst>
                    <a:ext uri="{FF2B5EF4-FFF2-40B4-BE49-F238E27FC236}">
                      <a16:creationId xmlns:a16="http://schemas.microsoft.com/office/drawing/2014/main" id="{DC468CB9-DBF4-33C2-1D9C-14F52147C72C}"/>
                    </a:ext>
                  </a:extLst>
                </p:cNvPr>
                <p:cNvSpPr>
                  <a:spLocks noChangeArrowheads="1"/>
                </p:cNvSpPr>
                <p:nvPr/>
              </p:nvSpPr>
              <p:spPr bwMode="auto">
                <a:xfrm>
                  <a:off x="3378415"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59" name="Freeform 17">
                  <a:extLst>
                    <a:ext uri="{FF2B5EF4-FFF2-40B4-BE49-F238E27FC236}">
                      <a16:creationId xmlns:a16="http://schemas.microsoft.com/office/drawing/2014/main" id="{93CF3EA2-FF6C-1CCC-6EFF-8C48723BC14F}"/>
                    </a:ext>
                  </a:extLst>
                </p:cNvPr>
                <p:cNvSpPr>
                  <a:spLocks/>
                </p:cNvSpPr>
                <p:nvPr/>
              </p:nvSpPr>
              <p:spPr bwMode="auto">
                <a:xfrm>
                  <a:off x="4077049" y="5010047"/>
                  <a:ext cx="177431" cy="177430"/>
                </a:xfrm>
                <a:custGeom>
                  <a:avLst/>
                  <a:gdLst>
                    <a:gd name="T0" fmla="*/ 16 w 16"/>
                    <a:gd name="T1" fmla="*/ 0 h 16"/>
                    <a:gd name="T2" fmla="*/ 0 w 16"/>
                    <a:gd name="T3" fmla="*/ 0 h 16"/>
                    <a:gd name="T4" fmla="*/ 0 w 16"/>
                    <a:gd name="T5" fmla="*/ 1 h 16"/>
                    <a:gd name="T6" fmla="*/ 0 w 16"/>
                    <a:gd name="T7" fmla="*/ 16 h 16"/>
                    <a:gd name="T8" fmla="*/ 16 w 16"/>
                    <a:gd name="T9" fmla="*/ 16 h 16"/>
                    <a:gd name="T10" fmla="*/ 16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16" y="0"/>
                      </a:moveTo>
                      <a:lnTo>
                        <a:pt x="0" y="0"/>
                      </a:lnTo>
                      <a:lnTo>
                        <a:pt x="0" y="1"/>
                      </a:lnTo>
                      <a:lnTo>
                        <a:pt x="0" y="16"/>
                      </a:lnTo>
                      <a:lnTo>
                        <a:pt x="16" y="16"/>
                      </a:lnTo>
                      <a:lnTo>
                        <a:pt x="16"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60" name="Freeform 18">
                  <a:extLst>
                    <a:ext uri="{FF2B5EF4-FFF2-40B4-BE49-F238E27FC236}">
                      <a16:creationId xmlns:a16="http://schemas.microsoft.com/office/drawing/2014/main" id="{ED8A2CAE-CF89-D20E-85C1-96A8A501B61E}"/>
                    </a:ext>
                  </a:extLst>
                </p:cNvPr>
                <p:cNvSpPr>
                  <a:spLocks/>
                </p:cNvSpPr>
                <p:nvPr/>
              </p:nvSpPr>
              <p:spPr bwMode="auto">
                <a:xfrm>
                  <a:off x="4032691" y="4311415"/>
                  <a:ext cx="221789" cy="177430"/>
                </a:xfrm>
                <a:custGeom>
                  <a:avLst/>
                  <a:gdLst>
                    <a:gd name="T0" fmla="*/ 0 w 20"/>
                    <a:gd name="T1" fmla="*/ 16 h 16"/>
                    <a:gd name="T2" fmla="*/ 20 w 20"/>
                    <a:gd name="T3" fmla="*/ 16 h 16"/>
                    <a:gd name="T4" fmla="*/ 20 w 20"/>
                    <a:gd name="T5" fmla="*/ 2 h 16"/>
                    <a:gd name="T6" fmla="*/ 20 w 20"/>
                    <a:gd name="T7" fmla="*/ 0 h 16"/>
                    <a:gd name="T8" fmla="*/ 4 w 20"/>
                    <a:gd name="T9" fmla="*/ 0 h 16"/>
                    <a:gd name="T10" fmla="*/ 4 w 20"/>
                    <a:gd name="T11" fmla="*/ 2 h 16"/>
                    <a:gd name="T12" fmla="*/ 0 w 2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0" h="16">
                      <a:moveTo>
                        <a:pt x="0" y="16"/>
                      </a:moveTo>
                      <a:lnTo>
                        <a:pt x="20" y="16"/>
                      </a:lnTo>
                      <a:lnTo>
                        <a:pt x="20" y="2"/>
                      </a:lnTo>
                      <a:lnTo>
                        <a:pt x="20" y="0"/>
                      </a:lnTo>
                      <a:lnTo>
                        <a:pt x="4" y="0"/>
                      </a:lnTo>
                      <a:lnTo>
                        <a:pt x="4" y="2"/>
                      </a:lnTo>
                      <a:lnTo>
                        <a:pt x="0" y="16"/>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61" name="Freeform 19">
                  <a:extLst>
                    <a:ext uri="{FF2B5EF4-FFF2-40B4-BE49-F238E27FC236}">
                      <a16:creationId xmlns:a16="http://schemas.microsoft.com/office/drawing/2014/main" id="{54BB6923-C08C-13B8-0074-05ECBDE8FD74}"/>
                    </a:ext>
                  </a:extLst>
                </p:cNvPr>
                <p:cNvSpPr>
                  <a:spLocks/>
                </p:cNvSpPr>
                <p:nvPr/>
              </p:nvSpPr>
              <p:spPr bwMode="auto">
                <a:xfrm>
                  <a:off x="3045732" y="3978734"/>
                  <a:ext cx="864976" cy="232877"/>
                </a:xfrm>
                <a:custGeom>
                  <a:avLst/>
                  <a:gdLst>
                    <a:gd name="T0" fmla="*/ 0 w 78"/>
                    <a:gd name="T1" fmla="*/ 21 h 21"/>
                    <a:gd name="T2" fmla="*/ 15 w 78"/>
                    <a:gd name="T3" fmla="*/ 21 h 21"/>
                    <a:gd name="T4" fmla="*/ 15 w 78"/>
                    <a:gd name="T5" fmla="*/ 21 h 21"/>
                    <a:gd name="T6" fmla="*/ 32 w 78"/>
                    <a:gd name="T7" fmla="*/ 21 h 21"/>
                    <a:gd name="T8" fmla="*/ 46 w 78"/>
                    <a:gd name="T9" fmla="*/ 21 h 21"/>
                    <a:gd name="T10" fmla="*/ 46 w 78"/>
                    <a:gd name="T11" fmla="*/ 21 h 21"/>
                    <a:gd name="T12" fmla="*/ 62 w 78"/>
                    <a:gd name="T13" fmla="*/ 21 h 21"/>
                    <a:gd name="T14" fmla="*/ 78 w 78"/>
                    <a:gd name="T15" fmla="*/ 21 h 21"/>
                    <a:gd name="T16" fmla="*/ 78 w 78"/>
                    <a:gd name="T17" fmla="*/ 0 h 21"/>
                    <a:gd name="T18" fmla="*/ 62 w 78"/>
                    <a:gd name="T19" fmla="*/ 0 h 21"/>
                    <a:gd name="T20" fmla="*/ 62 w 78"/>
                    <a:gd name="T21" fmla="*/ 21 h 21"/>
                    <a:gd name="T22" fmla="*/ 46 w 78"/>
                    <a:gd name="T23" fmla="*/ 21 h 21"/>
                    <a:gd name="T24" fmla="*/ 46 w 78"/>
                    <a:gd name="T25" fmla="*/ 18 h 21"/>
                    <a:gd name="T26" fmla="*/ 46 w 78"/>
                    <a:gd name="T27" fmla="*/ 0 h 21"/>
                    <a:gd name="T28" fmla="*/ 32 w 78"/>
                    <a:gd name="T29" fmla="*/ 0 h 21"/>
                    <a:gd name="T30" fmla="*/ 32 w 78"/>
                    <a:gd name="T31" fmla="*/ 21 h 21"/>
                    <a:gd name="T32" fmla="*/ 15 w 78"/>
                    <a:gd name="T33" fmla="*/ 21 h 21"/>
                    <a:gd name="T34" fmla="*/ 15 w 78"/>
                    <a:gd name="T35" fmla="*/ 21 h 21"/>
                    <a:gd name="T36" fmla="*/ 15 w 78"/>
                    <a:gd name="T37" fmla="*/ 19 h 21"/>
                    <a:gd name="T38" fmla="*/ 15 w 78"/>
                    <a:gd name="T39" fmla="*/ 18 h 21"/>
                    <a:gd name="T40" fmla="*/ 15 w 78"/>
                    <a:gd name="T41" fmla="*/ 18 h 21"/>
                    <a:gd name="T42" fmla="*/ 15 w 78"/>
                    <a:gd name="T43" fmla="*/ 0 h 21"/>
                    <a:gd name="T44" fmla="*/ 0 w 78"/>
                    <a:gd name="T45" fmla="*/ 0 h 21"/>
                    <a:gd name="T46" fmla="*/ 0 w 78"/>
                    <a:gd name="T47" fmla="*/ 1 h 21"/>
                    <a:gd name="T48" fmla="*/ 0 w 78"/>
                    <a:gd name="T4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21">
                      <a:moveTo>
                        <a:pt x="0" y="21"/>
                      </a:moveTo>
                      <a:lnTo>
                        <a:pt x="15" y="21"/>
                      </a:lnTo>
                      <a:lnTo>
                        <a:pt x="15" y="21"/>
                      </a:lnTo>
                      <a:lnTo>
                        <a:pt x="32" y="21"/>
                      </a:lnTo>
                      <a:lnTo>
                        <a:pt x="46" y="21"/>
                      </a:lnTo>
                      <a:lnTo>
                        <a:pt x="46" y="21"/>
                      </a:lnTo>
                      <a:lnTo>
                        <a:pt x="62" y="21"/>
                      </a:lnTo>
                      <a:lnTo>
                        <a:pt x="78" y="21"/>
                      </a:lnTo>
                      <a:lnTo>
                        <a:pt x="78" y="0"/>
                      </a:lnTo>
                      <a:lnTo>
                        <a:pt x="62" y="0"/>
                      </a:lnTo>
                      <a:lnTo>
                        <a:pt x="62" y="21"/>
                      </a:lnTo>
                      <a:lnTo>
                        <a:pt x="46" y="21"/>
                      </a:lnTo>
                      <a:lnTo>
                        <a:pt x="46" y="18"/>
                      </a:lnTo>
                      <a:lnTo>
                        <a:pt x="46" y="0"/>
                      </a:lnTo>
                      <a:lnTo>
                        <a:pt x="32" y="0"/>
                      </a:lnTo>
                      <a:lnTo>
                        <a:pt x="32" y="21"/>
                      </a:lnTo>
                      <a:lnTo>
                        <a:pt x="15" y="21"/>
                      </a:lnTo>
                      <a:lnTo>
                        <a:pt x="15" y="21"/>
                      </a:lnTo>
                      <a:lnTo>
                        <a:pt x="15" y="19"/>
                      </a:lnTo>
                      <a:lnTo>
                        <a:pt x="15" y="18"/>
                      </a:lnTo>
                      <a:lnTo>
                        <a:pt x="15" y="18"/>
                      </a:lnTo>
                      <a:lnTo>
                        <a:pt x="15" y="0"/>
                      </a:lnTo>
                      <a:lnTo>
                        <a:pt x="0" y="0"/>
                      </a:lnTo>
                      <a:lnTo>
                        <a:pt x="0" y="1"/>
                      </a:lnTo>
                      <a:lnTo>
                        <a:pt x="0" y="2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62" name="Freeform 22">
                  <a:extLst>
                    <a:ext uri="{FF2B5EF4-FFF2-40B4-BE49-F238E27FC236}">
                      <a16:creationId xmlns:a16="http://schemas.microsoft.com/office/drawing/2014/main" id="{C929A528-96D0-9EB6-255D-51392BC55660}"/>
                    </a:ext>
                  </a:extLst>
                </p:cNvPr>
                <p:cNvSpPr>
                  <a:spLocks noEditPoints="1"/>
                </p:cNvSpPr>
                <p:nvPr/>
              </p:nvSpPr>
              <p:spPr bwMode="auto">
                <a:xfrm>
                  <a:off x="2513439" y="4156164"/>
                  <a:ext cx="1563610" cy="1563603"/>
                </a:xfrm>
                <a:custGeom>
                  <a:avLst/>
                  <a:gdLst>
                    <a:gd name="T0" fmla="*/ 0 w 141"/>
                    <a:gd name="T1" fmla="*/ 0 h 141"/>
                    <a:gd name="T2" fmla="*/ 0 w 141"/>
                    <a:gd name="T3" fmla="*/ 141 h 141"/>
                    <a:gd name="T4" fmla="*/ 141 w 141"/>
                    <a:gd name="T5" fmla="*/ 141 h 141"/>
                    <a:gd name="T6" fmla="*/ 141 w 141"/>
                    <a:gd name="T7" fmla="*/ 0 h 141"/>
                    <a:gd name="T8" fmla="*/ 0 w 141"/>
                    <a:gd name="T9" fmla="*/ 0 h 141"/>
                    <a:gd name="T10" fmla="*/ 126 w 141"/>
                    <a:gd name="T11" fmla="*/ 124 h 141"/>
                    <a:gd name="T12" fmla="*/ 17 w 141"/>
                    <a:gd name="T13" fmla="*/ 124 h 141"/>
                    <a:gd name="T14" fmla="*/ 17 w 141"/>
                    <a:gd name="T15" fmla="*/ 16 h 141"/>
                    <a:gd name="T16" fmla="*/ 126 w 141"/>
                    <a:gd name="T17" fmla="*/ 16 h 141"/>
                    <a:gd name="T18" fmla="*/ 126 w 141"/>
                    <a:gd name="T19" fmla="*/ 12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0" y="0"/>
                      </a:moveTo>
                      <a:lnTo>
                        <a:pt x="0" y="141"/>
                      </a:lnTo>
                      <a:lnTo>
                        <a:pt x="141" y="141"/>
                      </a:lnTo>
                      <a:lnTo>
                        <a:pt x="141" y="0"/>
                      </a:lnTo>
                      <a:lnTo>
                        <a:pt x="0" y="0"/>
                      </a:lnTo>
                      <a:close/>
                      <a:moveTo>
                        <a:pt x="126" y="124"/>
                      </a:moveTo>
                      <a:lnTo>
                        <a:pt x="17" y="124"/>
                      </a:lnTo>
                      <a:lnTo>
                        <a:pt x="17" y="16"/>
                      </a:lnTo>
                      <a:lnTo>
                        <a:pt x="126" y="16"/>
                      </a:lnTo>
                      <a:lnTo>
                        <a:pt x="126" y="124"/>
                      </a:lnTo>
                      <a:close/>
                    </a:path>
                  </a:pathLst>
                </a:custGeom>
                <a:solidFill>
                  <a:schemeClr val="tx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grpSp>
        <p:grpSp>
          <p:nvGrpSpPr>
            <p:cNvPr id="163" name="Group 162">
              <a:extLst>
                <a:ext uri="{FF2B5EF4-FFF2-40B4-BE49-F238E27FC236}">
                  <a16:creationId xmlns:a16="http://schemas.microsoft.com/office/drawing/2014/main" id="{212BB3E5-C2F6-FCEA-CCEC-8796C5D04A34}"/>
                </a:ext>
              </a:extLst>
            </p:cNvPr>
            <p:cNvGrpSpPr/>
            <p:nvPr/>
          </p:nvGrpSpPr>
          <p:grpSpPr>
            <a:xfrm>
              <a:off x="8998412" y="3641101"/>
              <a:ext cx="655182" cy="651370"/>
              <a:chOff x="2347098" y="3978734"/>
              <a:chExt cx="1907382" cy="1896284"/>
            </a:xfrm>
          </p:grpSpPr>
          <p:sp>
            <p:nvSpPr>
              <p:cNvPr id="164" name="Rectangle 20">
                <a:extLst>
                  <a:ext uri="{FF2B5EF4-FFF2-40B4-BE49-F238E27FC236}">
                    <a16:creationId xmlns:a16="http://schemas.microsoft.com/office/drawing/2014/main" id="{156375F4-A34E-6506-69F5-545717BC5AD3}"/>
                  </a:ext>
                </a:extLst>
              </p:cNvPr>
              <p:cNvSpPr>
                <a:spLocks noChangeArrowheads="1"/>
              </p:cNvSpPr>
              <p:nvPr/>
            </p:nvSpPr>
            <p:spPr bwMode="auto">
              <a:xfrm>
                <a:off x="2701960" y="4333594"/>
                <a:ext cx="1208748" cy="1197654"/>
              </a:xfrm>
              <a:prstGeom prst="rect">
                <a:avLst/>
              </a:prstGeom>
              <a:solidFill>
                <a:schemeClr val="bg1">
                  <a:lumMod val="85000"/>
                  <a:lumOff val="15000"/>
                </a:schemeClr>
              </a:solidFill>
              <a:ln w="9525">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effectLst/>
                    <a:uLnTx/>
                    <a:uFillTx/>
                    <a:latin typeface="Segoe UI" panose="020B0502040204020203" pitchFamily="34" charset="0"/>
                    <a:cs typeface="Segoe UI" panose="020B0502040204020203" pitchFamily="34" charset="0"/>
                  </a:rPr>
                  <a:t>GPU 0</a:t>
                </a:r>
              </a:p>
            </p:txBody>
          </p:sp>
          <p:grpSp>
            <p:nvGrpSpPr>
              <p:cNvPr id="165" name="Group 164">
                <a:extLst>
                  <a:ext uri="{FF2B5EF4-FFF2-40B4-BE49-F238E27FC236}">
                    <a16:creationId xmlns:a16="http://schemas.microsoft.com/office/drawing/2014/main" id="{66806B3E-8596-325E-5F59-6DC7FCCC3289}"/>
                  </a:ext>
                </a:extLst>
              </p:cNvPr>
              <p:cNvGrpSpPr/>
              <p:nvPr/>
            </p:nvGrpSpPr>
            <p:grpSpPr>
              <a:xfrm>
                <a:off x="2347098" y="3978734"/>
                <a:ext cx="1907382" cy="1896284"/>
                <a:chOff x="2347098" y="3978734"/>
                <a:chExt cx="1907382" cy="1896284"/>
              </a:xfrm>
            </p:grpSpPr>
            <p:sp>
              <p:nvSpPr>
                <p:cNvPr id="166" name="Rectangle 6">
                  <a:extLst>
                    <a:ext uri="{FF2B5EF4-FFF2-40B4-BE49-F238E27FC236}">
                      <a16:creationId xmlns:a16="http://schemas.microsoft.com/office/drawing/2014/main" id="{371001CC-8B31-21DF-BD0F-533A6E6EE748}"/>
                    </a:ext>
                  </a:extLst>
                </p:cNvPr>
                <p:cNvSpPr>
                  <a:spLocks noChangeArrowheads="1"/>
                </p:cNvSpPr>
                <p:nvPr/>
              </p:nvSpPr>
              <p:spPr bwMode="auto">
                <a:xfrm>
                  <a:off x="2347098" y="4666276"/>
                  <a:ext cx="16634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67" name="Rectangle 7">
                  <a:extLst>
                    <a:ext uri="{FF2B5EF4-FFF2-40B4-BE49-F238E27FC236}">
                      <a16:creationId xmlns:a16="http://schemas.microsoft.com/office/drawing/2014/main" id="{78A42072-8113-FD93-3E3D-2717AC529F50}"/>
                    </a:ext>
                  </a:extLst>
                </p:cNvPr>
                <p:cNvSpPr>
                  <a:spLocks noChangeArrowheads="1"/>
                </p:cNvSpPr>
                <p:nvPr/>
              </p:nvSpPr>
              <p:spPr bwMode="auto">
                <a:xfrm>
                  <a:off x="2347098" y="5021136"/>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68" name="Rectangle 8">
                  <a:extLst>
                    <a:ext uri="{FF2B5EF4-FFF2-40B4-BE49-F238E27FC236}">
                      <a16:creationId xmlns:a16="http://schemas.microsoft.com/office/drawing/2014/main" id="{EC1A5C31-A021-FB36-E7F1-24BFF46C1EC1}"/>
                    </a:ext>
                  </a:extLst>
                </p:cNvPr>
                <p:cNvSpPr>
                  <a:spLocks noChangeArrowheads="1"/>
                </p:cNvSpPr>
                <p:nvPr/>
              </p:nvSpPr>
              <p:spPr bwMode="auto">
                <a:xfrm>
                  <a:off x="2347098" y="5364907"/>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69" name="Rectangle 9">
                  <a:extLst>
                    <a:ext uri="{FF2B5EF4-FFF2-40B4-BE49-F238E27FC236}">
                      <a16:creationId xmlns:a16="http://schemas.microsoft.com/office/drawing/2014/main" id="{CAE30F9D-E9DD-22DA-0E5D-51D8D1837C5B}"/>
                    </a:ext>
                  </a:extLst>
                </p:cNvPr>
                <p:cNvSpPr>
                  <a:spLocks noChangeArrowheads="1"/>
                </p:cNvSpPr>
                <p:nvPr/>
              </p:nvSpPr>
              <p:spPr bwMode="auto">
                <a:xfrm>
                  <a:off x="2347098" y="4333594"/>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70" name="Rectangle 10">
                  <a:extLst>
                    <a:ext uri="{FF2B5EF4-FFF2-40B4-BE49-F238E27FC236}">
                      <a16:creationId xmlns:a16="http://schemas.microsoft.com/office/drawing/2014/main" id="{5C425915-7D62-9FC7-CB8C-8A8A3BAF3B7B}"/>
                    </a:ext>
                  </a:extLst>
                </p:cNvPr>
                <p:cNvSpPr>
                  <a:spLocks noChangeArrowheads="1"/>
                </p:cNvSpPr>
                <p:nvPr/>
              </p:nvSpPr>
              <p:spPr bwMode="auto">
                <a:xfrm>
                  <a:off x="4077049" y="4666276"/>
                  <a:ext cx="17743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71" name="Freeform 11">
                  <a:extLst>
                    <a:ext uri="{FF2B5EF4-FFF2-40B4-BE49-F238E27FC236}">
                      <a16:creationId xmlns:a16="http://schemas.microsoft.com/office/drawing/2014/main" id="{5E5736CA-5C06-775B-7068-45506965DE4C}"/>
                    </a:ext>
                  </a:extLst>
                </p:cNvPr>
                <p:cNvSpPr>
                  <a:spLocks/>
                </p:cNvSpPr>
                <p:nvPr/>
              </p:nvSpPr>
              <p:spPr bwMode="auto">
                <a:xfrm>
                  <a:off x="4077049" y="5364907"/>
                  <a:ext cx="177431" cy="166341"/>
                </a:xfrm>
                <a:custGeom>
                  <a:avLst/>
                  <a:gdLst>
                    <a:gd name="T0" fmla="*/ 0 w 16"/>
                    <a:gd name="T1" fmla="*/ 0 h 15"/>
                    <a:gd name="T2" fmla="*/ 0 w 16"/>
                    <a:gd name="T3" fmla="*/ 15 h 15"/>
                    <a:gd name="T4" fmla="*/ 15 w 16"/>
                    <a:gd name="T5" fmla="*/ 15 h 15"/>
                    <a:gd name="T6" fmla="*/ 16 w 16"/>
                    <a:gd name="T7" fmla="*/ 15 h 15"/>
                    <a:gd name="T8" fmla="*/ 16 w 16"/>
                    <a:gd name="T9" fmla="*/ 0 h 15"/>
                    <a:gd name="T10" fmla="*/ 15 w 16"/>
                    <a:gd name="T11" fmla="*/ 0 h 15"/>
                    <a:gd name="T12" fmla="*/ 0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0" y="0"/>
                      </a:moveTo>
                      <a:lnTo>
                        <a:pt x="0" y="15"/>
                      </a:lnTo>
                      <a:lnTo>
                        <a:pt x="15" y="15"/>
                      </a:lnTo>
                      <a:lnTo>
                        <a:pt x="16" y="15"/>
                      </a:lnTo>
                      <a:lnTo>
                        <a:pt x="16" y="0"/>
                      </a:lnTo>
                      <a:lnTo>
                        <a:pt x="15" y="0"/>
                      </a:lnTo>
                      <a:lnTo>
                        <a:pt x="0"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72" name="Rectangle 12">
                  <a:extLst>
                    <a:ext uri="{FF2B5EF4-FFF2-40B4-BE49-F238E27FC236}">
                      <a16:creationId xmlns:a16="http://schemas.microsoft.com/office/drawing/2014/main" id="{0172FA4B-FCE8-D738-1382-6AC75B59229A}"/>
                    </a:ext>
                  </a:extLst>
                </p:cNvPr>
                <p:cNvSpPr>
                  <a:spLocks noChangeArrowheads="1"/>
                </p:cNvSpPr>
                <p:nvPr/>
              </p:nvSpPr>
              <p:spPr bwMode="auto">
                <a:xfrm>
                  <a:off x="3045732"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73" name="Rectangle 13">
                  <a:extLst>
                    <a:ext uri="{FF2B5EF4-FFF2-40B4-BE49-F238E27FC236}">
                      <a16:creationId xmlns:a16="http://schemas.microsoft.com/office/drawing/2014/main" id="{AB7137C9-2980-03B4-E657-69160AB69125}"/>
                    </a:ext>
                  </a:extLst>
                </p:cNvPr>
                <p:cNvSpPr>
                  <a:spLocks noChangeArrowheads="1"/>
                </p:cNvSpPr>
                <p:nvPr/>
              </p:nvSpPr>
              <p:spPr bwMode="auto">
                <a:xfrm>
                  <a:off x="2701960"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74" name="Freeform 14">
                  <a:extLst>
                    <a:ext uri="{FF2B5EF4-FFF2-40B4-BE49-F238E27FC236}">
                      <a16:creationId xmlns:a16="http://schemas.microsoft.com/office/drawing/2014/main" id="{492E4F86-936A-382F-F665-C9445F8891AB}"/>
                    </a:ext>
                  </a:extLst>
                </p:cNvPr>
                <p:cNvSpPr>
                  <a:spLocks/>
                </p:cNvSpPr>
                <p:nvPr/>
              </p:nvSpPr>
              <p:spPr bwMode="auto">
                <a:xfrm>
                  <a:off x="2690870" y="3978734"/>
                  <a:ext cx="166341" cy="177430"/>
                </a:xfrm>
                <a:custGeom>
                  <a:avLst/>
                  <a:gdLst>
                    <a:gd name="T0" fmla="*/ 15 w 15"/>
                    <a:gd name="T1" fmla="*/ 1 h 16"/>
                    <a:gd name="T2" fmla="*/ 15 w 15"/>
                    <a:gd name="T3" fmla="*/ 0 h 16"/>
                    <a:gd name="T4" fmla="*/ 0 w 15"/>
                    <a:gd name="T5" fmla="*/ 0 h 16"/>
                    <a:gd name="T6" fmla="*/ 0 w 15"/>
                    <a:gd name="T7" fmla="*/ 1 h 16"/>
                    <a:gd name="T8" fmla="*/ 0 w 15"/>
                    <a:gd name="T9" fmla="*/ 16 h 16"/>
                    <a:gd name="T10" fmla="*/ 15 w 15"/>
                    <a:gd name="T11" fmla="*/ 16 h 16"/>
                    <a:gd name="T12" fmla="*/ 15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5" y="1"/>
                      </a:moveTo>
                      <a:lnTo>
                        <a:pt x="15" y="0"/>
                      </a:lnTo>
                      <a:lnTo>
                        <a:pt x="0" y="0"/>
                      </a:lnTo>
                      <a:lnTo>
                        <a:pt x="0" y="1"/>
                      </a:lnTo>
                      <a:lnTo>
                        <a:pt x="0" y="16"/>
                      </a:lnTo>
                      <a:lnTo>
                        <a:pt x="15" y="16"/>
                      </a:lnTo>
                      <a:lnTo>
                        <a:pt x="15" y="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75" name="Rectangle 15">
                  <a:extLst>
                    <a:ext uri="{FF2B5EF4-FFF2-40B4-BE49-F238E27FC236}">
                      <a16:creationId xmlns:a16="http://schemas.microsoft.com/office/drawing/2014/main" id="{3F6D8762-5070-DF47-4ECB-614E98ADA042}"/>
                    </a:ext>
                  </a:extLst>
                </p:cNvPr>
                <p:cNvSpPr>
                  <a:spLocks noChangeArrowheads="1"/>
                </p:cNvSpPr>
                <p:nvPr/>
              </p:nvSpPr>
              <p:spPr bwMode="auto">
                <a:xfrm>
                  <a:off x="3733277"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76" name="Rectangle 16">
                  <a:extLst>
                    <a:ext uri="{FF2B5EF4-FFF2-40B4-BE49-F238E27FC236}">
                      <a16:creationId xmlns:a16="http://schemas.microsoft.com/office/drawing/2014/main" id="{06B15183-BF5B-5A7B-56CD-321FF5F992F4}"/>
                    </a:ext>
                  </a:extLst>
                </p:cNvPr>
                <p:cNvSpPr>
                  <a:spLocks noChangeArrowheads="1"/>
                </p:cNvSpPr>
                <p:nvPr/>
              </p:nvSpPr>
              <p:spPr bwMode="auto">
                <a:xfrm>
                  <a:off x="3378415"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77" name="Freeform 17">
                  <a:extLst>
                    <a:ext uri="{FF2B5EF4-FFF2-40B4-BE49-F238E27FC236}">
                      <a16:creationId xmlns:a16="http://schemas.microsoft.com/office/drawing/2014/main" id="{424B6EF6-5B8A-4C90-DF45-4BD09F53FE0E}"/>
                    </a:ext>
                  </a:extLst>
                </p:cNvPr>
                <p:cNvSpPr>
                  <a:spLocks/>
                </p:cNvSpPr>
                <p:nvPr/>
              </p:nvSpPr>
              <p:spPr bwMode="auto">
                <a:xfrm>
                  <a:off x="4077049" y="5010047"/>
                  <a:ext cx="177431" cy="177430"/>
                </a:xfrm>
                <a:custGeom>
                  <a:avLst/>
                  <a:gdLst>
                    <a:gd name="T0" fmla="*/ 16 w 16"/>
                    <a:gd name="T1" fmla="*/ 0 h 16"/>
                    <a:gd name="T2" fmla="*/ 0 w 16"/>
                    <a:gd name="T3" fmla="*/ 0 h 16"/>
                    <a:gd name="T4" fmla="*/ 0 w 16"/>
                    <a:gd name="T5" fmla="*/ 1 h 16"/>
                    <a:gd name="T6" fmla="*/ 0 w 16"/>
                    <a:gd name="T7" fmla="*/ 16 h 16"/>
                    <a:gd name="T8" fmla="*/ 16 w 16"/>
                    <a:gd name="T9" fmla="*/ 16 h 16"/>
                    <a:gd name="T10" fmla="*/ 16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16" y="0"/>
                      </a:moveTo>
                      <a:lnTo>
                        <a:pt x="0" y="0"/>
                      </a:lnTo>
                      <a:lnTo>
                        <a:pt x="0" y="1"/>
                      </a:lnTo>
                      <a:lnTo>
                        <a:pt x="0" y="16"/>
                      </a:lnTo>
                      <a:lnTo>
                        <a:pt x="16" y="16"/>
                      </a:lnTo>
                      <a:lnTo>
                        <a:pt x="16"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78" name="Freeform 18">
                  <a:extLst>
                    <a:ext uri="{FF2B5EF4-FFF2-40B4-BE49-F238E27FC236}">
                      <a16:creationId xmlns:a16="http://schemas.microsoft.com/office/drawing/2014/main" id="{CF789C22-1130-7ACE-392B-0EFCC243E003}"/>
                    </a:ext>
                  </a:extLst>
                </p:cNvPr>
                <p:cNvSpPr>
                  <a:spLocks/>
                </p:cNvSpPr>
                <p:nvPr/>
              </p:nvSpPr>
              <p:spPr bwMode="auto">
                <a:xfrm>
                  <a:off x="4032691" y="4311415"/>
                  <a:ext cx="221789" cy="177430"/>
                </a:xfrm>
                <a:custGeom>
                  <a:avLst/>
                  <a:gdLst>
                    <a:gd name="T0" fmla="*/ 0 w 20"/>
                    <a:gd name="T1" fmla="*/ 16 h 16"/>
                    <a:gd name="T2" fmla="*/ 20 w 20"/>
                    <a:gd name="T3" fmla="*/ 16 h 16"/>
                    <a:gd name="T4" fmla="*/ 20 w 20"/>
                    <a:gd name="T5" fmla="*/ 2 h 16"/>
                    <a:gd name="T6" fmla="*/ 20 w 20"/>
                    <a:gd name="T7" fmla="*/ 0 h 16"/>
                    <a:gd name="T8" fmla="*/ 4 w 20"/>
                    <a:gd name="T9" fmla="*/ 0 h 16"/>
                    <a:gd name="T10" fmla="*/ 4 w 20"/>
                    <a:gd name="T11" fmla="*/ 2 h 16"/>
                    <a:gd name="T12" fmla="*/ 0 w 2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0" h="16">
                      <a:moveTo>
                        <a:pt x="0" y="16"/>
                      </a:moveTo>
                      <a:lnTo>
                        <a:pt x="20" y="16"/>
                      </a:lnTo>
                      <a:lnTo>
                        <a:pt x="20" y="2"/>
                      </a:lnTo>
                      <a:lnTo>
                        <a:pt x="20" y="0"/>
                      </a:lnTo>
                      <a:lnTo>
                        <a:pt x="4" y="0"/>
                      </a:lnTo>
                      <a:lnTo>
                        <a:pt x="4" y="2"/>
                      </a:lnTo>
                      <a:lnTo>
                        <a:pt x="0" y="16"/>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79" name="Freeform 19">
                  <a:extLst>
                    <a:ext uri="{FF2B5EF4-FFF2-40B4-BE49-F238E27FC236}">
                      <a16:creationId xmlns:a16="http://schemas.microsoft.com/office/drawing/2014/main" id="{F492A0F1-AAAD-91B8-9909-20CCD08BC228}"/>
                    </a:ext>
                  </a:extLst>
                </p:cNvPr>
                <p:cNvSpPr>
                  <a:spLocks/>
                </p:cNvSpPr>
                <p:nvPr/>
              </p:nvSpPr>
              <p:spPr bwMode="auto">
                <a:xfrm>
                  <a:off x="3045732" y="3978734"/>
                  <a:ext cx="864976" cy="232877"/>
                </a:xfrm>
                <a:custGeom>
                  <a:avLst/>
                  <a:gdLst>
                    <a:gd name="T0" fmla="*/ 0 w 78"/>
                    <a:gd name="T1" fmla="*/ 21 h 21"/>
                    <a:gd name="T2" fmla="*/ 15 w 78"/>
                    <a:gd name="T3" fmla="*/ 21 h 21"/>
                    <a:gd name="T4" fmla="*/ 15 w 78"/>
                    <a:gd name="T5" fmla="*/ 21 h 21"/>
                    <a:gd name="T6" fmla="*/ 32 w 78"/>
                    <a:gd name="T7" fmla="*/ 21 h 21"/>
                    <a:gd name="T8" fmla="*/ 46 w 78"/>
                    <a:gd name="T9" fmla="*/ 21 h 21"/>
                    <a:gd name="T10" fmla="*/ 46 w 78"/>
                    <a:gd name="T11" fmla="*/ 21 h 21"/>
                    <a:gd name="T12" fmla="*/ 62 w 78"/>
                    <a:gd name="T13" fmla="*/ 21 h 21"/>
                    <a:gd name="T14" fmla="*/ 78 w 78"/>
                    <a:gd name="T15" fmla="*/ 21 h 21"/>
                    <a:gd name="T16" fmla="*/ 78 w 78"/>
                    <a:gd name="T17" fmla="*/ 0 h 21"/>
                    <a:gd name="T18" fmla="*/ 62 w 78"/>
                    <a:gd name="T19" fmla="*/ 0 h 21"/>
                    <a:gd name="T20" fmla="*/ 62 w 78"/>
                    <a:gd name="T21" fmla="*/ 21 h 21"/>
                    <a:gd name="T22" fmla="*/ 46 w 78"/>
                    <a:gd name="T23" fmla="*/ 21 h 21"/>
                    <a:gd name="T24" fmla="*/ 46 w 78"/>
                    <a:gd name="T25" fmla="*/ 18 h 21"/>
                    <a:gd name="T26" fmla="*/ 46 w 78"/>
                    <a:gd name="T27" fmla="*/ 0 h 21"/>
                    <a:gd name="T28" fmla="*/ 32 w 78"/>
                    <a:gd name="T29" fmla="*/ 0 h 21"/>
                    <a:gd name="T30" fmla="*/ 32 w 78"/>
                    <a:gd name="T31" fmla="*/ 21 h 21"/>
                    <a:gd name="T32" fmla="*/ 15 w 78"/>
                    <a:gd name="T33" fmla="*/ 21 h 21"/>
                    <a:gd name="T34" fmla="*/ 15 w 78"/>
                    <a:gd name="T35" fmla="*/ 21 h 21"/>
                    <a:gd name="T36" fmla="*/ 15 w 78"/>
                    <a:gd name="T37" fmla="*/ 19 h 21"/>
                    <a:gd name="T38" fmla="*/ 15 w 78"/>
                    <a:gd name="T39" fmla="*/ 18 h 21"/>
                    <a:gd name="T40" fmla="*/ 15 w 78"/>
                    <a:gd name="T41" fmla="*/ 18 h 21"/>
                    <a:gd name="T42" fmla="*/ 15 w 78"/>
                    <a:gd name="T43" fmla="*/ 0 h 21"/>
                    <a:gd name="T44" fmla="*/ 0 w 78"/>
                    <a:gd name="T45" fmla="*/ 0 h 21"/>
                    <a:gd name="T46" fmla="*/ 0 w 78"/>
                    <a:gd name="T47" fmla="*/ 1 h 21"/>
                    <a:gd name="T48" fmla="*/ 0 w 78"/>
                    <a:gd name="T4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21">
                      <a:moveTo>
                        <a:pt x="0" y="21"/>
                      </a:moveTo>
                      <a:lnTo>
                        <a:pt x="15" y="21"/>
                      </a:lnTo>
                      <a:lnTo>
                        <a:pt x="15" y="21"/>
                      </a:lnTo>
                      <a:lnTo>
                        <a:pt x="32" y="21"/>
                      </a:lnTo>
                      <a:lnTo>
                        <a:pt x="46" y="21"/>
                      </a:lnTo>
                      <a:lnTo>
                        <a:pt x="46" y="21"/>
                      </a:lnTo>
                      <a:lnTo>
                        <a:pt x="62" y="21"/>
                      </a:lnTo>
                      <a:lnTo>
                        <a:pt x="78" y="21"/>
                      </a:lnTo>
                      <a:lnTo>
                        <a:pt x="78" y="0"/>
                      </a:lnTo>
                      <a:lnTo>
                        <a:pt x="62" y="0"/>
                      </a:lnTo>
                      <a:lnTo>
                        <a:pt x="62" y="21"/>
                      </a:lnTo>
                      <a:lnTo>
                        <a:pt x="46" y="21"/>
                      </a:lnTo>
                      <a:lnTo>
                        <a:pt x="46" y="18"/>
                      </a:lnTo>
                      <a:lnTo>
                        <a:pt x="46" y="0"/>
                      </a:lnTo>
                      <a:lnTo>
                        <a:pt x="32" y="0"/>
                      </a:lnTo>
                      <a:lnTo>
                        <a:pt x="32" y="21"/>
                      </a:lnTo>
                      <a:lnTo>
                        <a:pt x="15" y="21"/>
                      </a:lnTo>
                      <a:lnTo>
                        <a:pt x="15" y="21"/>
                      </a:lnTo>
                      <a:lnTo>
                        <a:pt x="15" y="19"/>
                      </a:lnTo>
                      <a:lnTo>
                        <a:pt x="15" y="18"/>
                      </a:lnTo>
                      <a:lnTo>
                        <a:pt x="15" y="18"/>
                      </a:lnTo>
                      <a:lnTo>
                        <a:pt x="15" y="0"/>
                      </a:lnTo>
                      <a:lnTo>
                        <a:pt x="0" y="0"/>
                      </a:lnTo>
                      <a:lnTo>
                        <a:pt x="0" y="1"/>
                      </a:lnTo>
                      <a:lnTo>
                        <a:pt x="0" y="2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80" name="Freeform 22">
                  <a:extLst>
                    <a:ext uri="{FF2B5EF4-FFF2-40B4-BE49-F238E27FC236}">
                      <a16:creationId xmlns:a16="http://schemas.microsoft.com/office/drawing/2014/main" id="{042ED91A-32C7-B43B-20DD-204796EA39F2}"/>
                    </a:ext>
                  </a:extLst>
                </p:cNvPr>
                <p:cNvSpPr>
                  <a:spLocks noEditPoints="1"/>
                </p:cNvSpPr>
                <p:nvPr/>
              </p:nvSpPr>
              <p:spPr bwMode="auto">
                <a:xfrm>
                  <a:off x="2513439" y="4156164"/>
                  <a:ext cx="1563610" cy="1563603"/>
                </a:xfrm>
                <a:custGeom>
                  <a:avLst/>
                  <a:gdLst>
                    <a:gd name="T0" fmla="*/ 0 w 141"/>
                    <a:gd name="T1" fmla="*/ 0 h 141"/>
                    <a:gd name="T2" fmla="*/ 0 w 141"/>
                    <a:gd name="T3" fmla="*/ 141 h 141"/>
                    <a:gd name="T4" fmla="*/ 141 w 141"/>
                    <a:gd name="T5" fmla="*/ 141 h 141"/>
                    <a:gd name="T6" fmla="*/ 141 w 141"/>
                    <a:gd name="T7" fmla="*/ 0 h 141"/>
                    <a:gd name="T8" fmla="*/ 0 w 141"/>
                    <a:gd name="T9" fmla="*/ 0 h 141"/>
                    <a:gd name="T10" fmla="*/ 126 w 141"/>
                    <a:gd name="T11" fmla="*/ 124 h 141"/>
                    <a:gd name="T12" fmla="*/ 17 w 141"/>
                    <a:gd name="T13" fmla="*/ 124 h 141"/>
                    <a:gd name="T14" fmla="*/ 17 w 141"/>
                    <a:gd name="T15" fmla="*/ 16 h 141"/>
                    <a:gd name="T16" fmla="*/ 126 w 141"/>
                    <a:gd name="T17" fmla="*/ 16 h 141"/>
                    <a:gd name="T18" fmla="*/ 126 w 141"/>
                    <a:gd name="T19" fmla="*/ 12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0" y="0"/>
                      </a:moveTo>
                      <a:lnTo>
                        <a:pt x="0" y="141"/>
                      </a:lnTo>
                      <a:lnTo>
                        <a:pt x="141" y="141"/>
                      </a:lnTo>
                      <a:lnTo>
                        <a:pt x="141" y="0"/>
                      </a:lnTo>
                      <a:lnTo>
                        <a:pt x="0" y="0"/>
                      </a:lnTo>
                      <a:close/>
                      <a:moveTo>
                        <a:pt x="126" y="124"/>
                      </a:moveTo>
                      <a:lnTo>
                        <a:pt x="17" y="124"/>
                      </a:lnTo>
                      <a:lnTo>
                        <a:pt x="17" y="16"/>
                      </a:lnTo>
                      <a:lnTo>
                        <a:pt x="126" y="16"/>
                      </a:lnTo>
                      <a:lnTo>
                        <a:pt x="126" y="124"/>
                      </a:lnTo>
                      <a:close/>
                    </a:path>
                  </a:pathLst>
                </a:custGeom>
                <a:solidFill>
                  <a:schemeClr val="tx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grpSp>
        <p:grpSp>
          <p:nvGrpSpPr>
            <p:cNvPr id="181" name="Group 180">
              <a:extLst>
                <a:ext uri="{FF2B5EF4-FFF2-40B4-BE49-F238E27FC236}">
                  <a16:creationId xmlns:a16="http://schemas.microsoft.com/office/drawing/2014/main" id="{F9216181-27FD-7DED-AAD8-60A11F24054A}"/>
                </a:ext>
              </a:extLst>
            </p:cNvPr>
            <p:cNvGrpSpPr/>
            <p:nvPr/>
          </p:nvGrpSpPr>
          <p:grpSpPr>
            <a:xfrm>
              <a:off x="10000816" y="3641101"/>
              <a:ext cx="655182" cy="651370"/>
              <a:chOff x="2347098" y="3978734"/>
              <a:chExt cx="1907382" cy="1896284"/>
            </a:xfrm>
          </p:grpSpPr>
          <p:sp>
            <p:nvSpPr>
              <p:cNvPr id="182" name="Rectangle 20">
                <a:extLst>
                  <a:ext uri="{FF2B5EF4-FFF2-40B4-BE49-F238E27FC236}">
                    <a16:creationId xmlns:a16="http://schemas.microsoft.com/office/drawing/2014/main" id="{9D9791F1-2F38-C20B-E896-2229D5654F5A}"/>
                  </a:ext>
                </a:extLst>
              </p:cNvPr>
              <p:cNvSpPr>
                <a:spLocks noChangeArrowheads="1"/>
              </p:cNvSpPr>
              <p:nvPr/>
            </p:nvSpPr>
            <p:spPr bwMode="auto">
              <a:xfrm>
                <a:off x="2701960" y="4333594"/>
                <a:ext cx="1208748" cy="1197654"/>
              </a:xfrm>
              <a:prstGeom prst="rect">
                <a:avLst/>
              </a:prstGeom>
              <a:solidFill>
                <a:schemeClr val="bg1">
                  <a:lumMod val="85000"/>
                  <a:lumOff val="15000"/>
                </a:schemeClr>
              </a:solidFill>
              <a:ln w="9525">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effectLst/>
                    <a:uLnTx/>
                    <a:uFillTx/>
                    <a:latin typeface="Segoe UI" panose="020B0502040204020203" pitchFamily="34" charset="0"/>
                    <a:cs typeface="Segoe UI" panose="020B0502040204020203" pitchFamily="34" charset="0"/>
                  </a:rPr>
                  <a:t>GPU 1</a:t>
                </a:r>
              </a:p>
            </p:txBody>
          </p:sp>
          <p:grpSp>
            <p:nvGrpSpPr>
              <p:cNvPr id="183" name="Group 182">
                <a:extLst>
                  <a:ext uri="{FF2B5EF4-FFF2-40B4-BE49-F238E27FC236}">
                    <a16:creationId xmlns:a16="http://schemas.microsoft.com/office/drawing/2014/main" id="{83A9D5EF-3EFC-DC8C-A9C6-ED7F378E130F}"/>
                  </a:ext>
                </a:extLst>
              </p:cNvPr>
              <p:cNvGrpSpPr/>
              <p:nvPr/>
            </p:nvGrpSpPr>
            <p:grpSpPr>
              <a:xfrm>
                <a:off x="2347098" y="3978734"/>
                <a:ext cx="1907382" cy="1896284"/>
                <a:chOff x="2347098" y="3978734"/>
                <a:chExt cx="1907382" cy="1896284"/>
              </a:xfrm>
            </p:grpSpPr>
            <p:sp>
              <p:nvSpPr>
                <p:cNvPr id="184" name="Rectangle 6">
                  <a:extLst>
                    <a:ext uri="{FF2B5EF4-FFF2-40B4-BE49-F238E27FC236}">
                      <a16:creationId xmlns:a16="http://schemas.microsoft.com/office/drawing/2014/main" id="{0B96D67E-B1EF-80CE-EC3A-1770B07A67C1}"/>
                    </a:ext>
                  </a:extLst>
                </p:cNvPr>
                <p:cNvSpPr>
                  <a:spLocks noChangeArrowheads="1"/>
                </p:cNvSpPr>
                <p:nvPr/>
              </p:nvSpPr>
              <p:spPr bwMode="auto">
                <a:xfrm>
                  <a:off x="2347098" y="4666276"/>
                  <a:ext cx="16634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85" name="Rectangle 7">
                  <a:extLst>
                    <a:ext uri="{FF2B5EF4-FFF2-40B4-BE49-F238E27FC236}">
                      <a16:creationId xmlns:a16="http://schemas.microsoft.com/office/drawing/2014/main" id="{D3F9BF4E-C908-741E-E464-991148224936}"/>
                    </a:ext>
                  </a:extLst>
                </p:cNvPr>
                <p:cNvSpPr>
                  <a:spLocks noChangeArrowheads="1"/>
                </p:cNvSpPr>
                <p:nvPr/>
              </p:nvSpPr>
              <p:spPr bwMode="auto">
                <a:xfrm>
                  <a:off x="2347098" y="5021136"/>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86" name="Rectangle 8">
                  <a:extLst>
                    <a:ext uri="{FF2B5EF4-FFF2-40B4-BE49-F238E27FC236}">
                      <a16:creationId xmlns:a16="http://schemas.microsoft.com/office/drawing/2014/main" id="{34B14B33-CE6E-D993-2421-E6ACFF2D74AC}"/>
                    </a:ext>
                  </a:extLst>
                </p:cNvPr>
                <p:cNvSpPr>
                  <a:spLocks noChangeArrowheads="1"/>
                </p:cNvSpPr>
                <p:nvPr/>
              </p:nvSpPr>
              <p:spPr bwMode="auto">
                <a:xfrm>
                  <a:off x="2347098" y="5364907"/>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87" name="Rectangle 9">
                  <a:extLst>
                    <a:ext uri="{FF2B5EF4-FFF2-40B4-BE49-F238E27FC236}">
                      <a16:creationId xmlns:a16="http://schemas.microsoft.com/office/drawing/2014/main" id="{F0C48488-0CE9-7547-88FC-69147480D968}"/>
                    </a:ext>
                  </a:extLst>
                </p:cNvPr>
                <p:cNvSpPr>
                  <a:spLocks noChangeArrowheads="1"/>
                </p:cNvSpPr>
                <p:nvPr/>
              </p:nvSpPr>
              <p:spPr bwMode="auto">
                <a:xfrm>
                  <a:off x="2347098" y="4333594"/>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88" name="Rectangle 10">
                  <a:extLst>
                    <a:ext uri="{FF2B5EF4-FFF2-40B4-BE49-F238E27FC236}">
                      <a16:creationId xmlns:a16="http://schemas.microsoft.com/office/drawing/2014/main" id="{35F478D6-6797-5CB7-0FEB-8860B321BF7F}"/>
                    </a:ext>
                  </a:extLst>
                </p:cNvPr>
                <p:cNvSpPr>
                  <a:spLocks noChangeArrowheads="1"/>
                </p:cNvSpPr>
                <p:nvPr/>
              </p:nvSpPr>
              <p:spPr bwMode="auto">
                <a:xfrm>
                  <a:off x="4077049" y="4666276"/>
                  <a:ext cx="17743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89" name="Freeform 11">
                  <a:extLst>
                    <a:ext uri="{FF2B5EF4-FFF2-40B4-BE49-F238E27FC236}">
                      <a16:creationId xmlns:a16="http://schemas.microsoft.com/office/drawing/2014/main" id="{5F0C67A3-424E-CC97-45AA-E924950FD08F}"/>
                    </a:ext>
                  </a:extLst>
                </p:cNvPr>
                <p:cNvSpPr>
                  <a:spLocks/>
                </p:cNvSpPr>
                <p:nvPr/>
              </p:nvSpPr>
              <p:spPr bwMode="auto">
                <a:xfrm>
                  <a:off x="4077049" y="5364907"/>
                  <a:ext cx="177431" cy="166341"/>
                </a:xfrm>
                <a:custGeom>
                  <a:avLst/>
                  <a:gdLst>
                    <a:gd name="T0" fmla="*/ 0 w 16"/>
                    <a:gd name="T1" fmla="*/ 0 h 15"/>
                    <a:gd name="T2" fmla="*/ 0 w 16"/>
                    <a:gd name="T3" fmla="*/ 15 h 15"/>
                    <a:gd name="T4" fmla="*/ 15 w 16"/>
                    <a:gd name="T5" fmla="*/ 15 h 15"/>
                    <a:gd name="T6" fmla="*/ 16 w 16"/>
                    <a:gd name="T7" fmla="*/ 15 h 15"/>
                    <a:gd name="T8" fmla="*/ 16 w 16"/>
                    <a:gd name="T9" fmla="*/ 0 h 15"/>
                    <a:gd name="T10" fmla="*/ 15 w 16"/>
                    <a:gd name="T11" fmla="*/ 0 h 15"/>
                    <a:gd name="T12" fmla="*/ 0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0" y="0"/>
                      </a:moveTo>
                      <a:lnTo>
                        <a:pt x="0" y="15"/>
                      </a:lnTo>
                      <a:lnTo>
                        <a:pt x="15" y="15"/>
                      </a:lnTo>
                      <a:lnTo>
                        <a:pt x="16" y="15"/>
                      </a:lnTo>
                      <a:lnTo>
                        <a:pt x="16" y="0"/>
                      </a:lnTo>
                      <a:lnTo>
                        <a:pt x="15" y="0"/>
                      </a:lnTo>
                      <a:lnTo>
                        <a:pt x="0"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90" name="Rectangle 12">
                  <a:extLst>
                    <a:ext uri="{FF2B5EF4-FFF2-40B4-BE49-F238E27FC236}">
                      <a16:creationId xmlns:a16="http://schemas.microsoft.com/office/drawing/2014/main" id="{64DD2914-C90D-08BB-6BAC-9615F8B93D23}"/>
                    </a:ext>
                  </a:extLst>
                </p:cNvPr>
                <p:cNvSpPr>
                  <a:spLocks noChangeArrowheads="1"/>
                </p:cNvSpPr>
                <p:nvPr/>
              </p:nvSpPr>
              <p:spPr bwMode="auto">
                <a:xfrm>
                  <a:off x="3045732"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91" name="Rectangle 13">
                  <a:extLst>
                    <a:ext uri="{FF2B5EF4-FFF2-40B4-BE49-F238E27FC236}">
                      <a16:creationId xmlns:a16="http://schemas.microsoft.com/office/drawing/2014/main" id="{675891A5-9E8D-56E4-5B50-EA2F2970C507}"/>
                    </a:ext>
                  </a:extLst>
                </p:cNvPr>
                <p:cNvSpPr>
                  <a:spLocks noChangeArrowheads="1"/>
                </p:cNvSpPr>
                <p:nvPr/>
              </p:nvSpPr>
              <p:spPr bwMode="auto">
                <a:xfrm>
                  <a:off x="2701960"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92" name="Freeform 14">
                  <a:extLst>
                    <a:ext uri="{FF2B5EF4-FFF2-40B4-BE49-F238E27FC236}">
                      <a16:creationId xmlns:a16="http://schemas.microsoft.com/office/drawing/2014/main" id="{0EB7AE5C-95BF-EE94-7B88-61271D629FF5}"/>
                    </a:ext>
                  </a:extLst>
                </p:cNvPr>
                <p:cNvSpPr>
                  <a:spLocks/>
                </p:cNvSpPr>
                <p:nvPr/>
              </p:nvSpPr>
              <p:spPr bwMode="auto">
                <a:xfrm>
                  <a:off x="2690870" y="3978734"/>
                  <a:ext cx="166341" cy="177430"/>
                </a:xfrm>
                <a:custGeom>
                  <a:avLst/>
                  <a:gdLst>
                    <a:gd name="T0" fmla="*/ 15 w 15"/>
                    <a:gd name="T1" fmla="*/ 1 h 16"/>
                    <a:gd name="T2" fmla="*/ 15 w 15"/>
                    <a:gd name="T3" fmla="*/ 0 h 16"/>
                    <a:gd name="T4" fmla="*/ 0 w 15"/>
                    <a:gd name="T5" fmla="*/ 0 h 16"/>
                    <a:gd name="T6" fmla="*/ 0 w 15"/>
                    <a:gd name="T7" fmla="*/ 1 h 16"/>
                    <a:gd name="T8" fmla="*/ 0 w 15"/>
                    <a:gd name="T9" fmla="*/ 16 h 16"/>
                    <a:gd name="T10" fmla="*/ 15 w 15"/>
                    <a:gd name="T11" fmla="*/ 16 h 16"/>
                    <a:gd name="T12" fmla="*/ 15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5" y="1"/>
                      </a:moveTo>
                      <a:lnTo>
                        <a:pt x="15" y="0"/>
                      </a:lnTo>
                      <a:lnTo>
                        <a:pt x="0" y="0"/>
                      </a:lnTo>
                      <a:lnTo>
                        <a:pt x="0" y="1"/>
                      </a:lnTo>
                      <a:lnTo>
                        <a:pt x="0" y="16"/>
                      </a:lnTo>
                      <a:lnTo>
                        <a:pt x="15" y="16"/>
                      </a:lnTo>
                      <a:lnTo>
                        <a:pt x="15" y="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93" name="Rectangle 15">
                  <a:extLst>
                    <a:ext uri="{FF2B5EF4-FFF2-40B4-BE49-F238E27FC236}">
                      <a16:creationId xmlns:a16="http://schemas.microsoft.com/office/drawing/2014/main" id="{1B01BED4-2B9C-5653-7CE0-904ED9045D3F}"/>
                    </a:ext>
                  </a:extLst>
                </p:cNvPr>
                <p:cNvSpPr>
                  <a:spLocks noChangeArrowheads="1"/>
                </p:cNvSpPr>
                <p:nvPr/>
              </p:nvSpPr>
              <p:spPr bwMode="auto">
                <a:xfrm>
                  <a:off x="3733277"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94" name="Rectangle 16">
                  <a:extLst>
                    <a:ext uri="{FF2B5EF4-FFF2-40B4-BE49-F238E27FC236}">
                      <a16:creationId xmlns:a16="http://schemas.microsoft.com/office/drawing/2014/main" id="{CA638392-71D8-CEE6-AF7D-30E71D3A0E2A}"/>
                    </a:ext>
                  </a:extLst>
                </p:cNvPr>
                <p:cNvSpPr>
                  <a:spLocks noChangeArrowheads="1"/>
                </p:cNvSpPr>
                <p:nvPr/>
              </p:nvSpPr>
              <p:spPr bwMode="auto">
                <a:xfrm>
                  <a:off x="3378415"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95" name="Freeform 17">
                  <a:extLst>
                    <a:ext uri="{FF2B5EF4-FFF2-40B4-BE49-F238E27FC236}">
                      <a16:creationId xmlns:a16="http://schemas.microsoft.com/office/drawing/2014/main" id="{207694AF-C06E-4DEF-4FC9-06ED4A357259}"/>
                    </a:ext>
                  </a:extLst>
                </p:cNvPr>
                <p:cNvSpPr>
                  <a:spLocks/>
                </p:cNvSpPr>
                <p:nvPr/>
              </p:nvSpPr>
              <p:spPr bwMode="auto">
                <a:xfrm>
                  <a:off x="4077049" y="5010047"/>
                  <a:ext cx="177431" cy="177430"/>
                </a:xfrm>
                <a:custGeom>
                  <a:avLst/>
                  <a:gdLst>
                    <a:gd name="T0" fmla="*/ 16 w 16"/>
                    <a:gd name="T1" fmla="*/ 0 h 16"/>
                    <a:gd name="T2" fmla="*/ 0 w 16"/>
                    <a:gd name="T3" fmla="*/ 0 h 16"/>
                    <a:gd name="T4" fmla="*/ 0 w 16"/>
                    <a:gd name="T5" fmla="*/ 1 h 16"/>
                    <a:gd name="T6" fmla="*/ 0 w 16"/>
                    <a:gd name="T7" fmla="*/ 16 h 16"/>
                    <a:gd name="T8" fmla="*/ 16 w 16"/>
                    <a:gd name="T9" fmla="*/ 16 h 16"/>
                    <a:gd name="T10" fmla="*/ 16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16" y="0"/>
                      </a:moveTo>
                      <a:lnTo>
                        <a:pt x="0" y="0"/>
                      </a:lnTo>
                      <a:lnTo>
                        <a:pt x="0" y="1"/>
                      </a:lnTo>
                      <a:lnTo>
                        <a:pt x="0" y="16"/>
                      </a:lnTo>
                      <a:lnTo>
                        <a:pt x="16" y="16"/>
                      </a:lnTo>
                      <a:lnTo>
                        <a:pt x="16"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96" name="Freeform 18">
                  <a:extLst>
                    <a:ext uri="{FF2B5EF4-FFF2-40B4-BE49-F238E27FC236}">
                      <a16:creationId xmlns:a16="http://schemas.microsoft.com/office/drawing/2014/main" id="{C03A800F-901A-B2BA-5A1C-02208015AD79}"/>
                    </a:ext>
                  </a:extLst>
                </p:cNvPr>
                <p:cNvSpPr>
                  <a:spLocks/>
                </p:cNvSpPr>
                <p:nvPr/>
              </p:nvSpPr>
              <p:spPr bwMode="auto">
                <a:xfrm>
                  <a:off x="4032691" y="4311415"/>
                  <a:ext cx="221789" cy="177430"/>
                </a:xfrm>
                <a:custGeom>
                  <a:avLst/>
                  <a:gdLst>
                    <a:gd name="T0" fmla="*/ 0 w 20"/>
                    <a:gd name="T1" fmla="*/ 16 h 16"/>
                    <a:gd name="T2" fmla="*/ 20 w 20"/>
                    <a:gd name="T3" fmla="*/ 16 h 16"/>
                    <a:gd name="T4" fmla="*/ 20 w 20"/>
                    <a:gd name="T5" fmla="*/ 2 h 16"/>
                    <a:gd name="T6" fmla="*/ 20 w 20"/>
                    <a:gd name="T7" fmla="*/ 0 h 16"/>
                    <a:gd name="T8" fmla="*/ 4 w 20"/>
                    <a:gd name="T9" fmla="*/ 0 h 16"/>
                    <a:gd name="T10" fmla="*/ 4 w 20"/>
                    <a:gd name="T11" fmla="*/ 2 h 16"/>
                    <a:gd name="T12" fmla="*/ 0 w 2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0" h="16">
                      <a:moveTo>
                        <a:pt x="0" y="16"/>
                      </a:moveTo>
                      <a:lnTo>
                        <a:pt x="20" y="16"/>
                      </a:lnTo>
                      <a:lnTo>
                        <a:pt x="20" y="2"/>
                      </a:lnTo>
                      <a:lnTo>
                        <a:pt x="20" y="0"/>
                      </a:lnTo>
                      <a:lnTo>
                        <a:pt x="4" y="0"/>
                      </a:lnTo>
                      <a:lnTo>
                        <a:pt x="4" y="2"/>
                      </a:lnTo>
                      <a:lnTo>
                        <a:pt x="0" y="16"/>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97" name="Freeform 19">
                  <a:extLst>
                    <a:ext uri="{FF2B5EF4-FFF2-40B4-BE49-F238E27FC236}">
                      <a16:creationId xmlns:a16="http://schemas.microsoft.com/office/drawing/2014/main" id="{7BC249AB-F742-A733-08AF-C2016E8805F9}"/>
                    </a:ext>
                  </a:extLst>
                </p:cNvPr>
                <p:cNvSpPr>
                  <a:spLocks/>
                </p:cNvSpPr>
                <p:nvPr/>
              </p:nvSpPr>
              <p:spPr bwMode="auto">
                <a:xfrm>
                  <a:off x="3045732" y="3978734"/>
                  <a:ext cx="864976" cy="232877"/>
                </a:xfrm>
                <a:custGeom>
                  <a:avLst/>
                  <a:gdLst>
                    <a:gd name="T0" fmla="*/ 0 w 78"/>
                    <a:gd name="T1" fmla="*/ 21 h 21"/>
                    <a:gd name="T2" fmla="*/ 15 w 78"/>
                    <a:gd name="T3" fmla="*/ 21 h 21"/>
                    <a:gd name="T4" fmla="*/ 15 w 78"/>
                    <a:gd name="T5" fmla="*/ 21 h 21"/>
                    <a:gd name="T6" fmla="*/ 32 w 78"/>
                    <a:gd name="T7" fmla="*/ 21 h 21"/>
                    <a:gd name="T8" fmla="*/ 46 w 78"/>
                    <a:gd name="T9" fmla="*/ 21 h 21"/>
                    <a:gd name="T10" fmla="*/ 46 w 78"/>
                    <a:gd name="T11" fmla="*/ 21 h 21"/>
                    <a:gd name="T12" fmla="*/ 62 w 78"/>
                    <a:gd name="T13" fmla="*/ 21 h 21"/>
                    <a:gd name="T14" fmla="*/ 78 w 78"/>
                    <a:gd name="T15" fmla="*/ 21 h 21"/>
                    <a:gd name="T16" fmla="*/ 78 w 78"/>
                    <a:gd name="T17" fmla="*/ 0 h 21"/>
                    <a:gd name="T18" fmla="*/ 62 w 78"/>
                    <a:gd name="T19" fmla="*/ 0 h 21"/>
                    <a:gd name="T20" fmla="*/ 62 w 78"/>
                    <a:gd name="T21" fmla="*/ 21 h 21"/>
                    <a:gd name="T22" fmla="*/ 46 w 78"/>
                    <a:gd name="T23" fmla="*/ 21 h 21"/>
                    <a:gd name="T24" fmla="*/ 46 w 78"/>
                    <a:gd name="T25" fmla="*/ 18 h 21"/>
                    <a:gd name="T26" fmla="*/ 46 w 78"/>
                    <a:gd name="T27" fmla="*/ 0 h 21"/>
                    <a:gd name="T28" fmla="*/ 32 w 78"/>
                    <a:gd name="T29" fmla="*/ 0 h 21"/>
                    <a:gd name="T30" fmla="*/ 32 w 78"/>
                    <a:gd name="T31" fmla="*/ 21 h 21"/>
                    <a:gd name="T32" fmla="*/ 15 w 78"/>
                    <a:gd name="T33" fmla="*/ 21 h 21"/>
                    <a:gd name="T34" fmla="*/ 15 w 78"/>
                    <a:gd name="T35" fmla="*/ 21 h 21"/>
                    <a:gd name="T36" fmla="*/ 15 w 78"/>
                    <a:gd name="T37" fmla="*/ 19 h 21"/>
                    <a:gd name="T38" fmla="*/ 15 w 78"/>
                    <a:gd name="T39" fmla="*/ 18 h 21"/>
                    <a:gd name="T40" fmla="*/ 15 w 78"/>
                    <a:gd name="T41" fmla="*/ 18 h 21"/>
                    <a:gd name="T42" fmla="*/ 15 w 78"/>
                    <a:gd name="T43" fmla="*/ 0 h 21"/>
                    <a:gd name="T44" fmla="*/ 0 w 78"/>
                    <a:gd name="T45" fmla="*/ 0 h 21"/>
                    <a:gd name="T46" fmla="*/ 0 w 78"/>
                    <a:gd name="T47" fmla="*/ 1 h 21"/>
                    <a:gd name="T48" fmla="*/ 0 w 78"/>
                    <a:gd name="T4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21">
                      <a:moveTo>
                        <a:pt x="0" y="21"/>
                      </a:moveTo>
                      <a:lnTo>
                        <a:pt x="15" y="21"/>
                      </a:lnTo>
                      <a:lnTo>
                        <a:pt x="15" y="21"/>
                      </a:lnTo>
                      <a:lnTo>
                        <a:pt x="32" y="21"/>
                      </a:lnTo>
                      <a:lnTo>
                        <a:pt x="46" y="21"/>
                      </a:lnTo>
                      <a:lnTo>
                        <a:pt x="46" y="21"/>
                      </a:lnTo>
                      <a:lnTo>
                        <a:pt x="62" y="21"/>
                      </a:lnTo>
                      <a:lnTo>
                        <a:pt x="78" y="21"/>
                      </a:lnTo>
                      <a:lnTo>
                        <a:pt x="78" y="0"/>
                      </a:lnTo>
                      <a:lnTo>
                        <a:pt x="62" y="0"/>
                      </a:lnTo>
                      <a:lnTo>
                        <a:pt x="62" y="21"/>
                      </a:lnTo>
                      <a:lnTo>
                        <a:pt x="46" y="21"/>
                      </a:lnTo>
                      <a:lnTo>
                        <a:pt x="46" y="18"/>
                      </a:lnTo>
                      <a:lnTo>
                        <a:pt x="46" y="0"/>
                      </a:lnTo>
                      <a:lnTo>
                        <a:pt x="32" y="0"/>
                      </a:lnTo>
                      <a:lnTo>
                        <a:pt x="32" y="21"/>
                      </a:lnTo>
                      <a:lnTo>
                        <a:pt x="15" y="21"/>
                      </a:lnTo>
                      <a:lnTo>
                        <a:pt x="15" y="21"/>
                      </a:lnTo>
                      <a:lnTo>
                        <a:pt x="15" y="19"/>
                      </a:lnTo>
                      <a:lnTo>
                        <a:pt x="15" y="18"/>
                      </a:lnTo>
                      <a:lnTo>
                        <a:pt x="15" y="18"/>
                      </a:lnTo>
                      <a:lnTo>
                        <a:pt x="15" y="0"/>
                      </a:lnTo>
                      <a:lnTo>
                        <a:pt x="0" y="0"/>
                      </a:lnTo>
                      <a:lnTo>
                        <a:pt x="0" y="1"/>
                      </a:lnTo>
                      <a:lnTo>
                        <a:pt x="0" y="2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98" name="Freeform 22">
                  <a:extLst>
                    <a:ext uri="{FF2B5EF4-FFF2-40B4-BE49-F238E27FC236}">
                      <a16:creationId xmlns:a16="http://schemas.microsoft.com/office/drawing/2014/main" id="{EECE1E26-9024-8B13-A361-3C0060BC5AED}"/>
                    </a:ext>
                  </a:extLst>
                </p:cNvPr>
                <p:cNvSpPr>
                  <a:spLocks noEditPoints="1"/>
                </p:cNvSpPr>
                <p:nvPr/>
              </p:nvSpPr>
              <p:spPr bwMode="auto">
                <a:xfrm>
                  <a:off x="2513439" y="4156164"/>
                  <a:ext cx="1563610" cy="1563603"/>
                </a:xfrm>
                <a:custGeom>
                  <a:avLst/>
                  <a:gdLst>
                    <a:gd name="T0" fmla="*/ 0 w 141"/>
                    <a:gd name="T1" fmla="*/ 0 h 141"/>
                    <a:gd name="T2" fmla="*/ 0 w 141"/>
                    <a:gd name="T3" fmla="*/ 141 h 141"/>
                    <a:gd name="T4" fmla="*/ 141 w 141"/>
                    <a:gd name="T5" fmla="*/ 141 h 141"/>
                    <a:gd name="T6" fmla="*/ 141 w 141"/>
                    <a:gd name="T7" fmla="*/ 0 h 141"/>
                    <a:gd name="T8" fmla="*/ 0 w 141"/>
                    <a:gd name="T9" fmla="*/ 0 h 141"/>
                    <a:gd name="T10" fmla="*/ 126 w 141"/>
                    <a:gd name="T11" fmla="*/ 124 h 141"/>
                    <a:gd name="T12" fmla="*/ 17 w 141"/>
                    <a:gd name="T13" fmla="*/ 124 h 141"/>
                    <a:gd name="T14" fmla="*/ 17 w 141"/>
                    <a:gd name="T15" fmla="*/ 16 h 141"/>
                    <a:gd name="T16" fmla="*/ 126 w 141"/>
                    <a:gd name="T17" fmla="*/ 16 h 141"/>
                    <a:gd name="T18" fmla="*/ 126 w 141"/>
                    <a:gd name="T19" fmla="*/ 12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0" y="0"/>
                      </a:moveTo>
                      <a:lnTo>
                        <a:pt x="0" y="141"/>
                      </a:lnTo>
                      <a:lnTo>
                        <a:pt x="141" y="141"/>
                      </a:lnTo>
                      <a:lnTo>
                        <a:pt x="141" y="0"/>
                      </a:lnTo>
                      <a:lnTo>
                        <a:pt x="0" y="0"/>
                      </a:lnTo>
                      <a:close/>
                      <a:moveTo>
                        <a:pt x="126" y="124"/>
                      </a:moveTo>
                      <a:lnTo>
                        <a:pt x="17" y="124"/>
                      </a:lnTo>
                      <a:lnTo>
                        <a:pt x="17" y="16"/>
                      </a:lnTo>
                      <a:lnTo>
                        <a:pt x="126" y="16"/>
                      </a:lnTo>
                      <a:lnTo>
                        <a:pt x="126" y="124"/>
                      </a:lnTo>
                      <a:close/>
                    </a:path>
                  </a:pathLst>
                </a:custGeom>
                <a:solidFill>
                  <a:schemeClr val="tx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grpSp>
        <p:sp>
          <p:nvSpPr>
            <p:cNvPr id="1024" name="Octagon 1023">
              <a:extLst>
                <a:ext uri="{FF2B5EF4-FFF2-40B4-BE49-F238E27FC236}">
                  <a16:creationId xmlns:a16="http://schemas.microsoft.com/office/drawing/2014/main" id="{ACF628C2-E9FC-DC6C-B10F-C7F5DE7CBCF6}"/>
                </a:ext>
              </a:extLst>
            </p:cNvPr>
            <p:cNvSpPr/>
            <p:nvPr/>
          </p:nvSpPr>
          <p:spPr>
            <a:xfrm>
              <a:off x="5533029" y="4680004"/>
              <a:ext cx="1125943" cy="599976"/>
            </a:xfrm>
            <a:prstGeom prst="octagon">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err="1">
                  <a:latin typeface="Segoe UI" panose="020B0502040204020203" pitchFamily="34" charset="0"/>
                  <a:cs typeface="Segoe UI" panose="020B0502040204020203" pitchFamily="34" charset="0"/>
                </a:rPr>
                <a:t>NVSwitch</a:t>
              </a:r>
              <a:endParaRPr lang="en-IN" sz="1200">
                <a:latin typeface="Segoe UI" panose="020B0502040204020203" pitchFamily="34" charset="0"/>
                <a:cs typeface="Segoe UI" panose="020B0502040204020203" pitchFamily="34" charset="0"/>
              </a:endParaRPr>
            </a:p>
          </p:txBody>
        </p:sp>
        <p:sp>
          <p:nvSpPr>
            <p:cNvPr id="1025" name="Rectangle: Rounded Corners 1024">
              <a:extLst>
                <a:ext uri="{FF2B5EF4-FFF2-40B4-BE49-F238E27FC236}">
                  <a16:creationId xmlns:a16="http://schemas.microsoft.com/office/drawing/2014/main" id="{949604B3-73DD-7313-3C3B-AE8114C55433}"/>
                </a:ext>
              </a:extLst>
            </p:cNvPr>
            <p:cNvSpPr/>
            <p:nvPr/>
          </p:nvSpPr>
          <p:spPr>
            <a:xfrm>
              <a:off x="1172351" y="2178523"/>
              <a:ext cx="504000" cy="252000"/>
            </a:xfrm>
            <a:prstGeom prst="roundRect">
              <a:avLst>
                <a:gd name="adj" fmla="val 20699"/>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Segoe UI" panose="020B0502040204020203" pitchFamily="34" charset="0"/>
                  <a:cs typeface="Segoe UI" panose="020B0502040204020203" pitchFamily="34" charset="0"/>
                </a:rPr>
                <a:t>ib0</a:t>
              </a:r>
              <a:endParaRPr lang="en-IN" sz="700" b="1">
                <a:solidFill>
                  <a:schemeClr val="tx1"/>
                </a:solidFill>
                <a:latin typeface="Segoe UI" panose="020B0502040204020203" pitchFamily="34" charset="0"/>
                <a:cs typeface="Segoe UI" panose="020B0502040204020203" pitchFamily="34" charset="0"/>
              </a:endParaRPr>
            </a:p>
          </p:txBody>
        </p:sp>
        <p:sp>
          <p:nvSpPr>
            <p:cNvPr id="203" name="Rectangle: Rounded Corners 202">
              <a:extLst>
                <a:ext uri="{FF2B5EF4-FFF2-40B4-BE49-F238E27FC236}">
                  <a16:creationId xmlns:a16="http://schemas.microsoft.com/office/drawing/2014/main" id="{0CE952C4-FAD7-E0E8-E3C1-BA62FA51EDB9}"/>
                </a:ext>
              </a:extLst>
            </p:cNvPr>
            <p:cNvSpPr/>
            <p:nvPr/>
          </p:nvSpPr>
          <p:spPr>
            <a:xfrm>
              <a:off x="1172351" y="2818871"/>
              <a:ext cx="504000" cy="252000"/>
            </a:xfrm>
            <a:prstGeom prst="roundRect">
              <a:avLst>
                <a:gd name="adj" fmla="val 20699"/>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Segoe UI" panose="020B0502040204020203" pitchFamily="34" charset="0"/>
                  <a:cs typeface="Segoe UI" panose="020B0502040204020203" pitchFamily="34" charset="0"/>
                </a:rPr>
                <a:t>ib1</a:t>
              </a:r>
              <a:endParaRPr lang="en-IN" sz="700" b="1">
                <a:solidFill>
                  <a:schemeClr val="tx1"/>
                </a:solidFill>
                <a:latin typeface="Segoe UI" panose="020B0502040204020203" pitchFamily="34" charset="0"/>
                <a:cs typeface="Segoe UI" panose="020B0502040204020203" pitchFamily="34" charset="0"/>
              </a:endParaRPr>
            </a:p>
          </p:txBody>
        </p:sp>
        <p:sp>
          <p:nvSpPr>
            <p:cNvPr id="204" name="Rectangle: Rounded Corners 203">
              <a:extLst>
                <a:ext uri="{FF2B5EF4-FFF2-40B4-BE49-F238E27FC236}">
                  <a16:creationId xmlns:a16="http://schemas.microsoft.com/office/drawing/2014/main" id="{3F66D6F2-6D65-6445-08D9-DE63F47407A0}"/>
                </a:ext>
              </a:extLst>
            </p:cNvPr>
            <p:cNvSpPr/>
            <p:nvPr/>
          </p:nvSpPr>
          <p:spPr>
            <a:xfrm>
              <a:off x="5058051" y="2178523"/>
              <a:ext cx="504000" cy="252000"/>
            </a:xfrm>
            <a:prstGeom prst="roundRect">
              <a:avLst>
                <a:gd name="adj" fmla="val 20699"/>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Segoe UI" panose="020B0502040204020203" pitchFamily="34" charset="0"/>
                  <a:cs typeface="Segoe UI" panose="020B0502040204020203" pitchFamily="34" charset="0"/>
                </a:rPr>
                <a:t>ib2</a:t>
              </a:r>
              <a:endParaRPr lang="en-IN" sz="700" b="1">
                <a:solidFill>
                  <a:schemeClr val="tx1"/>
                </a:solidFill>
                <a:latin typeface="Segoe UI" panose="020B0502040204020203" pitchFamily="34" charset="0"/>
                <a:cs typeface="Segoe UI" panose="020B0502040204020203" pitchFamily="34" charset="0"/>
              </a:endParaRPr>
            </a:p>
          </p:txBody>
        </p:sp>
        <p:sp>
          <p:nvSpPr>
            <p:cNvPr id="205" name="Rectangle: Rounded Corners 204">
              <a:extLst>
                <a:ext uri="{FF2B5EF4-FFF2-40B4-BE49-F238E27FC236}">
                  <a16:creationId xmlns:a16="http://schemas.microsoft.com/office/drawing/2014/main" id="{131F01F4-6B1F-1E8D-E293-8913AC654506}"/>
                </a:ext>
              </a:extLst>
            </p:cNvPr>
            <p:cNvSpPr/>
            <p:nvPr/>
          </p:nvSpPr>
          <p:spPr>
            <a:xfrm>
              <a:off x="5058051" y="2818871"/>
              <a:ext cx="504000" cy="252000"/>
            </a:xfrm>
            <a:prstGeom prst="roundRect">
              <a:avLst>
                <a:gd name="adj" fmla="val 20699"/>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Segoe UI" panose="020B0502040204020203" pitchFamily="34" charset="0"/>
                  <a:cs typeface="Segoe UI" panose="020B0502040204020203" pitchFamily="34" charset="0"/>
                </a:rPr>
                <a:t>ib3</a:t>
              </a:r>
              <a:endParaRPr lang="en-IN" sz="700" b="1">
                <a:solidFill>
                  <a:schemeClr val="tx1"/>
                </a:solidFill>
                <a:latin typeface="Segoe UI" panose="020B0502040204020203" pitchFamily="34" charset="0"/>
                <a:cs typeface="Segoe UI" panose="020B0502040204020203" pitchFamily="34" charset="0"/>
              </a:endParaRPr>
            </a:p>
          </p:txBody>
        </p:sp>
        <p:sp>
          <p:nvSpPr>
            <p:cNvPr id="206" name="Rectangle: Rounded Corners 205">
              <a:extLst>
                <a:ext uri="{FF2B5EF4-FFF2-40B4-BE49-F238E27FC236}">
                  <a16:creationId xmlns:a16="http://schemas.microsoft.com/office/drawing/2014/main" id="{7A93DCA1-0A0D-45BF-4171-FA2BEEF1391A}"/>
                </a:ext>
              </a:extLst>
            </p:cNvPr>
            <p:cNvSpPr/>
            <p:nvPr/>
          </p:nvSpPr>
          <p:spPr>
            <a:xfrm>
              <a:off x="6629950" y="2178523"/>
              <a:ext cx="504000" cy="252000"/>
            </a:xfrm>
            <a:prstGeom prst="roundRect">
              <a:avLst>
                <a:gd name="adj" fmla="val 20699"/>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Segoe UI" panose="020B0502040204020203" pitchFamily="34" charset="0"/>
                  <a:cs typeface="Segoe UI" panose="020B0502040204020203" pitchFamily="34" charset="0"/>
                </a:rPr>
                <a:t>ib0</a:t>
              </a:r>
              <a:endParaRPr lang="en-IN" sz="700" b="1">
                <a:solidFill>
                  <a:schemeClr val="tx1"/>
                </a:solidFill>
                <a:latin typeface="Segoe UI" panose="020B0502040204020203" pitchFamily="34" charset="0"/>
                <a:cs typeface="Segoe UI" panose="020B0502040204020203" pitchFamily="34" charset="0"/>
              </a:endParaRPr>
            </a:p>
          </p:txBody>
        </p:sp>
        <p:sp>
          <p:nvSpPr>
            <p:cNvPr id="207" name="Rectangle: Rounded Corners 206">
              <a:extLst>
                <a:ext uri="{FF2B5EF4-FFF2-40B4-BE49-F238E27FC236}">
                  <a16:creationId xmlns:a16="http://schemas.microsoft.com/office/drawing/2014/main" id="{B181EDAC-66B1-3206-CD71-7776A2C1E0ED}"/>
                </a:ext>
              </a:extLst>
            </p:cNvPr>
            <p:cNvSpPr/>
            <p:nvPr/>
          </p:nvSpPr>
          <p:spPr>
            <a:xfrm>
              <a:off x="6629950" y="2818871"/>
              <a:ext cx="504000" cy="252000"/>
            </a:xfrm>
            <a:prstGeom prst="roundRect">
              <a:avLst>
                <a:gd name="adj" fmla="val 20699"/>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Segoe UI" panose="020B0502040204020203" pitchFamily="34" charset="0"/>
                  <a:cs typeface="Segoe UI" panose="020B0502040204020203" pitchFamily="34" charset="0"/>
                </a:rPr>
                <a:t>ib1</a:t>
              </a:r>
              <a:endParaRPr lang="en-IN" sz="700" b="1">
                <a:solidFill>
                  <a:schemeClr val="tx1"/>
                </a:solidFill>
                <a:latin typeface="Segoe UI" panose="020B0502040204020203" pitchFamily="34" charset="0"/>
                <a:cs typeface="Segoe UI" panose="020B0502040204020203" pitchFamily="34" charset="0"/>
              </a:endParaRPr>
            </a:p>
          </p:txBody>
        </p:sp>
        <p:sp>
          <p:nvSpPr>
            <p:cNvPr id="208" name="Rectangle: Rounded Corners 207">
              <a:extLst>
                <a:ext uri="{FF2B5EF4-FFF2-40B4-BE49-F238E27FC236}">
                  <a16:creationId xmlns:a16="http://schemas.microsoft.com/office/drawing/2014/main" id="{F3741C3A-5991-3D86-8C33-4952E4E4A0A9}"/>
                </a:ext>
              </a:extLst>
            </p:cNvPr>
            <p:cNvSpPr/>
            <p:nvPr/>
          </p:nvSpPr>
          <p:spPr>
            <a:xfrm>
              <a:off x="10515650" y="2178523"/>
              <a:ext cx="504000" cy="252000"/>
            </a:xfrm>
            <a:prstGeom prst="roundRect">
              <a:avLst>
                <a:gd name="adj" fmla="val 20699"/>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Segoe UI" panose="020B0502040204020203" pitchFamily="34" charset="0"/>
                  <a:cs typeface="Segoe UI" panose="020B0502040204020203" pitchFamily="34" charset="0"/>
                </a:rPr>
                <a:t>ib2</a:t>
              </a:r>
              <a:endParaRPr lang="en-IN" sz="700" b="1">
                <a:solidFill>
                  <a:schemeClr val="tx1"/>
                </a:solidFill>
                <a:latin typeface="Segoe UI" panose="020B0502040204020203" pitchFamily="34" charset="0"/>
                <a:cs typeface="Segoe UI" panose="020B0502040204020203" pitchFamily="34" charset="0"/>
              </a:endParaRPr>
            </a:p>
          </p:txBody>
        </p:sp>
        <p:sp>
          <p:nvSpPr>
            <p:cNvPr id="209" name="Rectangle: Rounded Corners 208">
              <a:extLst>
                <a:ext uri="{FF2B5EF4-FFF2-40B4-BE49-F238E27FC236}">
                  <a16:creationId xmlns:a16="http://schemas.microsoft.com/office/drawing/2014/main" id="{4A596F45-D6F7-3F51-A90A-6302A1E33FBF}"/>
                </a:ext>
              </a:extLst>
            </p:cNvPr>
            <p:cNvSpPr/>
            <p:nvPr/>
          </p:nvSpPr>
          <p:spPr>
            <a:xfrm>
              <a:off x="10515650" y="2818871"/>
              <a:ext cx="504000" cy="252000"/>
            </a:xfrm>
            <a:prstGeom prst="roundRect">
              <a:avLst>
                <a:gd name="adj" fmla="val 20699"/>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Segoe UI" panose="020B0502040204020203" pitchFamily="34" charset="0"/>
                  <a:cs typeface="Segoe UI" panose="020B0502040204020203" pitchFamily="34" charset="0"/>
                </a:rPr>
                <a:t>ib3</a:t>
              </a:r>
              <a:endParaRPr lang="en-IN" sz="700" b="1">
                <a:solidFill>
                  <a:schemeClr val="tx1"/>
                </a:solidFill>
                <a:latin typeface="Segoe UI" panose="020B0502040204020203" pitchFamily="34" charset="0"/>
                <a:cs typeface="Segoe UI" panose="020B0502040204020203" pitchFamily="34" charset="0"/>
              </a:endParaRPr>
            </a:p>
          </p:txBody>
        </p:sp>
        <p:sp>
          <p:nvSpPr>
            <p:cNvPr id="1042" name="Heptagon 1041">
              <a:extLst>
                <a:ext uri="{FF2B5EF4-FFF2-40B4-BE49-F238E27FC236}">
                  <a16:creationId xmlns:a16="http://schemas.microsoft.com/office/drawing/2014/main" id="{2A8FABBA-D6C4-D5AF-DF18-EE217DC11EAD}"/>
                </a:ext>
              </a:extLst>
            </p:cNvPr>
            <p:cNvSpPr/>
            <p:nvPr/>
          </p:nvSpPr>
          <p:spPr>
            <a:xfrm>
              <a:off x="2042627" y="2363119"/>
              <a:ext cx="653571" cy="653571"/>
            </a:xfrm>
            <a:prstGeom prst="heptagon">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latin typeface="Segoe UI" panose="020B0502040204020203" pitchFamily="34" charset="0"/>
                  <a:cs typeface="Segoe UI" panose="020B0502040204020203" pitchFamily="34" charset="0"/>
                </a:rPr>
                <a:t>PCIe switch</a:t>
              </a:r>
              <a:endParaRPr lang="en-IN" sz="900">
                <a:latin typeface="Segoe UI" panose="020B0502040204020203" pitchFamily="34" charset="0"/>
                <a:cs typeface="Segoe UI" panose="020B0502040204020203" pitchFamily="34" charset="0"/>
              </a:endParaRPr>
            </a:p>
          </p:txBody>
        </p:sp>
        <p:sp>
          <p:nvSpPr>
            <p:cNvPr id="227" name="Heptagon 226">
              <a:extLst>
                <a:ext uri="{FF2B5EF4-FFF2-40B4-BE49-F238E27FC236}">
                  <a16:creationId xmlns:a16="http://schemas.microsoft.com/office/drawing/2014/main" id="{31F441B1-31A9-B8D1-EB86-0F15F07919BD}"/>
                </a:ext>
              </a:extLst>
            </p:cNvPr>
            <p:cNvSpPr/>
            <p:nvPr/>
          </p:nvSpPr>
          <p:spPr>
            <a:xfrm>
              <a:off x="4060262" y="2363119"/>
              <a:ext cx="653571" cy="653571"/>
            </a:xfrm>
            <a:prstGeom prst="heptagon">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latin typeface="Segoe UI" panose="020B0502040204020203" pitchFamily="34" charset="0"/>
                  <a:cs typeface="Segoe UI" panose="020B0502040204020203" pitchFamily="34" charset="0"/>
                </a:rPr>
                <a:t>PCIe switch</a:t>
              </a:r>
              <a:endParaRPr lang="en-IN" sz="900">
                <a:latin typeface="Segoe UI" panose="020B0502040204020203" pitchFamily="34" charset="0"/>
                <a:cs typeface="Segoe UI" panose="020B0502040204020203" pitchFamily="34" charset="0"/>
              </a:endParaRPr>
            </a:p>
          </p:txBody>
        </p:sp>
        <p:sp>
          <p:nvSpPr>
            <p:cNvPr id="228" name="Heptagon 227">
              <a:extLst>
                <a:ext uri="{FF2B5EF4-FFF2-40B4-BE49-F238E27FC236}">
                  <a16:creationId xmlns:a16="http://schemas.microsoft.com/office/drawing/2014/main" id="{2AE5049C-9EBB-DB4A-2382-EC7D4CA0DA7C}"/>
                </a:ext>
              </a:extLst>
            </p:cNvPr>
            <p:cNvSpPr/>
            <p:nvPr/>
          </p:nvSpPr>
          <p:spPr>
            <a:xfrm>
              <a:off x="7485147" y="2363119"/>
              <a:ext cx="653571" cy="653571"/>
            </a:xfrm>
            <a:prstGeom prst="heptagon">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latin typeface="Segoe UI" panose="020B0502040204020203" pitchFamily="34" charset="0"/>
                  <a:cs typeface="Segoe UI" panose="020B0502040204020203" pitchFamily="34" charset="0"/>
                </a:rPr>
                <a:t>PCIe switch</a:t>
              </a:r>
              <a:endParaRPr lang="en-IN" sz="900">
                <a:latin typeface="Segoe UI" panose="020B0502040204020203" pitchFamily="34" charset="0"/>
                <a:cs typeface="Segoe UI" panose="020B0502040204020203" pitchFamily="34" charset="0"/>
              </a:endParaRPr>
            </a:p>
          </p:txBody>
        </p:sp>
        <p:sp>
          <p:nvSpPr>
            <p:cNvPr id="229" name="Heptagon 228">
              <a:extLst>
                <a:ext uri="{FF2B5EF4-FFF2-40B4-BE49-F238E27FC236}">
                  <a16:creationId xmlns:a16="http://schemas.microsoft.com/office/drawing/2014/main" id="{E4FF6337-D726-31E5-2666-204387364AF8}"/>
                </a:ext>
              </a:extLst>
            </p:cNvPr>
            <p:cNvSpPr/>
            <p:nvPr/>
          </p:nvSpPr>
          <p:spPr>
            <a:xfrm>
              <a:off x="9502782" y="2363119"/>
              <a:ext cx="653571" cy="653571"/>
            </a:xfrm>
            <a:prstGeom prst="heptagon">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latin typeface="Segoe UI" panose="020B0502040204020203" pitchFamily="34" charset="0"/>
                  <a:cs typeface="Segoe UI" panose="020B0502040204020203" pitchFamily="34" charset="0"/>
                </a:rPr>
                <a:t>PCIe switch</a:t>
              </a:r>
              <a:endParaRPr lang="en-IN" sz="900">
                <a:latin typeface="Segoe UI" panose="020B0502040204020203" pitchFamily="34" charset="0"/>
                <a:cs typeface="Segoe UI" panose="020B0502040204020203" pitchFamily="34" charset="0"/>
              </a:endParaRPr>
            </a:p>
          </p:txBody>
        </p:sp>
        <p:cxnSp>
          <p:nvCxnSpPr>
            <p:cNvPr id="1044" name="Connector: Elbow 1043">
              <a:extLst>
                <a:ext uri="{FF2B5EF4-FFF2-40B4-BE49-F238E27FC236}">
                  <a16:creationId xmlns:a16="http://schemas.microsoft.com/office/drawing/2014/main" id="{A73A57A0-9256-534A-EEAC-B68189FE9064}"/>
                </a:ext>
              </a:extLst>
            </p:cNvPr>
            <p:cNvCxnSpPr>
              <a:stCxn id="1042" idx="6"/>
              <a:endCxn id="27" idx="1"/>
            </p:cNvCxnSpPr>
            <p:nvPr/>
          </p:nvCxnSpPr>
          <p:spPr>
            <a:xfrm rot="5400000" flipH="1" flipV="1">
              <a:off x="2316785" y="1518401"/>
              <a:ext cx="897346" cy="792091"/>
            </a:xfrm>
            <a:prstGeom prst="bentConnector2">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6" name="Connector: Elbow 1045">
              <a:extLst>
                <a:ext uri="{FF2B5EF4-FFF2-40B4-BE49-F238E27FC236}">
                  <a16:creationId xmlns:a16="http://schemas.microsoft.com/office/drawing/2014/main" id="{44CB93B2-3427-145A-ED87-4511CB7C7EEC}"/>
                </a:ext>
              </a:extLst>
            </p:cNvPr>
            <p:cNvCxnSpPr>
              <a:stCxn id="227" idx="6"/>
              <a:endCxn id="27" idx="3"/>
            </p:cNvCxnSpPr>
            <p:nvPr/>
          </p:nvCxnSpPr>
          <p:spPr>
            <a:xfrm rot="16200000" flipV="1">
              <a:off x="3533205" y="1509275"/>
              <a:ext cx="897346" cy="810341"/>
            </a:xfrm>
            <a:prstGeom prst="bentConnector2">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8" name="Connector: Elbow 1047">
              <a:extLst>
                <a:ext uri="{FF2B5EF4-FFF2-40B4-BE49-F238E27FC236}">
                  <a16:creationId xmlns:a16="http://schemas.microsoft.com/office/drawing/2014/main" id="{9AF2CC30-8878-BF4C-326F-2B93971E5A51}"/>
                </a:ext>
              </a:extLst>
            </p:cNvPr>
            <p:cNvCxnSpPr>
              <a:stCxn id="1025" idx="3"/>
              <a:endCxn id="1042" idx="5"/>
            </p:cNvCxnSpPr>
            <p:nvPr/>
          </p:nvCxnSpPr>
          <p:spPr>
            <a:xfrm>
              <a:off x="1676351" y="2304523"/>
              <a:ext cx="431000" cy="188044"/>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50" name="Connector: Elbow 1049">
              <a:extLst>
                <a:ext uri="{FF2B5EF4-FFF2-40B4-BE49-F238E27FC236}">
                  <a16:creationId xmlns:a16="http://schemas.microsoft.com/office/drawing/2014/main" id="{13A80BD1-54E7-C25F-AFE0-EA3334069365}"/>
                </a:ext>
              </a:extLst>
            </p:cNvPr>
            <p:cNvCxnSpPr>
              <a:stCxn id="203" idx="3"/>
              <a:endCxn id="1042" idx="4"/>
            </p:cNvCxnSpPr>
            <p:nvPr/>
          </p:nvCxnSpPr>
          <p:spPr>
            <a:xfrm flipV="1">
              <a:off x="1676351" y="2783435"/>
              <a:ext cx="366274" cy="161436"/>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52" name="Connector: Elbow 1051">
              <a:extLst>
                <a:ext uri="{FF2B5EF4-FFF2-40B4-BE49-F238E27FC236}">
                  <a16:creationId xmlns:a16="http://schemas.microsoft.com/office/drawing/2014/main" id="{E3F976FA-400C-B2F9-31A8-1EEF97628BD8}"/>
                </a:ext>
              </a:extLst>
            </p:cNvPr>
            <p:cNvCxnSpPr>
              <a:stCxn id="227" idx="0"/>
              <a:endCxn id="204" idx="1"/>
            </p:cNvCxnSpPr>
            <p:nvPr/>
          </p:nvCxnSpPr>
          <p:spPr>
            <a:xfrm flipV="1">
              <a:off x="4649109" y="2304523"/>
              <a:ext cx="408942" cy="188044"/>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54" name="Connector: Elbow 1053">
              <a:extLst>
                <a:ext uri="{FF2B5EF4-FFF2-40B4-BE49-F238E27FC236}">
                  <a16:creationId xmlns:a16="http://schemas.microsoft.com/office/drawing/2014/main" id="{C0DE487E-2F83-39D2-DC5D-0827914118DF}"/>
                </a:ext>
              </a:extLst>
            </p:cNvPr>
            <p:cNvCxnSpPr>
              <a:endCxn id="205" idx="1"/>
            </p:cNvCxnSpPr>
            <p:nvPr/>
          </p:nvCxnSpPr>
          <p:spPr>
            <a:xfrm>
              <a:off x="4752104" y="2813991"/>
              <a:ext cx="305947" cy="130880"/>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4" name="Connector: Elbow 223">
              <a:extLst>
                <a:ext uri="{FF2B5EF4-FFF2-40B4-BE49-F238E27FC236}">
                  <a16:creationId xmlns:a16="http://schemas.microsoft.com/office/drawing/2014/main" id="{58BA351D-3F6E-1476-A807-C3FF6457462F}"/>
                </a:ext>
              </a:extLst>
            </p:cNvPr>
            <p:cNvCxnSpPr>
              <a:cxnSpLocks/>
              <a:stCxn id="1042" idx="3"/>
            </p:cNvCxnSpPr>
            <p:nvPr/>
          </p:nvCxnSpPr>
          <p:spPr>
            <a:xfrm rot="5400000">
              <a:off x="1671589" y="3210604"/>
              <a:ext cx="746302" cy="358480"/>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6" name="Connector: Elbow 225">
              <a:extLst>
                <a:ext uri="{FF2B5EF4-FFF2-40B4-BE49-F238E27FC236}">
                  <a16:creationId xmlns:a16="http://schemas.microsoft.com/office/drawing/2014/main" id="{E488B796-E9A2-4A72-43AD-F77BA27D2BE9}"/>
                </a:ext>
              </a:extLst>
            </p:cNvPr>
            <p:cNvCxnSpPr>
              <a:cxnSpLocks/>
              <a:stCxn id="1042" idx="2"/>
            </p:cNvCxnSpPr>
            <p:nvPr/>
          </p:nvCxnSpPr>
          <p:spPr>
            <a:xfrm rot="16200000" flipH="1">
              <a:off x="2318223" y="3213314"/>
              <a:ext cx="746302" cy="353059"/>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1" name="Connector: Elbow 230">
              <a:extLst>
                <a:ext uri="{FF2B5EF4-FFF2-40B4-BE49-F238E27FC236}">
                  <a16:creationId xmlns:a16="http://schemas.microsoft.com/office/drawing/2014/main" id="{A7099565-B21C-ADD3-5897-16198BA9BE4D}"/>
                </a:ext>
              </a:extLst>
            </p:cNvPr>
            <p:cNvCxnSpPr>
              <a:cxnSpLocks/>
              <a:stCxn id="227" idx="3"/>
            </p:cNvCxnSpPr>
            <p:nvPr/>
          </p:nvCxnSpPr>
          <p:spPr>
            <a:xfrm rot="5400000">
              <a:off x="3682811" y="3204191"/>
              <a:ext cx="746302" cy="371307"/>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6" name="Connector: Elbow 235">
              <a:extLst>
                <a:ext uri="{FF2B5EF4-FFF2-40B4-BE49-F238E27FC236}">
                  <a16:creationId xmlns:a16="http://schemas.microsoft.com/office/drawing/2014/main" id="{0E0D98D8-D6D0-5DDF-0CE6-A80F0606E5ED}"/>
                </a:ext>
              </a:extLst>
            </p:cNvPr>
            <p:cNvCxnSpPr>
              <a:cxnSpLocks/>
              <a:stCxn id="227" idx="2"/>
            </p:cNvCxnSpPr>
            <p:nvPr/>
          </p:nvCxnSpPr>
          <p:spPr>
            <a:xfrm rot="16200000" flipH="1">
              <a:off x="4329445" y="3219728"/>
              <a:ext cx="746302" cy="340232"/>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8" name="Connector: Elbow 237">
              <a:extLst>
                <a:ext uri="{FF2B5EF4-FFF2-40B4-BE49-F238E27FC236}">
                  <a16:creationId xmlns:a16="http://schemas.microsoft.com/office/drawing/2014/main" id="{AD8FF2C2-966E-E44B-89AB-EE4ED2792349}"/>
                </a:ext>
              </a:extLst>
            </p:cNvPr>
            <p:cNvCxnSpPr>
              <a:cxnSpLocks/>
              <a:stCxn id="1024" idx="6"/>
            </p:cNvCxnSpPr>
            <p:nvPr/>
          </p:nvCxnSpPr>
          <p:spPr>
            <a:xfrm rot="16200000" flipV="1">
              <a:off x="5037926" y="4009174"/>
              <a:ext cx="505617" cy="836044"/>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0" name="Connector: Elbow 239">
              <a:extLst>
                <a:ext uri="{FF2B5EF4-FFF2-40B4-BE49-F238E27FC236}">
                  <a16:creationId xmlns:a16="http://schemas.microsoft.com/office/drawing/2014/main" id="{4C8F26DE-1DFF-16DF-A0F7-B7C9BE0622DD}"/>
                </a:ext>
              </a:extLst>
            </p:cNvPr>
            <p:cNvCxnSpPr>
              <a:cxnSpLocks/>
            </p:cNvCxnSpPr>
            <p:nvPr/>
          </p:nvCxnSpPr>
          <p:spPr>
            <a:xfrm rot="10800000">
              <a:off x="3870309" y="4174388"/>
              <a:ext cx="1614365" cy="695933"/>
            </a:xfrm>
            <a:prstGeom prst="bentConnector2">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42F9A37D-67A4-E8CA-7AC4-AEA517ADED31}"/>
                </a:ext>
              </a:extLst>
            </p:cNvPr>
            <p:cNvCxnSpPr>
              <a:cxnSpLocks/>
              <a:stCxn id="1024" idx="4"/>
            </p:cNvCxnSpPr>
            <p:nvPr/>
          </p:nvCxnSpPr>
          <p:spPr>
            <a:xfrm rot="10800000">
              <a:off x="2867905" y="4174387"/>
              <a:ext cx="2665125" cy="929866"/>
            </a:xfrm>
            <a:prstGeom prst="bentConnector2">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4" name="Connector: Elbow 243">
              <a:extLst>
                <a:ext uri="{FF2B5EF4-FFF2-40B4-BE49-F238E27FC236}">
                  <a16:creationId xmlns:a16="http://schemas.microsoft.com/office/drawing/2014/main" id="{943F28AB-43B5-EFD4-F0B5-4E2218E5F661}"/>
                </a:ext>
              </a:extLst>
            </p:cNvPr>
            <p:cNvCxnSpPr>
              <a:cxnSpLocks/>
              <a:stCxn id="1024" idx="3"/>
            </p:cNvCxnSpPr>
            <p:nvPr/>
          </p:nvCxnSpPr>
          <p:spPr>
            <a:xfrm rot="5400000" flipH="1">
              <a:off x="3234331" y="2805556"/>
              <a:ext cx="1105593" cy="3843256"/>
            </a:xfrm>
            <a:prstGeom prst="bentConnector3">
              <a:avLst>
                <a:gd name="adj1" fmla="val -20677"/>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0" name="Connector: Elbow 249">
              <a:extLst>
                <a:ext uri="{FF2B5EF4-FFF2-40B4-BE49-F238E27FC236}">
                  <a16:creationId xmlns:a16="http://schemas.microsoft.com/office/drawing/2014/main" id="{51F55846-CEB5-2028-25BF-AB9FE1576C01}"/>
                </a:ext>
              </a:extLst>
            </p:cNvPr>
            <p:cNvCxnSpPr>
              <a:stCxn id="228" idx="6"/>
              <a:endCxn id="34" idx="1"/>
            </p:cNvCxnSpPr>
            <p:nvPr/>
          </p:nvCxnSpPr>
          <p:spPr>
            <a:xfrm rot="5400000" flipH="1" flipV="1">
              <a:off x="7769263" y="1513279"/>
              <a:ext cx="892511" cy="807170"/>
            </a:xfrm>
            <a:prstGeom prst="bentConnector2">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2" name="Connector: Elbow 251">
              <a:extLst>
                <a:ext uri="{FF2B5EF4-FFF2-40B4-BE49-F238E27FC236}">
                  <a16:creationId xmlns:a16="http://schemas.microsoft.com/office/drawing/2014/main" id="{EDA11605-CDE5-9201-A305-DA81D45F5EDB}"/>
                </a:ext>
              </a:extLst>
            </p:cNvPr>
            <p:cNvCxnSpPr>
              <a:stCxn id="229" idx="6"/>
              <a:endCxn id="34" idx="3"/>
            </p:cNvCxnSpPr>
            <p:nvPr/>
          </p:nvCxnSpPr>
          <p:spPr>
            <a:xfrm rot="16200000" flipV="1">
              <a:off x="8985682" y="1519233"/>
              <a:ext cx="892511" cy="795262"/>
            </a:xfrm>
            <a:prstGeom prst="bentConnector2">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4" name="Connector: Elbow 253">
              <a:extLst>
                <a:ext uri="{FF2B5EF4-FFF2-40B4-BE49-F238E27FC236}">
                  <a16:creationId xmlns:a16="http://schemas.microsoft.com/office/drawing/2014/main" id="{07CE40D5-0F74-A0C8-B133-E1E63AFCE11B}"/>
                </a:ext>
              </a:extLst>
            </p:cNvPr>
            <p:cNvCxnSpPr>
              <a:stCxn id="206" idx="3"/>
              <a:endCxn id="228" idx="5"/>
            </p:cNvCxnSpPr>
            <p:nvPr/>
          </p:nvCxnSpPr>
          <p:spPr>
            <a:xfrm>
              <a:off x="7133950" y="2304523"/>
              <a:ext cx="415921" cy="188044"/>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9" name="Connector: Elbow 198">
              <a:extLst>
                <a:ext uri="{FF2B5EF4-FFF2-40B4-BE49-F238E27FC236}">
                  <a16:creationId xmlns:a16="http://schemas.microsoft.com/office/drawing/2014/main" id="{47F49A85-68B1-1857-07D1-BE7CAB8D3BE8}"/>
                </a:ext>
              </a:extLst>
            </p:cNvPr>
            <p:cNvCxnSpPr>
              <a:stCxn id="207" idx="3"/>
              <a:endCxn id="228" idx="4"/>
            </p:cNvCxnSpPr>
            <p:nvPr/>
          </p:nvCxnSpPr>
          <p:spPr>
            <a:xfrm flipV="1">
              <a:off x="7133950" y="2783435"/>
              <a:ext cx="351195" cy="161436"/>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2" name="Connector: Elbow 201">
              <a:extLst>
                <a:ext uri="{FF2B5EF4-FFF2-40B4-BE49-F238E27FC236}">
                  <a16:creationId xmlns:a16="http://schemas.microsoft.com/office/drawing/2014/main" id="{B874D285-6F4A-4F6F-D057-294EBE41EAAE}"/>
                </a:ext>
              </a:extLst>
            </p:cNvPr>
            <p:cNvCxnSpPr>
              <a:stCxn id="208" idx="1"/>
              <a:endCxn id="229" idx="0"/>
            </p:cNvCxnSpPr>
            <p:nvPr/>
          </p:nvCxnSpPr>
          <p:spPr>
            <a:xfrm rot="10800000" flipV="1">
              <a:off x="10091630" y="2304523"/>
              <a:ext cx="424021" cy="188044"/>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1" name="Connector: Elbow 210">
              <a:extLst>
                <a:ext uri="{FF2B5EF4-FFF2-40B4-BE49-F238E27FC236}">
                  <a16:creationId xmlns:a16="http://schemas.microsoft.com/office/drawing/2014/main" id="{DF94CF71-55D4-8D8C-0B5C-F16AF6F1D4E6}"/>
                </a:ext>
              </a:extLst>
            </p:cNvPr>
            <p:cNvCxnSpPr>
              <a:stCxn id="229" idx="1"/>
              <a:endCxn id="209" idx="1"/>
            </p:cNvCxnSpPr>
            <p:nvPr/>
          </p:nvCxnSpPr>
          <p:spPr>
            <a:xfrm>
              <a:off x="10156355" y="2783435"/>
              <a:ext cx="359295" cy="161436"/>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3" name="Connector: Elbow 212">
              <a:extLst>
                <a:ext uri="{FF2B5EF4-FFF2-40B4-BE49-F238E27FC236}">
                  <a16:creationId xmlns:a16="http://schemas.microsoft.com/office/drawing/2014/main" id="{97EDB347-505F-88C0-54F1-FFA98BFFC738}"/>
                </a:ext>
              </a:extLst>
            </p:cNvPr>
            <p:cNvCxnSpPr>
              <a:cxnSpLocks/>
              <a:stCxn id="228" idx="3"/>
            </p:cNvCxnSpPr>
            <p:nvPr/>
          </p:nvCxnSpPr>
          <p:spPr>
            <a:xfrm rot="5400000">
              <a:off x="7121648" y="3218143"/>
              <a:ext cx="746302" cy="343402"/>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5" name="Connector: Elbow 214">
              <a:extLst>
                <a:ext uri="{FF2B5EF4-FFF2-40B4-BE49-F238E27FC236}">
                  <a16:creationId xmlns:a16="http://schemas.microsoft.com/office/drawing/2014/main" id="{C75DE349-F1F4-79FA-30CE-89C32C257F83}"/>
                </a:ext>
              </a:extLst>
            </p:cNvPr>
            <p:cNvCxnSpPr>
              <a:cxnSpLocks/>
              <a:stCxn id="228" idx="2"/>
            </p:cNvCxnSpPr>
            <p:nvPr/>
          </p:nvCxnSpPr>
          <p:spPr>
            <a:xfrm rot="16200000" flipH="1">
              <a:off x="7768283" y="3205775"/>
              <a:ext cx="746302" cy="368138"/>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7" name="Connector: Elbow 216">
              <a:extLst>
                <a:ext uri="{FF2B5EF4-FFF2-40B4-BE49-F238E27FC236}">
                  <a16:creationId xmlns:a16="http://schemas.microsoft.com/office/drawing/2014/main" id="{C63E845E-19A5-B799-D005-D659104497A5}"/>
                </a:ext>
              </a:extLst>
            </p:cNvPr>
            <p:cNvCxnSpPr>
              <a:cxnSpLocks/>
              <a:stCxn id="229" idx="3"/>
            </p:cNvCxnSpPr>
            <p:nvPr/>
          </p:nvCxnSpPr>
          <p:spPr>
            <a:xfrm rot="5400000">
              <a:off x="9132871" y="3211731"/>
              <a:ext cx="746302" cy="356227"/>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0" name="Connector: Elbow 219">
              <a:extLst>
                <a:ext uri="{FF2B5EF4-FFF2-40B4-BE49-F238E27FC236}">
                  <a16:creationId xmlns:a16="http://schemas.microsoft.com/office/drawing/2014/main" id="{C605DCE4-92CA-40AA-9EB8-3CE1ED2C1391}"/>
                </a:ext>
              </a:extLst>
            </p:cNvPr>
            <p:cNvCxnSpPr>
              <a:cxnSpLocks/>
              <a:stCxn id="229" idx="2"/>
            </p:cNvCxnSpPr>
            <p:nvPr/>
          </p:nvCxnSpPr>
          <p:spPr>
            <a:xfrm rot="16200000" flipH="1">
              <a:off x="9779505" y="3212188"/>
              <a:ext cx="746302" cy="355312"/>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2" name="Connector: Elbow 221">
              <a:extLst>
                <a:ext uri="{FF2B5EF4-FFF2-40B4-BE49-F238E27FC236}">
                  <a16:creationId xmlns:a16="http://schemas.microsoft.com/office/drawing/2014/main" id="{8D5BF0B0-0132-7A08-5753-C159F3D66C3E}"/>
                </a:ext>
              </a:extLst>
            </p:cNvPr>
            <p:cNvCxnSpPr>
              <a:cxnSpLocks/>
              <a:stCxn id="1024" idx="7"/>
            </p:cNvCxnSpPr>
            <p:nvPr/>
          </p:nvCxnSpPr>
          <p:spPr>
            <a:xfrm rot="5400000" flipH="1" flipV="1">
              <a:off x="6650363" y="4007270"/>
              <a:ext cx="505617" cy="839853"/>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56" name="Connector: Elbow 1055">
              <a:extLst>
                <a:ext uri="{FF2B5EF4-FFF2-40B4-BE49-F238E27FC236}">
                  <a16:creationId xmlns:a16="http://schemas.microsoft.com/office/drawing/2014/main" id="{D46C1C13-29F3-D9B8-8644-0331D3785AE2}"/>
                </a:ext>
              </a:extLst>
            </p:cNvPr>
            <p:cNvCxnSpPr>
              <a:cxnSpLocks/>
            </p:cNvCxnSpPr>
            <p:nvPr/>
          </p:nvCxnSpPr>
          <p:spPr>
            <a:xfrm flipV="1">
              <a:off x="6658972" y="4174387"/>
              <a:ext cx="1666531" cy="681344"/>
            </a:xfrm>
            <a:prstGeom prst="bentConnector2">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58" name="Connector: Elbow 1057">
              <a:extLst>
                <a:ext uri="{FF2B5EF4-FFF2-40B4-BE49-F238E27FC236}">
                  <a16:creationId xmlns:a16="http://schemas.microsoft.com/office/drawing/2014/main" id="{1B108630-8448-7A72-4842-1544ADF6B652}"/>
                </a:ext>
              </a:extLst>
            </p:cNvPr>
            <p:cNvCxnSpPr>
              <a:cxnSpLocks/>
              <a:stCxn id="1024" idx="1"/>
            </p:cNvCxnSpPr>
            <p:nvPr/>
          </p:nvCxnSpPr>
          <p:spPr>
            <a:xfrm flipV="1">
              <a:off x="6658972" y="4174387"/>
              <a:ext cx="2668936" cy="929866"/>
            </a:xfrm>
            <a:prstGeom prst="bentConnector2">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60" name="Connector: Elbow 1059">
              <a:extLst>
                <a:ext uri="{FF2B5EF4-FFF2-40B4-BE49-F238E27FC236}">
                  <a16:creationId xmlns:a16="http://schemas.microsoft.com/office/drawing/2014/main" id="{E353F045-F09B-7AE1-E6EC-3BCF3270D17D}"/>
                </a:ext>
              </a:extLst>
            </p:cNvPr>
            <p:cNvCxnSpPr>
              <a:cxnSpLocks/>
              <a:stCxn id="1024" idx="2"/>
            </p:cNvCxnSpPr>
            <p:nvPr/>
          </p:nvCxnSpPr>
          <p:spPr>
            <a:xfrm rot="5400000" flipH="1" flipV="1">
              <a:off x="7853981" y="2803650"/>
              <a:ext cx="1105593" cy="3847067"/>
            </a:xfrm>
            <a:prstGeom prst="bentConnector3">
              <a:avLst>
                <a:gd name="adj1" fmla="val -20677"/>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62" name="Straight Arrow Connector 1061">
              <a:extLst>
                <a:ext uri="{FF2B5EF4-FFF2-40B4-BE49-F238E27FC236}">
                  <a16:creationId xmlns:a16="http://schemas.microsoft.com/office/drawing/2014/main" id="{826FBC5F-A7B3-EF60-0521-32410A7DD830}"/>
                </a:ext>
              </a:extLst>
            </p:cNvPr>
            <p:cNvCxnSpPr>
              <a:cxnSpLocks/>
            </p:cNvCxnSpPr>
            <p:nvPr/>
          </p:nvCxnSpPr>
          <p:spPr>
            <a:xfrm>
              <a:off x="4639781" y="1501081"/>
              <a:ext cx="2881590" cy="0"/>
            </a:xfrm>
            <a:prstGeom prst="straightConnector1">
              <a:avLst/>
            </a:prstGeom>
            <a:ln w="28575">
              <a:solidFill>
                <a:srgbClr val="EF87ED"/>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5" name="Rectangle 294">
              <a:extLst>
                <a:ext uri="{FF2B5EF4-FFF2-40B4-BE49-F238E27FC236}">
                  <a16:creationId xmlns:a16="http://schemas.microsoft.com/office/drawing/2014/main" id="{5EAB2EC2-1948-6104-818F-65BED6BF36C6}"/>
                </a:ext>
                <a:ext uri="{C183D7F6-B498-43B3-948B-1728B52AA6E4}">
                  <adec:decorative xmlns:adec="http://schemas.microsoft.com/office/drawing/2017/decorative" val="1"/>
                </a:ext>
              </a:extLst>
            </p:cNvPr>
            <p:cNvSpPr/>
            <p:nvPr/>
          </p:nvSpPr>
          <p:spPr>
            <a:xfrm>
              <a:off x="4241616" y="1178179"/>
              <a:ext cx="3677920" cy="677108"/>
            </a:xfrm>
            <a:prstGeom prst="rect">
              <a:avLst/>
            </a:prstGeom>
          </p:spPr>
          <p:txBody>
            <a:bodyPr wrap="square">
              <a:spAutoFit/>
            </a:bodyPr>
            <a:lstStyle/>
            <a:p>
              <a:pPr algn="ctr">
                <a:spcAft>
                  <a:spcPts val="1200"/>
                </a:spcAft>
                <a:defRPr/>
              </a:pPr>
              <a:r>
                <a:rPr kumimoji="0" lang="en-US" sz="1400" b="0" i="0" u="none" strike="noStrike" kern="1200" cap="none" spc="0" normalizeH="0" baseline="0" noProof="0">
                  <a:ln>
                    <a:noFill/>
                  </a:ln>
                  <a:solidFill>
                    <a:srgbClr val="FFFFFF">
                      <a:lumMod val="95000"/>
                    </a:srgbClr>
                  </a:solidFill>
                  <a:effectLst/>
                  <a:uLnTx/>
                  <a:uFillTx/>
                  <a:latin typeface="Segoe UI Semibold" panose="020B0702040204020203" pitchFamily="34" charset="0"/>
                  <a:cs typeface="Segoe UI Semibold" panose="020B0702040204020203" pitchFamily="34" charset="0"/>
                </a:rPr>
                <a:t>Total InfiniBand BW</a:t>
              </a:r>
            </a:p>
            <a:p>
              <a:pPr algn="ctr">
                <a:spcAft>
                  <a:spcPts val="1200"/>
                </a:spcAft>
                <a:defRPr/>
              </a:pPr>
              <a:r>
                <a:rPr lang="en-US" sz="1400">
                  <a:solidFill>
                    <a:srgbClr val="FFFFFF">
                      <a:lumMod val="95000"/>
                    </a:srgbClr>
                  </a:solidFill>
                  <a:latin typeface="Segoe UI Semibold" panose="020B0702040204020203" pitchFamily="34" charset="0"/>
                  <a:cs typeface="Segoe UI Semibold" panose="020B0702040204020203" pitchFamily="34" charset="0"/>
                </a:rPr>
                <a:t>1.6Tb/s = 8 x 200Gb/s</a:t>
              </a:r>
              <a:endParaRPr kumimoji="0" lang="en-US" sz="1400" b="0" i="0" u="none" strike="noStrike" kern="1200" cap="none" spc="0" normalizeH="0" baseline="0" noProof="0">
                <a:ln>
                  <a:noFill/>
                </a:ln>
                <a:solidFill>
                  <a:srgbClr val="FFFFFF">
                    <a:lumMod val="95000"/>
                  </a:srgbClr>
                </a:solidFill>
                <a:effectLst/>
                <a:uLnTx/>
                <a:uFillTx/>
                <a:latin typeface="Segoe UI Semibold" panose="020B0702040204020203" pitchFamily="34" charset="0"/>
                <a:cs typeface="Segoe UI Semibold" panose="020B0702040204020203" pitchFamily="34" charset="0"/>
              </a:endParaRPr>
            </a:p>
          </p:txBody>
        </p:sp>
        <p:sp>
          <p:nvSpPr>
            <p:cNvPr id="296" name="Rectangle 295">
              <a:extLst>
                <a:ext uri="{FF2B5EF4-FFF2-40B4-BE49-F238E27FC236}">
                  <a16:creationId xmlns:a16="http://schemas.microsoft.com/office/drawing/2014/main" id="{90066935-F5A0-79A1-D221-3075EA521042}"/>
                </a:ext>
                <a:ext uri="{C183D7F6-B498-43B3-948B-1728B52AA6E4}">
                  <adec:decorative xmlns:adec="http://schemas.microsoft.com/office/drawing/2017/decorative" val="1"/>
                </a:ext>
              </a:extLst>
            </p:cNvPr>
            <p:cNvSpPr/>
            <p:nvPr/>
          </p:nvSpPr>
          <p:spPr>
            <a:xfrm>
              <a:off x="5080313" y="4141793"/>
              <a:ext cx="873342" cy="276999"/>
            </a:xfrm>
            <a:prstGeom prst="rect">
              <a:avLst/>
            </a:prstGeom>
          </p:spPr>
          <p:txBody>
            <a:bodyPr wrap="square">
              <a:spAutoFit/>
            </a:bodyPr>
            <a:lstStyle/>
            <a:p>
              <a:pPr algn="ctr">
                <a:spcAft>
                  <a:spcPts val="1200"/>
                </a:spcAft>
                <a:defRPr/>
              </a:pPr>
              <a:r>
                <a:rPr kumimoji="0" lang="en-US" sz="1200" b="0" i="0" u="none" strike="noStrike" kern="1200" cap="none" spc="0" normalizeH="0" baseline="0" noProof="0">
                  <a:ln>
                    <a:noFill/>
                  </a:ln>
                  <a:solidFill>
                    <a:srgbClr val="FFFFFF">
                      <a:lumMod val="95000"/>
                    </a:srgbClr>
                  </a:solidFill>
                  <a:effectLst/>
                  <a:uLnTx/>
                  <a:uFillTx/>
                  <a:latin typeface="Segoe UI" panose="020B0502040204020203" pitchFamily="34" charset="0"/>
                  <a:cs typeface="Segoe UI" panose="020B0502040204020203" pitchFamily="34" charset="0"/>
                </a:rPr>
                <a:t>300Gb/s</a:t>
              </a:r>
            </a:p>
          </p:txBody>
        </p:sp>
        <p:sp>
          <p:nvSpPr>
            <p:cNvPr id="297" name="Rectangle 296">
              <a:extLst>
                <a:ext uri="{FF2B5EF4-FFF2-40B4-BE49-F238E27FC236}">
                  <a16:creationId xmlns:a16="http://schemas.microsoft.com/office/drawing/2014/main" id="{7BE23766-8B1E-6BFD-251E-603DB11FC489}"/>
                </a:ext>
                <a:ext uri="{C183D7F6-B498-43B3-948B-1728B52AA6E4}">
                  <adec:decorative xmlns:adec="http://schemas.microsoft.com/office/drawing/2017/decorative" val="1"/>
                </a:ext>
              </a:extLst>
            </p:cNvPr>
            <p:cNvSpPr/>
            <p:nvPr/>
          </p:nvSpPr>
          <p:spPr>
            <a:xfrm>
              <a:off x="6289050" y="4141793"/>
              <a:ext cx="873342" cy="276999"/>
            </a:xfrm>
            <a:prstGeom prst="rect">
              <a:avLst/>
            </a:prstGeom>
          </p:spPr>
          <p:txBody>
            <a:bodyPr wrap="square">
              <a:spAutoFit/>
            </a:bodyPr>
            <a:lstStyle/>
            <a:p>
              <a:pPr algn="ctr">
                <a:spcAft>
                  <a:spcPts val="1200"/>
                </a:spcAft>
                <a:defRPr/>
              </a:pPr>
              <a:r>
                <a:rPr kumimoji="0" lang="en-US" sz="1200" b="0" i="0" u="none" strike="noStrike" kern="1200" cap="none" spc="0" normalizeH="0" baseline="0" noProof="0">
                  <a:ln>
                    <a:noFill/>
                  </a:ln>
                  <a:solidFill>
                    <a:srgbClr val="FFFFFF">
                      <a:lumMod val="95000"/>
                    </a:srgbClr>
                  </a:solidFill>
                  <a:effectLst/>
                  <a:uLnTx/>
                  <a:uFillTx/>
                  <a:latin typeface="Segoe UI" panose="020B0502040204020203" pitchFamily="34" charset="0"/>
                  <a:cs typeface="Segoe UI" panose="020B0502040204020203" pitchFamily="34" charset="0"/>
                </a:rPr>
                <a:t>300Gb/s</a:t>
              </a:r>
            </a:p>
          </p:txBody>
        </p:sp>
        <p:sp>
          <p:nvSpPr>
            <p:cNvPr id="298" name="Rectangle 297">
              <a:extLst>
                <a:ext uri="{FF2B5EF4-FFF2-40B4-BE49-F238E27FC236}">
                  <a16:creationId xmlns:a16="http://schemas.microsoft.com/office/drawing/2014/main" id="{07960FB7-2584-E707-EAAD-B44AF1605AE2}"/>
                </a:ext>
                <a:ext uri="{C183D7F6-B498-43B3-948B-1728B52AA6E4}">
                  <adec:decorative xmlns:adec="http://schemas.microsoft.com/office/drawing/2017/decorative" val="1"/>
                </a:ext>
              </a:extLst>
            </p:cNvPr>
            <p:cNvSpPr/>
            <p:nvPr/>
          </p:nvSpPr>
          <p:spPr>
            <a:xfrm>
              <a:off x="4240820" y="4560803"/>
              <a:ext cx="873342" cy="276999"/>
            </a:xfrm>
            <a:prstGeom prst="rect">
              <a:avLst/>
            </a:prstGeom>
          </p:spPr>
          <p:txBody>
            <a:bodyPr wrap="square">
              <a:spAutoFit/>
            </a:bodyPr>
            <a:lstStyle/>
            <a:p>
              <a:pPr algn="ctr">
                <a:spcAft>
                  <a:spcPts val="1200"/>
                </a:spcAft>
                <a:defRPr/>
              </a:pPr>
              <a:r>
                <a:rPr kumimoji="0" lang="en-US" sz="1200" b="0" i="0" u="none" strike="noStrike" kern="1200" cap="none" spc="0" normalizeH="0" baseline="0" noProof="0">
                  <a:ln>
                    <a:noFill/>
                  </a:ln>
                  <a:solidFill>
                    <a:srgbClr val="FFFFFF">
                      <a:lumMod val="95000"/>
                    </a:srgbClr>
                  </a:solidFill>
                  <a:effectLst/>
                  <a:uLnTx/>
                  <a:uFillTx/>
                  <a:latin typeface="Segoe UI" panose="020B0502040204020203" pitchFamily="34" charset="0"/>
                  <a:cs typeface="Segoe UI" panose="020B0502040204020203" pitchFamily="34" charset="0"/>
                </a:rPr>
                <a:t>300Gb/s</a:t>
              </a:r>
            </a:p>
          </p:txBody>
        </p:sp>
        <p:sp>
          <p:nvSpPr>
            <p:cNvPr id="299" name="Rectangle 298">
              <a:extLst>
                <a:ext uri="{FF2B5EF4-FFF2-40B4-BE49-F238E27FC236}">
                  <a16:creationId xmlns:a16="http://schemas.microsoft.com/office/drawing/2014/main" id="{84AC7A42-5464-7C58-FE8D-B8D43632F447}"/>
                </a:ext>
                <a:ext uri="{C183D7F6-B498-43B3-948B-1728B52AA6E4}">
                  <adec:decorative xmlns:adec="http://schemas.microsoft.com/office/drawing/2017/decorative" val="1"/>
                </a:ext>
              </a:extLst>
            </p:cNvPr>
            <p:cNvSpPr/>
            <p:nvPr/>
          </p:nvSpPr>
          <p:spPr>
            <a:xfrm>
              <a:off x="7055566" y="4560803"/>
              <a:ext cx="873342" cy="276999"/>
            </a:xfrm>
            <a:prstGeom prst="rect">
              <a:avLst/>
            </a:prstGeom>
          </p:spPr>
          <p:txBody>
            <a:bodyPr wrap="square">
              <a:spAutoFit/>
            </a:bodyPr>
            <a:lstStyle/>
            <a:p>
              <a:pPr algn="ctr">
                <a:spcAft>
                  <a:spcPts val="1200"/>
                </a:spcAft>
                <a:defRPr/>
              </a:pPr>
              <a:r>
                <a:rPr kumimoji="0" lang="en-US" sz="1200" b="0" i="0" u="none" strike="noStrike" kern="1200" cap="none" spc="0" normalizeH="0" baseline="0" noProof="0">
                  <a:ln>
                    <a:noFill/>
                  </a:ln>
                  <a:solidFill>
                    <a:srgbClr val="FFFFFF">
                      <a:lumMod val="95000"/>
                    </a:srgbClr>
                  </a:solidFill>
                  <a:effectLst/>
                  <a:uLnTx/>
                  <a:uFillTx/>
                  <a:latin typeface="Segoe UI" panose="020B0502040204020203" pitchFamily="34" charset="0"/>
                  <a:cs typeface="Segoe UI" panose="020B0502040204020203" pitchFamily="34" charset="0"/>
                </a:rPr>
                <a:t>300Gb/s</a:t>
              </a:r>
            </a:p>
          </p:txBody>
        </p:sp>
        <p:sp>
          <p:nvSpPr>
            <p:cNvPr id="300" name="Rectangle 299">
              <a:extLst>
                <a:ext uri="{FF2B5EF4-FFF2-40B4-BE49-F238E27FC236}">
                  <a16:creationId xmlns:a16="http://schemas.microsoft.com/office/drawing/2014/main" id="{A1FDE3C1-9768-776F-D64B-B0A705631195}"/>
                </a:ext>
                <a:ext uri="{C183D7F6-B498-43B3-948B-1728B52AA6E4}">
                  <adec:decorative xmlns:adec="http://schemas.microsoft.com/office/drawing/2017/decorative" val="1"/>
                </a:ext>
              </a:extLst>
            </p:cNvPr>
            <p:cNvSpPr/>
            <p:nvPr/>
          </p:nvSpPr>
          <p:spPr>
            <a:xfrm>
              <a:off x="2892663" y="4744262"/>
              <a:ext cx="873342" cy="276999"/>
            </a:xfrm>
            <a:prstGeom prst="rect">
              <a:avLst/>
            </a:prstGeom>
          </p:spPr>
          <p:txBody>
            <a:bodyPr wrap="square">
              <a:spAutoFit/>
            </a:bodyPr>
            <a:lstStyle/>
            <a:p>
              <a:pPr algn="ctr">
                <a:spcAft>
                  <a:spcPts val="1200"/>
                </a:spcAft>
                <a:defRPr/>
              </a:pPr>
              <a:r>
                <a:rPr kumimoji="0" lang="en-US" sz="1200" b="0" i="0" u="none" strike="noStrike" kern="1200" cap="none" spc="0" normalizeH="0" baseline="0" noProof="0">
                  <a:ln>
                    <a:noFill/>
                  </a:ln>
                  <a:solidFill>
                    <a:srgbClr val="FFFFFF">
                      <a:lumMod val="95000"/>
                    </a:srgbClr>
                  </a:solidFill>
                  <a:effectLst/>
                  <a:uLnTx/>
                  <a:uFillTx/>
                  <a:latin typeface="Segoe UI" panose="020B0502040204020203" pitchFamily="34" charset="0"/>
                  <a:cs typeface="Segoe UI" panose="020B0502040204020203" pitchFamily="34" charset="0"/>
                </a:rPr>
                <a:t>300Gb/s</a:t>
              </a:r>
            </a:p>
          </p:txBody>
        </p:sp>
        <p:sp>
          <p:nvSpPr>
            <p:cNvPr id="301" name="Rectangle 300">
              <a:extLst>
                <a:ext uri="{FF2B5EF4-FFF2-40B4-BE49-F238E27FC236}">
                  <a16:creationId xmlns:a16="http://schemas.microsoft.com/office/drawing/2014/main" id="{82FDE0C5-4874-EB27-5E74-518129D16C83}"/>
                </a:ext>
                <a:ext uri="{C183D7F6-B498-43B3-948B-1728B52AA6E4}">
                  <adec:decorative xmlns:adec="http://schemas.microsoft.com/office/drawing/2017/decorative" val="1"/>
                </a:ext>
              </a:extLst>
            </p:cNvPr>
            <p:cNvSpPr/>
            <p:nvPr/>
          </p:nvSpPr>
          <p:spPr>
            <a:xfrm>
              <a:off x="8510758" y="4755064"/>
              <a:ext cx="873342" cy="276999"/>
            </a:xfrm>
            <a:prstGeom prst="rect">
              <a:avLst/>
            </a:prstGeom>
          </p:spPr>
          <p:txBody>
            <a:bodyPr wrap="square">
              <a:spAutoFit/>
            </a:bodyPr>
            <a:lstStyle/>
            <a:p>
              <a:pPr algn="ctr">
                <a:spcAft>
                  <a:spcPts val="1200"/>
                </a:spcAft>
                <a:defRPr/>
              </a:pPr>
              <a:r>
                <a:rPr kumimoji="0" lang="en-US" sz="1200" b="0" i="0" u="none" strike="noStrike" kern="1200" cap="none" spc="0" normalizeH="0" baseline="0" noProof="0">
                  <a:ln>
                    <a:noFill/>
                  </a:ln>
                  <a:solidFill>
                    <a:srgbClr val="FFFFFF">
                      <a:lumMod val="95000"/>
                    </a:srgbClr>
                  </a:solidFill>
                  <a:effectLst/>
                  <a:uLnTx/>
                  <a:uFillTx/>
                  <a:latin typeface="Segoe UI" panose="020B0502040204020203" pitchFamily="34" charset="0"/>
                  <a:cs typeface="Segoe UI" panose="020B0502040204020203" pitchFamily="34" charset="0"/>
                </a:rPr>
                <a:t>300Gb/s</a:t>
              </a:r>
            </a:p>
          </p:txBody>
        </p:sp>
        <p:sp>
          <p:nvSpPr>
            <p:cNvPr id="302" name="Rectangle 301">
              <a:extLst>
                <a:ext uri="{FF2B5EF4-FFF2-40B4-BE49-F238E27FC236}">
                  <a16:creationId xmlns:a16="http://schemas.microsoft.com/office/drawing/2014/main" id="{75A9C67A-3154-750E-1267-64455A47FCA7}"/>
                </a:ext>
                <a:ext uri="{C183D7F6-B498-43B3-948B-1728B52AA6E4}">
                  <adec:decorative xmlns:adec="http://schemas.microsoft.com/office/drawing/2017/decorative" val="1"/>
                </a:ext>
              </a:extLst>
            </p:cNvPr>
            <p:cNvSpPr/>
            <p:nvPr/>
          </p:nvSpPr>
          <p:spPr>
            <a:xfrm>
              <a:off x="2053170" y="5163272"/>
              <a:ext cx="873342" cy="276999"/>
            </a:xfrm>
            <a:prstGeom prst="rect">
              <a:avLst/>
            </a:prstGeom>
          </p:spPr>
          <p:txBody>
            <a:bodyPr wrap="square">
              <a:spAutoFit/>
            </a:bodyPr>
            <a:lstStyle/>
            <a:p>
              <a:pPr algn="ctr">
                <a:spcAft>
                  <a:spcPts val="1200"/>
                </a:spcAft>
                <a:defRPr/>
              </a:pPr>
              <a:r>
                <a:rPr kumimoji="0" lang="en-US" sz="1200" b="0" i="0" u="none" strike="noStrike" kern="1200" cap="none" spc="0" normalizeH="0" baseline="0" noProof="0">
                  <a:ln>
                    <a:noFill/>
                  </a:ln>
                  <a:solidFill>
                    <a:srgbClr val="FFFFFF">
                      <a:lumMod val="95000"/>
                    </a:srgbClr>
                  </a:solidFill>
                  <a:effectLst/>
                  <a:uLnTx/>
                  <a:uFillTx/>
                  <a:latin typeface="Segoe UI" panose="020B0502040204020203" pitchFamily="34" charset="0"/>
                  <a:cs typeface="Segoe UI" panose="020B0502040204020203" pitchFamily="34" charset="0"/>
                </a:rPr>
                <a:t>300Gb/s</a:t>
              </a:r>
            </a:p>
          </p:txBody>
        </p:sp>
        <p:sp>
          <p:nvSpPr>
            <p:cNvPr id="303" name="Rectangle 302">
              <a:extLst>
                <a:ext uri="{FF2B5EF4-FFF2-40B4-BE49-F238E27FC236}">
                  <a16:creationId xmlns:a16="http://schemas.microsoft.com/office/drawing/2014/main" id="{DB1905CB-A1D3-CEDF-573D-91DC19DE29F5}"/>
                </a:ext>
                <a:ext uri="{C183D7F6-B498-43B3-948B-1728B52AA6E4}">
                  <adec:decorative xmlns:adec="http://schemas.microsoft.com/office/drawing/2017/decorative" val="1"/>
                </a:ext>
              </a:extLst>
            </p:cNvPr>
            <p:cNvSpPr/>
            <p:nvPr/>
          </p:nvSpPr>
          <p:spPr>
            <a:xfrm>
              <a:off x="9277274" y="5174074"/>
              <a:ext cx="873342" cy="276999"/>
            </a:xfrm>
            <a:prstGeom prst="rect">
              <a:avLst/>
            </a:prstGeom>
          </p:spPr>
          <p:txBody>
            <a:bodyPr wrap="square">
              <a:spAutoFit/>
            </a:bodyPr>
            <a:lstStyle/>
            <a:p>
              <a:pPr algn="ctr">
                <a:spcAft>
                  <a:spcPts val="1200"/>
                </a:spcAft>
                <a:defRPr/>
              </a:pPr>
              <a:r>
                <a:rPr kumimoji="0" lang="en-US" sz="1200" b="0" i="0" u="none" strike="noStrike" kern="1200" cap="none" spc="0" normalizeH="0" baseline="0" noProof="0">
                  <a:ln>
                    <a:noFill/>
                  </a:ln>
                  <a:solidFill>
                    <a:srgbClr val="FFFFFF">
                      <a:lumMod val="95000"/>
                    </a:srgbClr>
                  </a:solidFill>
                  <a:effectLst/>
                  <a:uLnTx/>
                  <a:uFillTx/>
                  <a:latin typeface="Segoe UI" panose="020B0502040204020203" pitchFamily="34" charset="0"/>
                  <a:cs typeface="Segoe UI" panose="020B0502040204020203" pitchFamily="34" charset="0"/>
                </a:rPr>
                <a:t>300Gb/s</a:t>
              </a:r>
            </a:p>
          </p:txBody>
        </p:sp>
        <p:sp>
          <p:nvSpPr>
            <p:cNvPr id="312" name="Rectangle 311">
              <a:extLst>
                <a:ext uri="{FF2B5EF4-FFF2-40B4-BE49-F238E27FC236}">
                  <a16:creationId xmlns:a16="http://schemas.microsoft.com/office/drawing/2014/main" id="{9154A681-9EBC-2661-5B53-63A8F88E9775}"/>
                </a:ext>
                <a:ext uri="{C183D7F6-B498-43B3-948B-1728B52AA6E4}">
                  <adec:decorative xmlns:adec="http://schemas.microsoft.com/office/drawing/2017/decorative" val="1"/>
                </a:ext>
              </a:extLst>
            </p:cNvPr>
            <p:cNvSpPr/>
            <p:nvPr/>
          </p:nvSpPr>
          <p:spPr>
            <a:xfrm>
              <a:off x="5107899" y="5691371"/>
              <a:ext cx="1945354" cy="307777"/>
            </a:xfrm>
            <a:prstGeom prst="rect">
              <a:avLst/>
            </a:prstGeom>
          </p:spPr>
          <p:txBody>
            <a:bodyPr wrap="square">
              <a:spAutoFit/>
            </a:bodyPr>
            <a:lstStyle/>
            <a:p>
              <a:pPr algn="ctr">
                <a:spcAft>
                  <a:spcPts val="1200"/>
                </a:spcAft>
                <a:defRPr/>
              </a:pPr>
              <a:r>
                <a:rPr kumimoji="0" lang="en-US" sz="1400" b="0" i="0" u="none" strike="noStrike" kern="1200" cap="none" spc="0" normalizeH="0" baseline="0" noProof="0" err="1">
                  <a:ln>
                    <a:noFill/>
                  </a:ln>
                  <a:solidFill>
                    <a:srgbClr val="FFFFFF">
                      <a:lumMod val="95000"/>
                    </a:srgbClr>
                  </a:solidFill>
                  <a:effectLst/>
                  <a:uLnTx/>
                  <a:uFillTx/>
                  <a:latin typeface="Segoe UI Semibold" panose="020B0702040204020203" pitchFamily="34" charset="0"/>
                  <a:cs typeface="Segoe UI Semibold" panose="020B0702040204020203" pitchFamily="34" charset="0"/>
                </a:rPr>
                <a:t>NVLink</a:t>
              </a:r>
              <a:r>
                <a:rPr lang="en-US" sz="1400">
                  <a:solidFill>
                    <a:srgbClr val="FFFFFF">
                      <a:lumMod val="95000"/>
                    </a:srgbClr>
                  </a:solidFill>
                  <a:latin typeface="Segoe UI Semibold" panose="020B0702040204020203" pitchFamily="34" charset="0"/>
                  <a:cs typeface="Segoe UI Semibold" panose="020B0702040204020203" pitchFamily="34" charset="0"/>
                </a:rPr>
                <a:t>3 connectivity</a:t>
              </a:r>
              <a:endParaRPr kumimoji="0" lang="en-US" sz="1400" b="0" i="0" u="none" strike="noStrike" kern="1200" cap="none" spc="0" normalizeH="0" baseline="0" noProof="0">
                <a:ln>
                  <a:noFill/>
                </a:ln>
                <a:solidFill>
                  <a:srgbClr val="FFFFFF">
                    <a:lumMod val="95000"/>
                  </a:srgbClr>
                </a:solidFill>
                <a:effectLst/>
                <a:uLnTx/>
                <a:uFillTx/>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389114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par>
                                <p:cTn id="8" presetID="2" presetClass="entr" presetSubtype="2" decel="100000" fill="hold" grpId="0" nodeType="withEffect">
                                  <p:stCondLst>
                                    <p:cond delay="0"/>
                                  </p:stCondLst>
                                  <p:childTnLst>
                                    <p:set>
                                      <p:cBhvr>
                                        <p:cTn id="9" dur="1" fill="hold">
                                          <p:stCondLst>
                                            <p:cond delay="0"/>
                                          </p:stCondLst>
                                        </p:cTn>
                                        <p:tgtEl>
                                          <p:spTgt spid="313"/>
                                        </p:tgtEl>
                                        <p:attrNameLst>
                                          <p:attrName>style.visibility</p:attrName>
                                        </p:attrNameLst>
                                      </p:cBhvr>
                                      <p:to>
                                        <p:strVal val="visible"/>
                                      </p:to>
                                    </p:set>
                                    <p:anim calcmode="lin" valueType="num">
                                      <p:cBhvr additive="base">
                                        <p:cTn id="10" dur="1000" fill="hold"/>
                                        <p:tgtEl>
                                          <p:spTgt spid="313"/>
                                        </p:tgtEl>
                                        <p:attrNameLst>
                                          <p:attrName>ppt_x</p:attrName>
                                        </p:attrNameLst>
                                      </p:cBhvr>
                                      <p:tavLst>
                                        <p:tav tm="0">
                                          <p:val>
                                            <p:strVal val="1+#ppt_w/2"/>
                                          </p:val>
                                        </p:tav>
                                        <p:tav tm="100000">
                                          <p:val>
                                            <p:strVal val="#ppt_x"/>
                                          </p:val>
                                        </p:tav>
                                      </p:tavLst>
                                    </p:anim>
                                    <p:anim calcmode="lin" valueType="num">
                                      <p:cBhvr additive="base">
                                        <p:cTn id="11" dur="1000" fill="hold"/>
                                        <p:tgtEl>
                                          <p:spTgt spid="313"/>
                                        </p:tgtEl>
                                        <p:attrNameLst>
                                          <p:attrName>ppt_y</p:attrName>
                                        </p:attrNameLst>
                                      </p:cBhvr>
                                      <p:tavLst>
                                        <p:tav tm="0">
                                          <p:val>
                                            <p:strVal val="#ppt_y"/>
                                          </p:val>
                                        </p:tav>
                                        <p:tav tm="100000">
                                          <p:val>
                                            <p:strVal val="#ppt_y"/>
                                          </p:val>
                                        </p:tav>
                                      </p:tavLst>
                                    </p:anim>
                                  </p:childTnLst>
                                </p:cTn>
                              </p:par>
                              <p:par>
                                <p:cTn id="12" presetID="2" presetClass="entr" presetSubtype="4" fill="hold" nodeType="withEffect">
                                  <p:stCondLst>
                                    <p:cond delay="0"/>
                                  </p:stCondLst>
                                  <p:childTnLst>
                                    <p:set>
                                      <p:cBhvr>
                                        <p:cTn id="13" dur="1" fill="hold">
                                          <p:stCondLst>
                                            <p:cond delay="0"/>
                                          </p:stCondLst>
                                        </p:cTn>
                                        <p:tgtEl>
                                          <p:spTgt spid="2"/>
                                        </p:tgtEl>
                                        <p:attrNameLst>
                                          <p:attrName>style.visibility</p:attrName>
                                        </p:attrNameLst>
                                      </p:cBhvr>
                                      <p:to>
                                        <p:strVal val="visible"/>
                                      </p:to>
                                    </p:set>
                                    <p:anim calcmode="lin" valueType="num">
                                      <p:cBhvr additive="base">
                                        <p:cTn id="14" dur="1000" fill="hold"/>
                                        <p:tgtEl>
                                          <p:spTgt spid="2"/>
                                        </p:tgtEl>
                                        <p:attrNameLst>
                                          <p:attrName>ppt_x</p:attrName>
                                        </p:attrNameLst>
                                      </p:cBhvr>
                                      <p:tavLst>
                                        <p:tav tm="0">
                                          <p:val>
                                            <p:strVal val="#ppt_x"/>
                                          </p:val>
                                        </p:tav>
                                        <p:tav tm="100000">
                                          <p:val>
                                            <p:strVal val="#ppt_x"/>
                                          </p:val>
                                        </p:tav>
                                      </p:tavLst>
                                    </p:anim>
                                    <p:anim calcmode="lin" valueType="num">
                                      <p:cBhvr additive="base">
                                        <p:cTn id="15" dur="10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3" grpId="0" animBg="1"/>
      <p:bldP spid="3" grpId="0"/>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2EACDB-4F8E-F724-3766-20EDA0C026F7}"/>
              </a:ext>
            </a:extLst>
          </p:cNvPr>
          <p:cNvSpPr>
            <a:spLocks noGrp="1"/>
          </p:cNvSpPr>
          <p:nvPr>
            <p:ph type="title"/>
          </p:nvPr>
        </p:nvSpPr>
        <p:spPr/>
        <p:txBody>
          <a:bodyPr/>
          <a:lstStyle/>
          <a:p>
            <a:r>
              <a:rPr kumimoji="0" lang="en-US" sz="28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Value of networked GPUs</a:t>
            </a:r>
            <a:endParaRPr lang="en-IN"/>
          </a:p>
        </p:txBody>
      </p:sp>
      <p:grpSp>
        <p:nvGrpSpPr>
          <p:cNvPr id="55" name="Group 54">
            <a:extLst>
              <a:ext uri="{FF2B5EF4-FFF2-40B4-BE49-F238E27FC236}">
                <a16:creationId xmlns:a16="http://schemas.microsoft.com/office/drawing/2014/main" id="{0B35ADDF-BBFB-BDD9-334E-289E078717C3}"/>
              </a:ext>
            </a:extLst>
          </p:cNvPr>
          <p:cNvGrpSpPr/>
          <p:nvPr/>
        </p:nvGrpSpPr>
        <p:grpSpPr>
          <a:xfrm>
            <a:off x="6257967" y="2345089"/>
            <a:ext cx="1774825" cy="2070168"/>
            <a:chOff x="6191054" y="2182469"/>
            <a:chExt cx="1774825" cy="2070168"/>
          </a:xfrm>
        </p:grpSpPr>
        <p:sp>
          <p:nvSpPr>
            <p:cNvPr id="16" name="TextBox 15">
              <a:extLst>
                <a:ext uri="{FF2B5EF4-FFF2-40B4-BE49-F238E27FC236}">
                  <a16:creationId xmlns:a16="http://schemas.microsoft.com/office/drawing/2014/main" id="{7A945C74-7EB7-4119-952F-E31F72E5AB9A}"/>
                </a:ext>
              </a:extLst>
            </p:cNvPr>
            <p:cNvSpPr txBox="1"/>
            <p:nvPr/>
          </p:nvSpPr>
          <p:spPr>
            <a:xfrm>
              <a:off x="6191054" y="3086805"/>
              <a:ext cx="1774825" cy="1165832"/>
            </a:xfrm>
            <a:prstGeom prst="rect">
              <a:avLst/>
            </a:prstGeom>
            <a:noFill/>
          </p:spPr>
          <p:txBody>
            <a:bodyPr wrap="square">
              <a:spAutoFit/>
            </a:bodyPr>
            <a:lstStyle/>
            <a:p>
              <a:pPr marL="0" marR="0" lvl="0" indent="0" algn="ctr" defTabSz="914400" rtl="0" eaLnBrk="1" fontAlgn="auto" latinLnBrk="0" hangingPunct="1">
                <a:lnSpc>
                  <a:spcPct val="107000"/>
                </a:lnSpc>
                <a:spcBef>
                  <a:spcPts val="0"/>
                </a:spcBef>
                <a:spcAft>
                  <a:spcPts val="120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Calibri" panose="020F0502020204030204" pitchFamily="34" charset="0"/>
                  <a:cs typeface="Segoe UI" panose="020B0502040204020203" pitchFamily="34" charset="0"/>
                </a:rPr>
                <a:t>CPUs facilitate computation via communication – they can be mapped to 1 or more GPUs on each server </a:t>
              </a:r>
            </a:p>
          </p:txBody>
        </p:sp>
        <p:pic>
          <p:nvPicPr>
            <p:cNvPr id="71" name="database" descr="database">
              <a:extLst>
                <a:ext uri="{FF2B5EF4-FFF2-40B4-BE49-F238E27FC236}">
                  <a16:creationId xmlns:a16="http://schemas.microsoft.com/office/drawing/2014/main" id="{9A566F20-B42C-4511-AF0B-1A331D45A0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22430" y="2182469"/>
              <a:ext cx="712073" cy="712070"/>
            </a:xfrm>
            <a:prstGeom prst="rect">
              <a:avLst/>
            </a:prstGeom>
          </p:spPr>
        </p:pic>
      </p:grpSp>
      <p:grpSp>
        <p:nvGrpSpPr>
          <p:cNvPr id="56" name="Group 55">
            <a:extLst>
              <a:ext uri="{FF2B5EF4-FFF2-40B4-BE49-F238E27FC236}">
                <a16:creationId xmlns:a16="http://schemas.microsoft.com/office/drawing/2014/main" id="{D51F0324-E278-E243-188E-83077BA9BE8A}"/>
              </a:ext>
            </a:extLst>
          </p:cNvPr>
          <p:cNvGrpSpPr/>
          <p:nvPr/>
        </p:nvGrpSpPr>
        <p:grpSpPr>
          <a:xfrm>
            <a:off x="8198983" y="2551801"/>
            <a:ext cx="1774825" cy="1735284"/>
            <a:chOff x="8132070" y="2389181"/>
            <a:chExt cx="1774825" cy="1735284"/>
          </a:xfrm>
        </p:grpSpPr>
        <p:sp>
          <p:nvSpPr>
            <p:cNvPr id="17" name="TextBox 16">
              <a:extLst>
                <a:ext uri="{FF2B5EF4-FFF2-40B4-BE49-F238E27FC236}">
                  <a16:creationId xmlns:a16="http://schemas.microsoft.com/office/drawing/2014/main" id="{83803F2F-00B8-46C6-AFD0-0D416AC11676}"/>
                </a:ext>
              </a:extLst>
            </p:cNvPr>
            <p:cNvSpPr txBox="1"/>
            <p:nvPr/>
          </p:nvSpPr>
          <p:spPr>
            <a:xfrm>
              <a:off x="8132070" y="3139772"/>
              <a:ext cx="1774825" cy="984693"/>
            </a:xfrm>
            <a:prstGeom prst="rect">
              <a:avLst/>
            </a:prstGeom>
            <a:noFill/>
          </p:spPr>
          <p:txBody>
            <a:bodyPr wrap="square">
              <a:spAutoFit/>
            </a:bodyPr>
            <a:lstStyle/>
            <a:p>
              <a:pPr marL="0" marR="0" lvl="0" indent="0" algn="ctr" defTabSz="914400" rtl="0" eaLnBrk="1" fontAlgn="auto" latinLnBrk="0" hangingPunct="1">
                <a:lnSpc>
                  <a:spcPct val="107000"/>
                </a:lnSpc>
                <a:spcBef>
                  <a:spcPts val="0"/>
                </a:spcBef>
                <a:spcAft>
                  <a:spcPts val="120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Calibri" panose="020F0502020204030204" pitchFamily="34" charset="0"/>
                  <a:cs typeface="Segoe UI" panose="020B0502040204020203" pitchFamily="34" charset="0"/>
                </a:rPr>
                <a:t>The MPI allows blocks of data to be exchanged via a high-bandwidth, low-latency InfiniBand interconnect fabric </a:t>
              </a:r>
            </a:p>
          </p:txBody>
        </p:sp>
        <p:grpSp>
          <p:nvGrpSpPr>
            <p:cNvPr id="95" name="code samples" descr="code samples">
              <a:extLst>
                <a:ext uri="{FF2B5EF4-FFF2-40B4-BE49-F238E27FC236}">
                  <a16:creationId xmlns:a16="http://schemas.microsoft.com/office/drawing/2014/main" id="{043E8E25-230A-4518-B5BB-4A3B2918800C}"/>
                </a:ext>
              </a:extLst>
            </p:cNvPr>
            <p:cNvGrpSpPr/>
            <p:nvPr/>
          </p:nvGrpSpPr>
          <p:grpSpPr>
            <a:xfrm>
              <a:off x="8599537" y="2389181"/>
              <a:ext cx="843967" cy="426935"/>
              <a:chOff x="2548477" y="4015530"/>
              <a:chExt cx="500554" cy="253214"/>
            </a:xfrm>
          </p:grpSpPr>
          <p:sp>
            <p:nvSpPr>
              <p:cNvPr id="96" name="Freeform: Shape 95">
                <a:extLst>
                  <a:ext uri="{FF2B5EF4-FFF2-40B4-BE49-F238E27FC236}">
                    <a16:creationId xmlns:a16="http://schemas.microsoft.com/office/drawing/2014/main" id="{1C8A27AC-EC25-45FA-AE45-817CE23C5AA4}"/>
                  </a:ext>
                </a:extLst>
              </p:cNvPr>
              <p:cNvSpPr/>
              <p:nvPr/>
            </p:nvSpPr>
            <p:spPr>
              <a:xfrm>
                <a:off x="2548477" y="4015912"/>
                <a:ext cx="143871" cy="247459"/>
              </a:xfrm>
              <a:custGeom>
                <a:avLst/>
                <a:gdLst>
                  <a:gd name="connsiteX0" fmla="*/ 146150 w 143871"/>
                  <a:gd name="connsiteY0" fmla="*/ 22842 h 247458"/>
                  <a:gd name="connsiteX1" fmla="*/ 125890 w 143871"/>
                  <a:gd name="connsiteY1" fmla="*/ 2581 h 247458"/>
                  <a:gd name="connsiteX2" fmla="*/ 2581 w 143871"/>
                  <a:gd name="connsiteY2" fmla="*/ 125890 h 247458"/>
                  <a:gd name="connsiteX3" fmla="*/ 125986 w 143871"/>
                  <a:gd name="connsiteY3" fmla="*/ 249296 h 247458"/>
                  <a:gd name="connsiteX4" fmla="*/ 146344 w 143871"/>
                  <a:gd name="connsiteY4" fmla="*/ 228938 h 247458"/>
                  <a:gd name="connsiteX5" fmla="*/ 43199 w 143871"/>
                  <a:gd name="connsiteY5" fmla="*/ 125793 h 247458"/>
                  <a:gd name="connsiteX6" fmla="*/ 146150 w 143871"/>
                  <a:gd name="connsiteY6" fmla="*/ 22842 h 24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871" h="247458">
                    <a:moveTo>
                      <a:pt x="146150" y="22842"/>
                    </a:moveTo>
                    <a:lnTo>
                      <a:pt x="125890" y="2581"/>
                    </a:lnTo>
                    <a:lnTo>
                      <a:pt x="2581" y="125890"/>
                    </a:lnTo>
                    <a:lnTo>
                      <a:pt x="125986" y="249296"/>
                    </a:lnTo>
                    <a:lnTo>
                      <a:pt x="146344" y="228938"/>
                    </a:lnTo>
                    <a:lnTo>
                      <a:pt x="43199" y="125793"/>
                    </a:lnTo>
                    <a:lnTo>
                      <a:pt x="146150" y="22842"/>
                    </a:lnTo>
                    <a:close/>
                  </a:path>
                </a:pathLst>
              </a:custGeom>
              <a:solidFill>
                <a:srgbClr val="0078D4"/>
              </a:solidFill>
              <a:ln w="56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Freeform: Shape 96">
                <a:extLst>
                  <a:ext uri="{FF2B5EF4-FFF2-40B4-BE49-F238E27FC236}">
                    <a16:creationId xmlns:a16="http://schemas.microsoft.com/office/drawing/2014/main" id="{4F6A50EF-243D-4909-87F4-98AFEB9740D6}"/>
                  </a:ext>
                </a:extLst>
              </p:cNvPr>
              <p:cNvSpPr/>
              <p:nvPr/>
            </p:nvSpPr>
            <p:spPr>
              <a:xfrm>
                <a:off x="2899405" y="4015530"/>
                <a:ext cx="149626" cy="253214"/>
              </a:xfrm>
              <a:custGeom>
                <a:avLst/>
                <a:gdLst>
                  <a:gd name="connsiteX0" fmla="*/ 3259 w 149626"/>
                  <a:gd name="connsiteY0" fmla="*/ 230780 h 253213"/>
                  <a:gd name="connsiteX1" fmla="*/ 23520 w 149626"/>
                  <a:gd name="connsiteY1" fmla="*/ 251040 h 253213"/>
                  <a:gd name="connsiteX2" fmla="*/ 147410 w 149626"/>
                  <a:gd name="connsiteY2" fmla="*/ 127150 h 253213"/>
                  <a:gd name="connsiteX3" fmla="*/ 22841 w 149626"/>
                  <a:gd name="connsiteY3" fmla="*/ 2581 h 253213"/>
                  <a:gd name="connsiteX4" fmla="*/ 2581 w 149626"/>
                  <a:gd name="connsiteY4" fmla="*/ 22939 h 253213"/>
                  <a:gd name="connsiteX5" fmla="*/ 106792 w 149626"/>
                  <a:gd name="connsiteY5" fmla="*/ 127150 h 253213"/>
                  <a:gd name="connsiteX6" fmla="*/ 3259 w 149626"/>
                  <a:gd name="connsiteY6" fmla="*/ 230780 h 253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626" h="253213">
                    <a:moveTo>
                      <a:pt x="3259" y="230780"/>
                    </a:moveTo>
                    <a:lnTo>
                      <a:pt x="23520" y="251040"/>
                    </a:lnTo>
                    <a:lnTo>
                      <a:pt x="147410" y="127150"/>
                    </a:lnTo>
                    <a:lnTo>
                      <a:pt x="22841" y="2581"/>
                    </a:lnTo>
                    <a:lnTo>
                      <a:pt x="2581" y="22939"/>
                    </a:lnTo>
                    <a:lnTo>
                      <a:pt x="106792" y="127150"/>
                    </a:lnTo>
                    <a:lnTo>
                      <a:pt x="3259" y="230780"/>
                    </a:lnTo>
                    <a:close/>
                  </a:path>
                </a:pathLst>
              </a:custGeom>
              <a:solidFill>
                <a:srgbClr val="0078D4"/>
              </a:solidFill>
              <a:ln w="56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Freeform: Shape 97">
                <a:extLst>
                  <a:ext uri="{FF2B5EF4-FFF2-40B4-BE49-F238E27FC236}">
                    <a16:creationId xmlns:a16="http://schemas.microsoft.com/office/drawing/2014/main" id="{AE5E3D61-5D28-4135-A063-DAEB4C373179}"/>
                  </a:ext>
                </a:extLst>
              </p:cNvPr>
              <p:cNvSpPr/>
              <p:nvPr/>
            </p:nvSpPr>
            <p:spPr>
              <a:xfrm>
                <a:off x="2679933" y="4109361"/>
                <a:ext cx="57549" cy="57549"/>
              </a:xfrm>
              <a:custGeom>
                <a:avLst/>
                <a:gdLst>
                  <a:gd name="connsiteX0" fmla="*/ 31566 w 57548"/>
                  <a:gd name="connsiteY0" fmla="*/ 60552 h 57548"/>
                  <a:gd name="connsiteX1" fmla="*/ 60552 w 57548"/>
                  <a:gd name="connsiteY1" fmla="*/ 31566 h 57548"/>
                  <a:gd name="connsiteX2" fmla="*/ 31566 w 57548"/>
                  <a:gd name="connsiteY2" fmla="*/ 2581 h 57548"/>
                  <a:gd name="connsiteX3" fmla="*/ 2581 w 57548"/>
                  <a:gd name="connsiteY3" fmla="*/ 31566 h 57548"/>
                  <a:gd name="connsiteX4" fmla="*/ 31566 w 57548"/>
                  <a:gd name="connsiteY4" fmla="*/ 60552 h 5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8" h="57548">
                    <a:moveTo>
                      <a:pt x="31566" y="60552"/>
                    </a:moveTo>
                    <a:cubicBezTo>
                      <a:pt x="47575" y="60552"/>
                      <a:pt x="60552" y="47575"/>
                      <a:pt x="60552" y="31566"/>
                    </a:cubicBezTo>
                    <a:cubicBezTo>
                      <a:pt x="60552" y="15558"/>
                      <a:pt x="47575" y="2581"/>
                      <a:pt x="31566" y="2581"/>
                    </a:cubicBezTo>
                    <a:cubicBezTo>
                      <a:pt x="15558" y="2581"/>
                      <a:pt x="2581" y="15558"/>
                      <a:pt x="2581" y="31566"/>
                    </a:cubicBezTo>
                    <a:cubicBezTo>
                      <a:pt x="2581" y="47575"/>
                      <a:pt x="15558" y="60552"/>
                      <a:pt x="31566" y="60552"/>
                    </a:cubicBezTo>
                    <a:close/>
                  </a:path>
                </a:pathLst>
              </a:custGeom>
              <a:solidFill>
                <a:srgbClr val="50E6FF"/>
              </a:solidFill>
              <a:ln w="56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Freeform: Shape 98">
                <a:extLst>
                  <a:ext uri="{FF2B5EF4-FFF2-40B4-BE49-F238E27FC236}">
                    <a16:creationId xmlns:a16="http://schemas.microsoft.com/office/drawing/2014/main" id="{D9A98E00-3748-441B-BFD1-FA8BD78CABF3}"/>
                  </a:ext>
                </a:extLst>
              </p:cNvPr>
              <p:cNvSpPr/>
              <p:nvPr/>
            </p:nvSpPr>
            <p:spPr>
              <a:xfrm>
                <a:off x="2766790" y="4109361"/>
                <a:ext cx="57549" cy="57549"/>
              </a:xfrm>
              <a:custGeom>
                <a:avLst/>
                <a:gdLst>
                  <a:gd name="connsiteX0" fmla="*/ 31566 w 57548"/>
                  <a:gd name="connsiteY0" fmla="*/ 60552 h 57548"/>
                  <a:gd name="connsiteX1" fmla="*/ 60552 w 57548"/>
                  <a:gd name="connsiteY1" fmla="*/ 31566 h 57548"/>
                  <a:gd name="connsiteX2" fmla="*/ 31566 w 57548"/>
                  <a:gd name="connsiteY2" fmla="*/ 2581 h 57548"/>
                  <a:gd name="connsiteX3" fmla="*/ 2581 w 57548"/>
                  <a:gd name="connsiteY3" fmla="*/ 31566 h 57548"/>
                  <a:gd name="connsiteX4" fmla="*/ 31566 w 57548"/>
                  <a:gd name="connsiteY4" fmla="*/ 60552 h 5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8" h="57548">
                    <a:moveTo>
                      <a:pt x="31566" y="60552"/>
                    </a:moveTo>
                    <a:cubicBezTo>
                      <a:pt x="47575" y="60552"/>
                      <a:pt x="60552" y="47575"/>
                      <a:pt x="60552" y="31566"/>
                    </a:cubicBezTo>
                    <a:cubicBezTo>
                      <a:pt x="60552" y="15558"/>
                      <a:pt x="47575" y="2581"/>
                      <a:pt x="31566" y="2581"/>
                    </a:cubicBezTo>
                    <a:cubicBezTo>
                      <a:pt x="15558" y="2581"/>
                      <a:pt x="2581" y="15558"/>
                      <a:pt x="2581" y="31566"/>
                    </a:cubicBezTo>
                    <a:cubicBezTo>
                      <a:pt x="2581" y="47575"/>
                      <a:pt x="15558" y="60552"/>
                      <a:pt x="31566" y="60552"/>
                    </a:cubicBezTo>
                    <a:close/>
                  </a:path>
                </a:pathLst>
              </a:custGeom>
              <a:solidFill>
                <a:srgbClr val="50E6FF"/>
              </a:solidFill>
              <a:ln w="56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Freeform: Shape 99">
                <a:extLst>
                  <a:ext uri="{FF2B5EF4-FFF2-40B4-BE49-F238E27FC236}">
                    <a16:creationId xmlns:a16="http://schemas.microsoft.com/office/drawing/2014/main" id="{0E1971CA-1DCD-413D-B7D6-FE662BA93009}"/>
                  </a:ext>
                </a:extLst>
              </p:cNvPr>
              <p:cNvSpPr/>
              <p:nvPr/>
            </p:nvSpPr>
            <p:spPr>
              <a:xfrm>
                <a:off x="2854226" y="4109361"/>
                <a:ext cx="57549" cy="57549"/>
              </a:xfrm>
              <a:custGeom>
                <a:avLst/>
                <a:gdLst>
                  <a:gd name="connsiteX0" fmla="*/ 31566 w 57548"/>
                  <a:gd name="connsiteY0" fmla="*/ 60552 h 57548"/>
                  <a:gd name="connsiteX1" fmla="*/ 60551 w 57548"/>
                  <a:gd name="connsiteY1" fmla="*/ 31566 h 57548"/>
                  <a:gd name="connsiteX2" fmla="*/ 31566 w 57548"/>
                  <a:gd name="connsiteY2" fmla="*/ 2581 h 57548"/>
                  <a:gd name="connsiteX3" fmla="*/ 2581 w 57548"/>
                  <a:gd name="connsiteY3" fmla="*/ 31566 h 57548"/>
                  <a:gd name="connsiteX4" fmla="*/ 31566 w 57548"/>
                  <a:gd name="connsiteY4" fmla="*/ 60552 h 5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8" h="57548">
                    <a:moveTo>
                      <a:pt x="31566" y="60552"/>
                    </a:moveTo>
                    <a:cubicBezTo>
                      <a:pt x="47574" y="60552"/>
                      <a:pt x="60551" y="47575"/>
                      <a:pt x="60551" y="31566"/>
                    </a:cubicBezTo>
                    <a:cubicBezTo>
                      <a:pt x="60551" y="15558"/>
                      <a:pt x="47574" y="2581"/>
                      <a:pt x="31566" y="2581"/>
                    </a:cubicBezTo>
                    <a:cubicBezTo>
                      <a:pt x="15558" y="2581"/>
                      <a:pt x="2581" y="15558"/>
                      <a:pt x="2581" y="31566"/>
                    </a:cubicBezTo>
                    <a:cubicBezTo>
                      <a:pt x="2581" y="47575"/>
                      <a:pt x="15558" y="60552"/>
                      <a:pt x="31566" y="60552"/>
                    </a:cubicBezTo>
                    <a:close/>
                  </a:path>
                </a:pathLst>
              </a:custGeom>
              <a:solidFill>
                <a:srgbClr val="0078D4"/>
              </a:solidFill>
              <a:ln w="56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2" name="Group 51">
            <a:extLst>
              <a:ext uri="{FF2B5EF4-FFF2-40B4-BE49-F238E27FC236}">
                <a16:creationId xmlns:a16="http://schemas.microsoft.com/office/drawing/2014/main" id="{6BC975B5-2EE9-4B64-5D27-F55638B077CE}"/>
              </a:ext>
            </a:extLst>
          </p:cNvPr>
          <p:cNvGrpSpPr/>
          <p:nvPr/>
        </p:nvGrpSpPr>
        <p:grpSpPr>
          <a:xfrm>
            <a:off x="504917" y="2333533"/>
            <a:ext cx="1606550" cy="2093267"/>
            <a:chOff x="452143" y="2170913"/>
            <a:chExt cx="1606550" cy="2093267"/>
          </a:xfrm>
        </p:grpSpPr>
        <p:sp>
          <p:nvSpPr>
            <p:cNvPr id="11" name="TextBox 10">
              <a:extLst>
                <a:ext uri="{FF2B5EF4-FFF2-40B4-BE49-F238E27FC236}">
                  <a16:creationId xmlns:a16="http://schemas.microsoft.com/office/drawing/2014/main" id="{3E094EAE-ABCC-49D2-A6D0-21DC19273D0F}"/>
                </a:ext>
              </a:extLst>
            </p:cNvPr>
            <p:cNvSpPr txBox="1"/>
            <p:nvPr/>
          </p:nvSpPr>
          <p:spPr>
            <a:xfrm>
              <a:off x="452143" y="3098348"/>
              <a:ext cx="1606550" cy="1165832"/>
            </a:xfrm>
            <a:prstGeom prst="rect">
              <a:avLst/>
            </a:prstGeom>
            <a:noFill/>
          </p:spPr>
          <p:txBody>
            <a:bodyPr wrap="square">
              <a:spAutoFit/>
            </a:bodyPr>
            <a:lstStyle/>
            <a:p>
              <a:pPr marL="0" marR="0" lvl="0" indent="0" algn="ctr" defTabSz="914400" rtl="0" eaLnBrk="1" fontAlgn="auto" latinLnBrk="0" hangingPunct="1">
                <a:lnSpc>
                  <a:spcPct val="107000"/>
                </a:lnSpc>
                <a:spcBef>
                  <a:spcPts val="0"/>
                </a:spcBef>
                <a:spcAft>
                  <a:spcPts val="120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Calibri" panose="020F0502020204030204" pitchFamily="34" charset="0"/>
                  <a:cs typeface="Segoe UI" panose="020B0502040204020203" pitchFamily="34" charset="0"/>
                </a:rPr>
                <a:t>Scale-up-and-out infrastructures for Deep Learning are built by applying well-established HPC practices</a:t>
              </a:r>
            </a:p>
          </p:txBody>
        </p:sp>
        <p:grpSp>
          <p:nvGrpSpPr>
            <p:cNvPr id="21" name="monitor progress" descr="monitor progress">
              <a:extLst>
                <a:ext uri="{FF2B5EF4-FFF2-40B4-BE49-F238E27FC236}">
                  <a16:creationId xmlns:a16="http://schemas.microsoft.com/office/drawing/2014/main" id="{F83A878E-9B94-48ED-98A1-F11D70250F22}"/>
                </a:ext>
              </a:extLst>
            </p:cNvPr>
            <p:cNvGrpSpPr/>
            <p:nvPr/>
          </p:nvGrpSpPr>
          <p:grpSpPr>
            <a:xfrm>
              <a:off x="845371" y="2170913"/>
              <a:ext cx="820040" cy="711277"/>
              <a:chOff x="5376340" y="2161459"/>
              <a:chExt cx="410598" cy="356140"/>
            </a:xfrm>
          </p:grpSpPr>
          <p:sp>
            <p:nvSpPr>
              <p:cNvPr id="22" name="Freeform 133">
                <a:extLst>
                  <a:ext uri="{FF2B5EF4-FFF2-40B4-BE49-F238E27FC236}">
                    <a16:creationId xmlns:a16="http://schemas.microsoft.com/office/drawing/2014/main" id="{0F787360-51DA-4B61-A28E-CDAF60C4ED88}"/>
                  </a:ext>
                </a:extLst>
              </p:cNvPr>
              <p:cNvSpPr>
                <a:spLocks/>
              </p:cNvSpPr>
              <p:nvPr/>
            </p:nvSpPr>
            <p:spPr bwMode="auto">
              <a:xfrm>
                <a:off x="5587629" y="2161459"/>
                <a:ext cx="135051" cy="99110"/>
              </a:xfrm>
              <a:custGeom>
                <a:avLst/>
                <a:gdLst>
                  <a:gd name="T0" fmla="*/ 0 w 185"/>
                  <a:gd name="T1" fmla="*/ 82 h 137"/>
                  <a:gd name="T2" fmla="*/ 128 w 185"/>
                  <a:gd name="T3" fmla="*/ 137 h 137"/>
                  <a:gd name="T4" fmla="*/ 185 w 185"/>
                  <a:gd name="T5" fmla="*/ 78 h 137"/>
                  <a:gd name="T6" fmla="*/ 100 w 185"/>
                  <a:gd name="T7" fmla="*/ 21 h 137"/>
                  <a:gd name="T8" fmla="*/ 0 w 185"/>
                  <a:gd name="T9" fmla="*/ 0 h 137"/>
                  <a:gd name="T10" fmla="*/ 0 w 185"/>
                  <a:gd name="T11" fmla="*/ 82 h 137"/>
                </a:gdLst>
                <a:ahLst/>
                <a:cxnLst>
                  <a:cxn ang="0">
                    <a:pos x="T0" y="T1"/>
                  </a:cxn>
                  <a:cxn ang="0">
                    <a:pos x="T2" y="T3"/>
                  </a:cxn>
                  <a:cxn ang="0">
                    <a:pos x="T4" y="T5"/>
                  </a:cxn>
                  <a:cxn ang="0">
                    <a:pos x="T6" y="T7"/>
                  </a:cxn>
                  <a:cxn ang="0">
                    <a:pos x="T8" y="T9"/>
                  </a:cxn>
                  <a:cxn ang="0">
                    <a:pos x="T10" y="T11"/>
                  </a:cxn>
                </a:cxnLst>
                <a:rect l="0" t="0" r="r" b="b"/>
                <a:pathLst>
                  <a:path w="185" h="137">
                    <a:moveTo>
                      <a:pt x="0" y="82"/>
                    </a:moveTo>
                    <a:cubicBezTo>
                      <a:pt x="49" y="85"/>
                      <a:pt x="94" y="105"/>
                      <a:pt x="128" y="137"/>
                    </a:cubicBezTo>
                    <a:cubicBezTo>
                      <a:pt x="185" y="78"/>
                      <a:pt x="185" y="78"/>
                      <a:pt x="185" y="78"/>
                    </a:cubicBezTo>
                    <a:cubicBezTo>
                      <a:pt x="159" y="53"/>
                      <a:pt x="130" y="34"/>
                      <a:pt x="100" y="21"/>
                    </a:cubicBezTo>
                    <a:cubicBezTo>
                      <a:pt x="69" y="8"/>
                      <a:pt x="36" y="1"/>
                      <a:pt x="0" y="0"/>
                    </a:cubicBezTo>
                    <a:lnTo>
                      <a:pt x="0" y="8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23" name="Freeform 134">
                <a:extLst>
                  <a:ext uri="{FF2B5EF4-FFF2-40B4-BE49-F238E27FC236}">
                    <a16:creationId xmlns:a16="http://schemas.microsoft.com/office/drawing/2014/main" id="{2B5651A2-2557-47AD-9837-09817589427A}"/>
                  </a:ext>
                </a:extLst>
              </p:cNvPr>
              <p:cNvSpPr>
                <a:spLocks/>
              </p:cNvSpPr>
              <p:nvPr/>
            </p:nvSpPr>
            <p:spPr bwMode="auto">
              <a:xfrm>
                <a:off x="5376340" y="2379281"/>
                <a:ext cx="96932" cy="138318"/>
              </a:xfrm>
              <a:custGeom>
                <a:avLst/>
                <a:gdLst>
                  <a:gd name="T0" fmla="*/ 133 w 133"/>
                  <a:gd name="T1" fmla="*/ 132 h 190"/>
                  <a:gd name="T2" fmla="*/ 76 w 133"/>
                  <a:gd name="T3" fmla="*/ 190 h 190"/>
                  <a:gd name="T4" fmla="*/ 75 w 133"/>
                  <a:gd name="T5" fmla="*/ 189 h 190"/>
                  <a:gd name="T6" fmla="*/ 20 w 133"/>
                  <a:gd name="T7" fmla="*/ 102 h 190"/>
                  <a:gd name="T8" fmla="*/ 0 w 133"/>
                  <a:gd name="T9" fmla="*/ 0 h 190"/>
                  <a:gd name="T10" fmla="*/ 80 w 133"/>
                  <a:gd name="T11" fmla="*/ 0 h 190"/>
                  <a:gd name="T12" fmla="*/ 133 w 133"/>
                  <a:gd name="T13" fmla="*/ 132 h 190"/>
                </a:gdLst>
                <a:ahLst/>
                <a:cxnLst>
                  <a:cxn ang="0">
                    <a:pos x="T0" y="T1"/>
                  </a:cxn>
                  <a:cxn ang="0">
                    <a:pos x="T2" y="T3"/>
                  </a:cxn>
                  <a:cxn ang="0">
                    <a:pos x="T4" y="T5"/>
                  </a:cxn>
                  <a:cxn ang="0">
                    <a:pos x="T6" y="T7"/>
                  </a:cxn>
                  <a:cxn ang="0">
                    <a:pos x="T8" y="T9"/>
                  </a:cxn>
                  <a:cxn ang="0">
                    <a:pos x="T10" y="T11"/>
                  </a:cxn>
                  <a:cxn ang="0">
                    <a:pos x="T12" y="T13"/>
                  </a:cxn>
                </a:cxnLst>
                <a:rect l="0" t="0" r="r" b="b"/>
                <a:pathLst>
                  <a:path w="133" h="190">
                    <a:moveTo>
                      <a:pt x="133" y="132"/>
                    </a:moveTo>
                    <a:cubicBezTo>
                      <a:pt x="76" y="190"/>
                      <a:pt x="76" y="190"/>
                      <a:pt x="76" y="190"/>
                    </a:cubicBezTo>
                    <a:cubicBezTo>
                      <a:pt x="75" y="189"/>
                      <a:pt x="75" y="189"/>
                      <a:pt x="75" y="189"/>
                    </a:cubicBezTo>
                    <a:cubicBezTo>
                      <a:pt x="51" y="163"/>
                      <a:pt x="33" y="133"/>
                      <a:pt x="20" y="102"/>
                    </a:cubicBezTo>
                    <a:cubicBezTo>
                      <a:pt x="8" y="71"/>
                      <a:pt x="1" y="36"/>
                      <a:pt x="0" y="0"/>
                    </a:cubicBezTo>
                    <a:cubicBezTo>
                      <a:pt x="80" y="0"/>
                      <a:pt x="80" y="0"/>
                      <a:pt x="80" y="0"/>
                    </a:cubicBezTo>
                    <a:cubicBezTo>
                      <a:pt x="82" y="49"/>
                      <a:pt x="100" y="95"/>
                      <a:pt x="133" y="13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24" name="Freeform 135">
                <a:extLst>
                  <a:ext uri="{FF2B5EF4-FFF2-40B4-BE49-F238E27FC236}">
                    <a16:creationId xmlns:a16="http://schemas.microsoft.com/office/drawing/2014/main" id="{ABAED325-6985-43C7-B674-802D1E0F1399}"/>
                  </a:ext>
                </a:extLst>
              </p:cNvPr>
              <p:cNvSpPr>
                <a:spLocks/>
              </p:cNvSpPr>
              <p:nvPr/>
            </p:nvSpPr>
            <p:spPr bwMode="auto">
              <a:xfrm>
                <a:off x="5376340" y="2227895"/>
                <a:ext cx="96932" cy="138318"/>
              </a:xfrm>
              <a:custGeom>
                <a:avLst/>
                <a:gdLst>
                  <a:gd name="T0" fmla="*/ 80 w 133"/>
                  <a:gd name="T1" fmla="*/ 190 h 190"/>
                  <a:gd name="T2" fmla="*/ 133 w 133"/>
                  <a:gd name="T3" fmla="*/ 59 h 190"/>
                  <a:gd name="T4" fmla="*/ 76 w 133"/>
                  <a:gd name="T5" fmla="*/ 0 h 190"/>
                  <a:gd name="T6" fmla="*/ 20 w 133"/>
                  <a:gd name="T7" fmla="*/ 88 h 190"/>
                  <a:gd name="T8" fmla="*/ 0 w 133"/>
                  <a:gd name="T9" fmla="*/ 190 h 190"/>
                  <a:gd name="T10" fmla="*/ 80 w 133"/>
                  <a:gd name="T11" fmla="*/ 190 h 190"/>
                </a:gdLst>
                <a:ahLst/>
                <a:cxnLst>
                  <a:cxn ang="0">
                    <a:pos x="T0" y="T1"/>
                  </a:cxn>
                  <a:cxn ang="0">
                    <a:pos x="T2" y="T3"/>
                  </a:cxn>
                  <a:cxn ang="0">
                    <a:pos x="T4" y="T5"/>
                  </a:cxn>
                  <a:cxn ang="0">
                    <a:pos x="T6" y="T7"/>
                  </a:cxn>
                  <a:cxn ang="0">
                    <a:pos x="T8" y="T9"/>
                  </a:cxn>
                  <a:cxn ang="0">
                    <a:pos x="T10" y="T11"/>
                  </a:cxn>
                </a:cxnLst>
                <a:rect l="0" t="0" r="r" b="b"/>
                <a:pathLst>
                  <a:path w="133" h="190">
                    <a:moveTo>
                      <a:pt x="80" y="190"/>
                    </a:moveTo>
                    <a:cubicBezTo>
                      <a:pt x="82" y="142"/>
                      <a:pt x="101" y="95"/>
                      <a:pt x="133" y="59"/>
                    </a:cubicBezTo>
                    <a:cubicBezTo>
                      <a:pt x="76" y="0"/>
                      <a:pt x="76" y="0"/>
                      <a:pt x="76" y="0"/>
                    </a:cubicBezTo>
                    <a:cubicBezTo>
                      <a:pt x="52" y="27"/>
                      <a:pt x="33" y="56"/>
                      <a:pt x="20" y="88"/>
                    </a:cubicBezTo>
                    <a:cubicBezTo>
                      <a:pt x="8" y="119"/>
                      <a:pt x="1" y="154"/>
                      <a:pt x="0" y="190"/>
                    </a:cubicBezTo>
                    <a:lnTo>
                      <a:pt x="80" y="19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Freeform 136">
                <a:extLst>
                  <a:ext uri="{FF2B5EF4-FFF2-40B4-BE49-F238E27FC236}">
                    <a16:creationId xmlns:a16="http://schemas.microsoft.com/office/drawing/2014/main" id="{C1466742-E534-4E52-BD00-B9D8E7AADFC9}"/>
                  </a:ext>
                </a:extLst>
              </p:cNvPr>
              <p:cNvSpPr>
                <a:spLocks/>
              </p:cNvSpPr>
              <p:nvPr/>
            </p:nvSpPr>
            <p:spPr bwMode="auto">
              <a:xfrm>
                <a:off x="5440598" y="2161459"/>
                <a:ext cx="133962" cy="99110"/>
              </a:xfrm>
              <a:custGeom>
                <a:avLst/>
                <a:gdLst>
                  <a:gd name="T0" fmla="*/ 57 w 184"/>
                  <a:gd name="T1" fmla="*/ 137 h 137"/>
                  <a:gd name="T2" fmla="*/ 184 w 184"/>
                  <a:gd name="T3" fmla="*/ 82 h 137"/>
                  <a:gd name="T4" fmla="*/ 184 w 184"/>
                  <a:gd name="T5" fmla="*/ 0 h 137"/>
                  <a:gd name="T6" fmla="*/ 85 w 184"/>
                  <a:gd name="T7" fmla="*/ 21 h 137"/>
                  <a:gd name="T8" fmla="*/ 0 w 184"/>
                  <a:gd name="T9" fmla="*/ 78 h 137"/>
                  <a:gd name="T10" fmla="*/ 57 w 184"/>
                  <a:gd name="T11" fmla="*/ 137 h 137"/>
                </a:gdLst>
                <a:ahLst/>
                <a:cxnLst>
                  <a:cxn ang="0">
                    <a:pos x="T0" y="T1"/>
                  </a:cxn>
                  <a:cxn ang="0">
                    <a:pos x="T2" y="T3"/>
                  </a:cxn>
                  <a:cxn ang="0">
                    <a:pos x="T4" y="T5"/>
                  </a:cxn>
                  <a:cxn ang="0">
                    <a:pos x="T6" y="T7"/>
                  </a:cxn>
                  <a:cxn ang="0">
                    <a:pos x="T8" y="T9"/>
                  </a:cxn>
                  <a:cxn ang="0">
                    <a:pos x="T10" y="T11"/>
                  </a:cxn>
                </a:cxnLst>
                <a:rect l="0" t="0" r="r" b="b"/>
                <a:pathLst>
                  <a:path w="184" h="137">
                    <a:moveTo>
                      <a:pt x="57" y="137"/>
                    </a:moveTo>
                    <a:cubicBezTo>
                      <a:pt x="90" y="105"/>
                      <a:pt x="135" y="85"/>
                      <a:pt x="184" y="82"/>
                    </a:cubicBezTo>
                    <a:cubicBezTo>
                      <a:pt x="184" y="0"/>
                      <a:pt x="184" y="0"/>
                      <a:pt x="184" y="0"/>
                    </a:cubicBezTo>
                    <a:cubicBezTo>
                      <a:pt x="149" y="1"/>
                      <a:pt x="115" y="8"/>
                      <a:pt x="85" y="21"/>
                    </a:cubicBezTo>
                    <a:cubicBezTo>
                      <a:pt x="54" y="34"/>
                      <a:pt x="26" y="53"/>
                      <a:pt x="0" y="78"/>
                    </a:cubicBezTo>
                    <a:lnTo>
                      <a:pt x="57" y="13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26" name="Freeform 137">
                <a:extLst>
                  <a:ext uri="{FF2B5EF4-FFF2-40B4-BE49-F238E27FC236}">
                    <a16:creationId xmlns:a16="http://schemas.microsoft.com/office/drawing/2014/main" id="{4E486E79-D956-4267-89BC-0879DCC4FFC6}"/>
                  </a:ext>
                </a:extLst>
              </p:cNvPr>
              <p:cNvSpPr>
                <a:spLocks/>
              </p:cNvSpPr>
              <p:nvPr/>
            </p:nvSpPr>
            <p:spPr bwMode="auto">
              <a:xfrm>
                <a:off x="5486341" y="2283440"/>
                <a:ext cx="300597" cy="208021"/>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53" name="Group 52">
            <a:extLst>
              <a:ext uri="{FF2B5EF4-FFF2-40B4-BE49-F238E27FC236}">
                <a16:creationId xmlns:a16="http://schemas.microsoft.com/office/drawing/2014/main" id="{5931910C-4C78-D582-3F2D-5973CD92F5B7}"/>
              </a:ext>
            </a:extLst>
          </p:cNvPr>
          <p:cNvGrpSpPr/>
          <p:nvPr/>
        </p:nvGrpSpPr>
        <p:grpSpPr>
          <a:xfrm>
            <a:off x="2414035" y="2429506"/>
            <a:ext cx="1698625" cy="1734260"/>
            <a:chOff x="2347122" y="2266886"/>
            <a:chExt cx="1698625" cy="1734260"/>
          </a:xfrm>
        </p:grpSpPr>
        <p:sp>
          <p:nvSpPr>
            <p:cNvPr id="12" name="TextBox 11">
              <a:extLst>
                <a:ext uri="{FF2B5EF4-FFF2-40B4-BE49-F238E27FC236}">
                  <a16:creationId xmlns:a16="http://schemas.microsoft.com/office/drawing/2014/main" id="{FC2A91E1-3534-4158-9330-10FFDAAD41F5}"/>
                </a:ext>
              </a:extLst>
            </p:cNvPr>
            <p:cNvSpPr txBox="1"/>
            <p:nvPr/>
          </p:nvSpPr>
          <p:spPr>
            <a:xfrm>
              <a:off x="2347122" y="3197593"/>
              <a:ext cx="1698625" cy="803553"/>
            </a:xfrm>
            <a:prstGeom prst="rect">
              <a:avLst/>
            </a:prstGeom>
            <a:noFill/>
          </p:spPr>
          <p:txBody>
            <a:bodyPr wrap="square">
              <a:spAutoFit/>
            </a:bodyPr>
            <a:lstStyle/>
            <a:p>
              <a:pPr marL="0" marR="0" lvl="0" indent="0" algn="ctr" defTabSz="914400" rtl="0" eaLnBrk="1" fontAlgn="auto" latinLnBrk="0" hangingPunct="1">
                <a:lnSpc>
                  <a:spcPct val="107000"/>
                </a:lnSpc>
                <a:spcBef>
                  <a:spcPts val="0"/>
                </a:spcBef>
                <a:spcAft>
                  <a:spcPts val="120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Calibri" panose="020F0502020204030204" pitchFamily="34" charset="0"/>
                  <a:cs typeface="Segoe UI" panose="020B0502040204020203" pitchFamily="34" charset="0"/>
                </a:rPr>
                <a:t>GPUs can be interconnected into an impressive computational resource </a:t>
              </a:r>
            </a:p>
          </p:txBody>
        </p:sp>
        <p:grpSp>
          <p:nvGrpSpPr>
            <p:cNvPr id="27" name="chips" descr="chips">
              <a:extLst>
                <a:ext uri="{FF2B5EF4-FFF2-40B4-BE49-F238E27FC236}">
                  <a16:creationId xmlns:a16="http://schemas.microsoft.com/office/drawing/2014/main" id="{0010306A-66A4-413C-B80E-62614FD83D69}"/>
                </a:ext>
              </a:extLst>
            </p:cNvPr>
            <p:cNvGrpSpPr>
              <a:grpSpLocks noChangeAspect="1"/>
            </p:cNvGrpSpPr>
            <p:nvPr/>
          </p:nvGrpSpPr>
          <p:grpSpPr bwMode="auto">
            <a:xfrm>
              <a:off x="2840398" y="2266886"/>
              <a:ext cx="712073" cy="714483"/>
              <a:chOff x="2192" y="808"/>
              <a:chExt cx="295" cy="296"/>
            </a:xfrm>
          </p:grpSpPr>
          <p:sp>
            <p:nvSpPr>
              <p:cNvPr id="28" name="AutoShape 3">
                <a:extLst>
                  <a:ext uri="{FF2B5EF4-FFF2-40B4-BE49-F238E27FC236}">
                    <a16:creationId xmlns:a16="http://schemas.microsoft.com/office/drawing/2014/main" id="{DBA86B9B-3562-4ECD-898D-0B7A6E0D9B45}"/>
                  </a:ext>
                </a:extLst>
              </p:cNvPr>
              <p:cNvSpPr>
                <a:spLocks noChangeAspect="1" noChangeArrowheads="1" noTextEdit="1"/>
              </p:cNvSpPr>
              <p:nvPr/>
            </p:nvSpPr>
            <p:spPr bwMode="auto">
              <a:xfrm>
                <a:off x="2192" y="809"/>
                <a:ext cx="295" cy="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5">
                <a:extLst>
                  <a:ext uri="{FF2B5EF4-FFF2-40B4-BE49-F238E27FC236}">
                    <a16:creationId xmlns:a16="http://schemas.microsoft.com/office/drawing/2014/main" id="{46244F24-3912-46D2-9E04-2E23AE07FA6B}"/>
                  </a:ext>
                </a:extLst>
              </p:cNvPr>
              <p:cNvSpPr>
                <a:spLocks/>
              </p:cNvSpPr>
              <p:nvPr/>
            </p:nvSpPr>
            <p:spPr bwMode="auto">
              <a:xfrm>
                <a:off x="2260" y="837"/>
                <a:ext cx="207" cy="199"/>
              </a:xfrm>
              <a:custGeom>
                <a:avLst/>
                <a:gdLst>
                  <a:gd name="T0" fmla="*/ 104 w 207"/>
                  <a:gd name="T1" fmla="*/ 0 h 199"/>
                  <a:gd name="T2" fmla="*/ 104 w 207"/>
                  <a:gd name="T3" fmla="*/ 0 h 199"/>
                  <a:gd name="T4" fmla="*/ 18 w 207"/>
                  <a:gd name="T5" fmla="*/ 0 h 199"/>
                  <a:gd name="T6" fmla="*/ 15 w 207"/>
                  <a:gd name="T7" fmla="*/ 84 h 199"/>
                  <a:gd name="T8" fmla="*/ 0 w 207"/>
                  <a:gd name="T9" fmla="*/ 119 h 199"/>
                  <a:gd name="T10" fmla="*/ 74 w 207"/>
                  <a:gd name="T11" fmla="*/ 118 h 199"/>
                  <a:gd name="T12" fmla="*/ 80 w 207"/>
                  <a:gd name="T13" fmla="*/ 199 h 199"/>
                  <a:gd name="T14" fmla="*/ 115 w 207"/>
                  <a:gd name="T15" fmla="*/ 184 h 199"/>
                  <a:gd name="T16" fmla="*/ 207 w 207"/>
                  <a:gd name="T17" fmla="*/ 183 h 199"/>
                  <a:gd name="T18" fmla="*/ 207 w 207"/>
                  <a:gd name="T19" fmla="*/ 0 h 199"/>
                  <a:gd name="T20" fmla="*/ 104 w 207"/>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199">
                    <a:moveTo>
                      <a:pt x="104" y="0"/>
                    </a:moveTo>
                    <a:lnTo>
                      <a:pt x="104" y="0"/>
                    </a:lnTo>
                    <a:lnTo>
                      <a:pt x="18" y="0"/>
                    </a:lnTo>
                    <a:lnTo>
                      <a:pt x="15" y="84"/>
                    </a:lnTo>
                    <a:lnTo>
                      <a:pt x="0" y="119"/>
                    </a:lnTo>
                    <a:lnTo>
                      <a:pt x="74" y="118"/>
                    </a:lnTo>
                    <a:lnTo>
                      <a:pt x="80" y="199"/>
                    </a:lnTo>
                    <a:lnTo>
                      <a:pt x="115" y="184"/>
                    </a:lnTo>
                    <a:lnTo>
                      <a:pt x="207" y="183"/>
                    </a:lnTo>
                    <a:lnTo>
                      <a:pt x="207" y="0"/>
                    </a:lnTo>
                    <a:lnTo>
                      <a:pt x="10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6">
                <a:extLst>
                  <a:ext uri="{FF2B5EF4-FFF2-40B4-BE49-F238E27FC236}">
                    <a16:creationId xmlns:a16="http://schemas.microsoft.com/office/drawing/2014/main" id="{A5D3C786-6668-42AC-B8A5-363F7A23751A}"/>
                  </a:ext>
                </a:extLst>
              </p:cNvPr>
              <p:cNvSpPr>
                <a:spLocks noChangeArrowheads="1"/>
              </p:cNvSpPr>
              <p:nvPr/>
            </p:nvSpPr>
            <p:spPr bwMode="auto">
              <a:xfrm>
                <a:off x="2192" y="994"/>
                <a:ext cx="15" cy="1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7">
                <a:extLst>
                  <a:ext uri="{FF2B5EF4-FFF2-40B4-BE49-F238E27FC236}">
                    <a16:creationId xmlns:a16="http://schemas.microsoft.com/office/drawing/2014/main" id="{1FAD0A15-B7D0-481C-8801-90B94D8DF23E}"/>
                  </a:ext>
                </a:extLst>
              </p:cNvPr>
              <p:cNvSpPr>
                <a:spLocks noChangeArrowheads="1"/>
              </p:cNvSpPr>
              <p:nvPr/>
            </p:nvSpPr>
            <p:spPr bwMode="auto">
              <a:xfrm>
                <a:off x="2192" y="1026"/>
                <a:ext cx="15" cy="1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8">
                <a:extLst>
                  <a:ext uri="{FF2B5EF4-FFF2-40B4-BE49-F238E27FC236}">
                    <a16:creationId xmlns:a16="http://schemas.microsoft.com/office/drawing/2014/main" id="{B0F793AE-B45E-4922-BAF2-4D5BC182082F}"/>
                  </a:ext>
                </a:extLst>
              </p:cNvPr>
              <p:cNvSpPr>
                <a:spLocks noChangeArrowheads="1"/>
              </p:cNvSpPr>
              <p:nvPr/>
            </p:nvSpPr>
            <p:spPr bwMode="auto">
              <a:xfrm>
                <a:off x="2192" y="1057"/>
                <a:ext cx="15" cy="1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9">
                <a:extLst>
                  <a:ext uri="{FF2B5EF4-FFF2-40B4-BE49-F238E27FC236}">
                    <a16:creationId xmlns:a16="http://schemas.microsoft.com/office/drawing/2014/main" id="{997CAF2D-C6A4-46F7-8548-522E83D3BD46}"/>
                  </a:ext>
                </a:extLst>
              </p:cNvPr>
              <p:cNvSpPr>
                <a:spLocks noChangeArrowheads="1"/>
              </p:cNvSpPr>
              <p:nvPr/>
            </p:nvSpPr>
            <p:spPr bwMode="auto">
              <a:xfrm>
                <a:off x="2192" y="964"/>
                <a:ext cx="15" cy="1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10">
                <a:extLst>
                  <a:ext uri="{FF2B5EF4-FFF2-40B4-BE49-F238E27FC236}">
                    <a16:creationId xmlns:a16="http://schemas.microsoft.com/office/drawing/2014/main" id="{42D6DCBC-A54E-4870-9B9C-82DF99767616}"/>
                  </a:ext>
                </a:extLst>
              </p:cNvPr>
              <p:cNvSpPr>
                <a:spLocks noChangeArrowheads="1"/>
              </p:cNvSpPr>
              <p:nvPr/>
            </p:nvSpPr>
            <p:spPr bwMode="auto">
              <a:xfrm>
                <a:off x="2348" y="994"/>
                <a:ext cx="16" cy="1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11">
                <a:extLst>
                  <a:ext uri="{FF2B5EF4-FFF2-40B4-BE49-F238E27FC236}">
                    <a16:creationId xmlns:a16="http://schemas.microsoft.com/office/drawing/2014/main" id="{A3A35DC4-FA69-4E16-90E4-B428FD6BA0A5}"/>
                  </a:ext>
                </a:extLst>
              </p:cNvPr>
              <p:cNvSpPr>
                <a:spLocks/>
              </p:cNvSpPr>
              <p:nvPr/>
            </p:nvSpPr>
            <p:spPr bwMode="auto">
              <a:xfrm>
                <a:off x="2348" y="1057"/>
                <a:ext cx="16" cy="15"/>
              </a:xfrm>
              <a:custGeom>
                <a:avLst/>
                <a:gdLst>
                  <a:gd name="T0" fmla="*/ 0 w 16"/>
                  <a:gd name="T1" fmla="*/ 0 h 15"/>
                  <a:gd name="T2" fmla="*/ 0 w 16"/>
                  <a:gd name="T3" fmla="*/ 15 h 15"/>
                  <a:gd name="T4" fmla="*/ 15 w 16"/>
                  <a:gd name="T5" fmla="*/ 15 h 15"/>
                  <a:gd name="T6" fmla="*/ 16 w 16"/>
                  <a:gd name="T7" fmla="*/ 15 h 15"/>
                  <a:gd name="T8" fmla="*/ 16 w 16"/>
                  <a:gd name="T9" fmla="*/ 0 h 15"/>
                  <a:gd name="T10" fmla="*/ 15 w 16"/>
                  <a:gd name="T11" fmla="*/ 0 h 15"/>
                  <a:gd name="T12" fmla="*/ 0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0" y="0"/>
                    </a:moveTo>
                    <a:lnTo>
                      <a:pt x="0" y="15"/>
                    </a:lnTo>
                    <a:lnTo>
                      <a:pt x="15" y="15"/>
                    </a:lnTo>
                    <a:lnTo>
                      <a:pt x="16" y="15"/>
                    </a:lnTo>
                    <a:lnTo>
                      <a:pt x="16" y="0"/>
                    </a:lnTo>
                    <a:lnTo>
                      <a:pt x="15" y="0"/>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12">
                <a:extLst>
                  <a:ext uri="{FF2B5EF4-FFF2-40B4-BE49-F238E27FC236}">
                    <a16:creationId xmlns:a16="http://schemas.microsoft.com/office/drawing/2014/main" id="{96642271-92D4-4082-A3AC-320FF2C0AEAD}"/>
                  </a:ext>
                </a:extLst>
              </p:cNvPr>
              <p:cNvSpPr>
                <a:spLocks noChangeArrowheads="1"/>
              </p:cNvSpPr>
              <p:nvPr/>
            </p:nvSpPr>
            <p:spPr bwMode="auto">
              <a:xfrm>
                <a:off x="2255" y="1089"/>
                <a:ext cx="15"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13">
                <a:extLst>
                  <a:ext uri="{FF2B5EF4-FFF2-40B4-BE49-F238E27FC236}">
                    <a16:creationId xmlns:a16="http://schemas.microsoft.com/office/drawing/2014/main" id="{C94F9323-C2AB-4CA1-A649-FB4F90E55B55}"/>
                  </a:ext>
                </a:extLst>
              </p:cNvPr>
              <p:cNvSpPr>
                <a:spLocks noChangeArrowheads="1"/>
              </p:cNvSpPr>
              <p:nvPr/>
            </p:nvSpPr>
            <p:spPr bwMode="auto">
              <a:xfrm>
                <a:off x="2224" y="1089"/>
                <a:ext cx="15"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14">
                <a:extLst>
                  <a:ext uri="{FF2B5EF4-FFF2-40B4-BE49-F238E27FC236}">
                    <a16:creationId xmlns:a16="http://schemas.microsoft.com/office/drawing/2014/main" id="{15EE9E79-C0D8-41BA-A69A-1E56334D04FF}"/>
                  </a:ext>
                </a:extLst>
              </p:cNvPr>
              <p:cNvSpPr>
                <a:spLocks/>
              </p:cNvSpPr>
              <p:nvPr/>
            </p:nvSpPr>
            <p:spPr bwMode="auto">
              <a:xfrm>
                <a:off x="2223" y="932"/>
                <a:ext cx="15" cy="16"/>
              </a:xfrm>
              <a:custGeom>
                <a:avLst/>
                <a:gdLst>
                  <a:gd name="T0" fmla="*/ 15 w 15"/>
                  <a:gd name="T1" fmla="*/ 1 h 16"/>
                  <a:gd name="T2" fmla="*/ 15 w 15"/>
                  <a:gd name="T3" fmla="*/ 0 h 16"/>
                  <a:gd name="T4" fmla="*/ 0 w 15"/>
                  <a:gd name="T5" fmla="*/ 0 h 16"/>
                  <a:gd name="T6" fmla="*/ 0 w 15"/>
                  <a:gd name="T7" fmla="*/ 1 h 16"/>
                  <a:gd name="T8" fmla="*/ 0 w 15"/>
                  <a:gd name="T9" fmla="*/ 16 h 16"/>
                  <a:gd name="T10" fmla="*/ 15 w 15"/>
                  <a:gd name="T11" fmla="*/ 16 h 16"/>
                  <a:gd name="T12" fmla="*/ 15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5" y="1"/>
                    </a:moveTo>
                    <a:lnTo>
                      <a:pt x="15" y="0"/>
                    </a:lnTo>
                    <a:lnTo>
                      <a:pt x="0" y="0"/>
                    </a:lnTo>
                    <a:lnTo>
                      <a:pt x="0" y="1"/>
                    </a:lnTo>
                    <a:lnTo>
                      <a:pt x="0" y="16"/>
                    </a:lnTo>
                    <a:lnTo>
                      <a:pt x="15" y="16"/>
                    </a:lnTo>
                    <a:lnTo>
                      <a:pt x="15" y="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15">
                <a:extLst>
                  <a:ext uri="{FF2B5EF4-FFF2-40B4-BE49-F238E27FC236}">
                    <a16:creationId xmlns:a16="http://schemas.microsoft.com/office/drawing/2014/main" id="{7206DE75-8B2A-4A30-A30B-0EBFFC1ADF33}"/>
                  </a:ext>
                </a:extLst>
              </p:cNvPr>
              <p:cNvSpPr>
                <a:spLocks noChangeArrowheads="1"/>
              </p:cNvSpPr>
              <p:nvPr/>
            </p:nvSpPr>
            <p:spPr bwMode="auto">
              <a:xfrm>
                <a:off x="2317" y="1089"/>
                <a:ext cx="16"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16">
                <a:extLst>
                  <a:ext uri="{FF2B5EF4-FFF2-40B4-BE49-F238E27FC236}">
                    <a16:creationId xmlns:a16="http://schemas.microsoft.com/office/drawing/2014/main" id="{6D76348E-8369-47C7-A5E2-73F67B5389CE}"/>
                  </a:ext>
                </a:extLst>
              </p:cNvPr>
              <p:cNvSpPr>
                <a:spLocks noChangeArrowheads="1"/>
              </p:cNvSpPr>
              <p:nvPr/>
            </p:nvSpPr>
            <p:spPr bwMode="auto">
              <a:xfrm>
                <a:off x="2285" y="1089"/>
                <a:ext cx="16"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17">
                <a:extLst>
                  <a:ext uri="{FF2B5EF4-FFF2-40B4-BE49-F238E27FC236}">
                    <a16:creationId xmlns:a16="http://schemas.microsoft.com/office/drawing/2014/main" id="{7FAEF977-F710-4A04-8EDB-027A16E093D0}"/>
                  </a:ext>
                </a:extLst>
              </p:cNvPr>
              <p:cNvSpPr>
                <a:spLocks/>
              </p:cNvSpPr>
              <p:nvPr/>
            </p:nvSpPr>
            <p:spPr bwMode="auto">
              <a:xfrm>
                <a:off x="2348" y="1025"/>
                <a:ext cx="16" cy="16"/>
              </a:xfrm>
              <a:custGeom>
                <a:avLst/>
                <a:gdLst>
                  <a:gd name="T0" fmla="*/ 16 w 16"/>
                  <a:gd name="T1" fmla="*/ 0 h 16"/>
                  <a:gd name="T2" fmla="*/ 0 w 16"/>
                  <a:gd name="T3" fmla="*/ 0 h 16"/>
                  <a:gd name="T4" fmla="*/ 0 w 16"/>
                  <a:gd name="T5" fmla="*/ 1 h 16"/>
                  <a:gd name="T6" fmla="*/ 0 w 16"/>
                  <a:gd name="T7" fmla="*/ 16 h 16"/>
                  <a:gd name="T8" fmla="*/ 16 w 16"/>
                  <a:gd name="T9" fmla="*/ 16 h 16"/>
                  <a:gd name="T10" fmla="*/ 16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16" y="0"/>
                    </a:moveTo>
                    <a:lnTo>
                      <a:pt x="0" y="0"/>
                    </a:lnTo>
                    <a:lnTo>
                      <a:pt x="0" y="1"/>
                    </a:lnTo>
                    <a:lnTo>
                      <a:pt x="0" y="16"/>
                    </a:lnTo>
                    <a:lnTo>
                      <a:pt x="16" y="16"/>
                    </a:lnTo>
                    <a:lnTo>
                      <a:pt x="16"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18">
                <a:extLst>
                  <a:ext uri="{FF2B5EF4-FFF2-40B4-BE49-F238E27FC236}">
                    <a16:creationId xmlns:a16="http://schemas.microsoft.com/office/drawing/2014/main" id="{F5C50047-CB2C-40BF-B932-58FFB30D3DE5}"/>
                  </a:ext>
                </a:extLst>
              </p:cNvPr>
              <p:cNvSpPr>
                <a:spLocks/>
              </p:cNvSpPr>
              <p:nvPr/>
            </p:nvSpPr>
            <p:spPr bwMode="auto">
              <a:xfrm>
                <a:off x="2344" y="962"/>
                <a:ext cx="20" cy="16"/>
              </a:xfrm>
              <a:custGeom>
                <a:avLst/>
                <a:gdLst>
                  <a:gd name="T0" fmla="*/ 0 w 20"/>
                  <a:gd name="T1" fmla="*/ 16 h 16"/>
                  <a:gd name="T2" fmla="*/ 20 w 20"/>
                  <a:gd name="T3" fmla="*/ 16 h 16"/>
                  <a:gd name="T4" fmla="*/ 20 w 20"/>
                  <a:gd name="T5" fmla="*/ 2 h 16"/>
                  <a:gd name="T6" fmla="*/ 20 w 20"/>
                  <a:gd name="T7" fmla="*/ 0 h 16"/>
                  <a:gd name="T8" fmla="*/ 4 w 20"/>
                  <a:gd name="T9" fmla="*/ 0 h 16"/>
                  <a:gd name="T10" fmla="*/ 4 w 20"/>
                  <a:gd name="T11" fmla="*/ 2 h 16"/>
                  <a:gd name="T12" fmla="*/ 0 w 2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0" h="16">
                    <a:moveTo>
                      <a:pt x="0" y="16"/>
                    </a:moveTo>
                    <a:lnTo>
                      <a:pt x="20" y="16"/>
                    </a:lnTo>
                    <a:lnTo>
                      <a:pt x="20" y="2"/>
                    </a:lnTo>
                    <a:lnTo>
                      <a:pt x="20" y="0"/>
                    </a:lnTo>
                    <a:lnTo>
                      <a:pt x="4" y="0"/>
                    </a:lnTo>
                    <a:lnTo>
                      <a:pt x="4" y="2"/>
                    </a:lnTo>
                    <a:lnTo>
                      <a:pt x="0" y="1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19">
                <a:extLst>
                  <a:ext uri="{FF2B5EF4-FFF2-40B4-BE49-F238E27FC236}">
                    <a16:creationId xmlns:a16="http://schemas.microsoft.com/office/drawing/2014/main" id="{DC019FA8-33DC-42B6-80B1-C432997375FC}"/>
                  </a:ext>
                </a:extLst>
              </p:cNvPr>
              <p:cNvSpPr>
                <a:spLocks/>
              </p:cNvSpPr>
              <p:nvPr/>
            </p:nvSpPr>
            <p:spPr bwMode="auto">
              <a:xfrm>
                <a:off x="2255" y="932"/>
                <a:ext cx="78" cy="21"/>
              </a:xfrm>
              <a:custGeom>
                <a:avLst/>
                <a:gdLst>
                  <a:gd name="T0" fmla="*/ 0 w 78"/>
                  <a:gd name="T1" fmla="*/ 21 h 21"/>
                  <a:gd name="T2" fmla="*/ 15 w 78"/>
                  <a:gd name="T3" fmla="*/ 21 h 21"/>
                  <a:gd name="T4" fmla="*/ 15 w 78"/>
                  <a:gd name="T5" fmla="*/ 21 h 21"/>
                  <a:gd name="T6" fmla="*/ 32 w 78"/>
                  <a:gd name="T7" fmla="*/ 21 h 21"/>
                  <a:gd name="T8" fmla="*/ 46 w 78"/>
                  <a:gd name="T9" fmla="*/ 21 h 21"/>
                  <a:gd name="T10" fmla="*/ 46 w 78"/>
                  <a:gd name="T11" fmla="*/ 21 h 21"/>
                  <a:gd name="T12" fmla="*/ 62 w 78"/>
                  <a:gd name="T13" fmla="*/ 21 h 21"/>
                  <a:gd name="T14" fmla="*/ 78 w 78"/>
                  <a:gd name="T15" fmla="*/ 21 h 21"/>
                  <a:gd name="T16" fmla="*/ 78 w 78"/>
                  <a:gd name="T17" fmla="*/ 0 h 21"/>
                  <a:gd name="T18" fmla="*/ 62 w 78"/>
                  <a:gd name="T19" fmla="*/ 0 h 21"/>
                  <a:gd name="T20" fmla="*/ 62 w 78"/>
                  <a:gd name="T21" fmla="*/ 21 h 21"/>
                  <a:gd name="T22" fmla="*/ 46 w 78"/>
                  <a:gd name="T23" fmla="*/ 21 h 21"/>
                  <a:gd name="T24" fmla="*/ 46 w 78"/>
                  <a:gd name="T25" fmla="*/ 18 h 21"/>
                  <a:gd name="T26" fmla="*/ 46 w 78"/>
                  <a:gd name="T27" fmla="*/ 0 h 21"/>
                  <a:gd name="T28" fmla="*/ 32 w 78"/>
                  <a:gd name="T29" fmla="*/ 0 h 21"/>
                  <a:gd name="T30" fmla="*/ 32 w 78"/>
                  <a:gd name="T31" fmla="*/ 21 h 21"/>
                  <a:gd name="T32" fmla="*/ 15 w 78"/>
                  <a:gd name="T33" fmla="*/ 21 h 21"/>
                  <a:gd name="T34" fmla="*/ 15 w 78"/>
                  <a:gd name="T35" fmla="*/ 21 h 21"/>
                  <a:gd name="T36" fmla="*/ 15 w 78"/>
                  <a:gd name="T37" fmla="*/ 19 h 21"/>
                  <a:gd name="T38" fmla="*/ 15 w 78"/>
                  <a:gd name="T39" fmla="*/ 18 h 21"/>
                  <a:gd name="T40" fmla="*/ 15 w 78"/>
                  <a:gd name="T41" fmla="*/ 18 h 21"/>
                  <a:gd name="T42" fmla="*/ 15 w 78"/>
                  <a:gd name="T43" fmla="*/ 0 h 21"/>
                  <a:gd name="T44" fmla="*/ 0 w 78"/>
                  <a:gd name="T45" fmla="*/ 0 h 21"/>
                  <a:gd name="T46" fmla="*/ 0 w 78"/>
                  <a:gd name="T47" fmla="*/ 1 h 21"/>
                  <a:gd name="T48" fmla="*/ 0 w 78"/>
                  <a:gd name="T4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21">
                    <a:moveTo>
                      <a:pt x="0" y="21"/>
                    </a:moveTo>
                    <a:lnTo>
                      <a:pt x="15" y="21"/>
                    </a:lnTo>
                    <a:lnTo>
                      <a:pt x="15" y="21"/>
                    </a:lnTo>
                    <a:lnTo>
                      <a:pt x="32" y="21"/>
                    </a:lnTo>
                    <a:lnTo>
                      <a:pt x="46" y="21"/>
                    </a:lnTo>
                    <a:lnTo>
                      <a:pt x="46" y="21"/>
                    </a:lnTo>
                    <a:lnTo>
                      <a:pt x="62" y="21"/>
                    </a:lnTo>
                    <a:lnTo>
                      <a:pt x="78" y="21"/>
                    </a:lnTo>
                    <a:lnTo>
                      <a:pt x="78" y="0"/>
                    </a:lnTo>
                    <a:lnTo>
                      <a:pt x="62" y="0"/>
                    </a:lnTo>
                    <a:lnTo>
                      <a:pt x="62" y="21"/>
                    </a:lnTo>
                    <a:lnTo>
                      <a:pt x="46" y="21"/>
                    </a:lnTo>
                    <a:lnTo>
                      <a:pt x="46" y="18"/>
                    </a:lnTo>
                    <a:lnTo>
                      <a:pt x="46" y="0"/>
                    </a:lnTo>
                    <a:lnTo>
                      <a:pt x="32" y="0"/>
                    </a:lnTo>
                    <a:lnTo>
                      <a:pt x="32" y="21"/>
                    </a:lnTo>
                    <a:lnTo>
                      <a:pt x="15" y="21"/>
                    </a:lnTo>
                    <a:lnTo>
                      <a:pt x="15" y="21"/>
                    </a:lnTo>
                    <a:lnTo>
                      <a:pt x="15" y="19"/>
                    </a:lnTo>
                    <a:lnTo>
                      <a:pt x="15" y="18"/>
                    </a:lnTo>
                    <a:lnTo>
                      <a:pt x="15" y="18"/>
                    </a:lnTo>
                    <a:lnTo>
                      <a:pt x="15" y="0"/>
                    </a:lnTo>
                    <a:lnTo>
                      <a:pt x="0" y="0"/>
                    </a:lnTo>
                    <a:lnTo>
                      <a:pt x="0" y="1"/>
                    </a:lnTo>
                    <a:lnTo>
                      <a:pt x="0" y="2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20">
                <a:extLst>
                  <a:ext uri="{FF2B5EF4-FFF2-40B4-BE49-F238E27FC236}">
                    <a16:creationId xmlns:a16="http://schemas.microsoft.com/office/drawing/2014/main" id="{2DA6BAAD-22F8-4007-9AB6-543574A3D7E1}"/>
                  </a:ext>
                </a:extLst>
              </p:cNvPr>
              <p:cNvSpPr>
                <a:spLocks noChangeArrowheads="1"/>
              </p:cNvSpPr>
              <p:nvPr/>
            </p:nvSpPr>
            <p:spPr bwMode="auto">
              <a:xfrm>
                <a:off x="2224" y="964"/>
                <a:ext cx="109" cy="10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21">
                <a:extLst>
                  <a:ext uri="{FF2B5EF4-FFF2-40B4-BE49-F238E27FC236}">
                    <a16:creationId xmlns:a16="http://schemas.microsoft.com/office/drawing/2014/main" id="{DE7535BF-E580-4C7E-8AAC-619247970576}"/>
                  </a:ext>
                </a:extLst>
              </p:cNvPr>
              <p:cNvSpPr>
                <a:spLocks/>
              </p:cNvSpPr>
              <p:nvPr/>
            </p:nvSpPr>
            <p:spPr bwMode="auto">
              <a:xfrm>
                <a:off x="2255" y="808"/>
                <a:ext cx="232" cy="233"/>
              </a:xfrm>
              <a:custGeom>
                <a:avLst/>
                <a:gdLst>
                  <a:gd name="T0" fmla="*/ 232 w 232"/>
                  <a:gd name="T1" fmla="*/ 30 h 233"/>
                  <a:gd name="T2" fmla="*/ 218 w 232"/>
                  <a:gd name="T3" fmla="*/ 15 h 233"/>
                  <a:gd name="T4" fmla="*/ 201 w 232"/>
                  <a:gd name="T5" fmla="*/ 0 h 233"/>
                  <a:gd name="T6" fmla="*/ 186 w 232"/>
                  <a:gd name="T7" fmla="*/ 15 h 233"/>
                  <a:gd name="T8" fmla="*/ 171 w 232"/>
                  <a:gd name="T9" fmla="*/ 0 h 233"/>
                  <a:gd name="T10" fmla="*/ 155 w 232"/>
                  <a:gd name="T11" fmla="*/ 15 h 233"/>
                  <a:gd name="T12" fmla="*/ 140 w 232"/>
                  <a:gd name="T13" fmla="*/ 0 h 233"/>
                  <a:gd name="T14" fmla="*/ 124 w 232"/>
                  <a:gd name="T15" fmla="*/ 15 h 233"/>
                  <a:gd name="T16" fmla="*/ 108 w 232"/>
                  <a:gd name="T17" fmla="*/ 0 h 233"/>
                  <a:gd name="T18" fmla="*/ 93 w 232"/>
                  <a:gd name="T19" fmla="*/ 15 h 233"/>
                  <a:gd name="T20" fmla="*/ 78 w 232"/>
                  <a:gd name="T21" fmla="*/ 0 h 233"/>
                  <a:gd name="T22" fmla="*/ 61 w 232"/>
                  <a:gd name="T23" fmla="*/ 15 h 233"/>
                  <a:gd name="T24" fmla="*/ 46 w 232"/>
                  <a:gd name="T25" fmla="*/ 0 h 233"/>
                  <a:gd name="T26" fmla="*/ 30 w 232"/>
                  <a:gd name="T27" fmla="*/ 15 h 233"/>
                  <a:gd name="T28" fmla="*/ 15 w 232"/>
                  <a:gd name="T29" fmla="*/ 30 h 233"/>
                  <a:gd name="T30" fmla="*/ 0 w 232"/>
                  <a:gd name="T31" fmla="*/ 47 h 233"/>
                  <a:gd name="T32" fmla="*/ 15 w 232"/>
                  <a:gd name="T33" fmla="*/ 62 h 233"/>
                  <a:gd name="T34" fmla="*/ 0 w 232"/>
                  <a:gd name="T35" fmla="*/ 78 h 233"/>
                  <a:gd name="T36" fmla="*/ 15 w 232"/>
                  <a:gd name="T37" fmla="*/ 93 h 233"/>
                  <a:gd name="T38" fmla="*/ 0 w 232"/>
                  <a:gd name="T39" fmla="*/ 108 h 233"/>
                  <a:gd name="T40" fmla="*/ 15 w 232"/>
                  <a:gd name="T41" fmla="*/ 124 h 233"/>
                  <a:gd name="T42" fmla="*/ 32 w 232"/>
                  <a:gd name="T43" fmla="*/ 30 h 233"/>
                  <a:gd name="T44" fmla="*/ 201 w 232"/>
                  <a:gd name="T45" fmla="*/ 202 h 233"/>
                  <a:gd name="T46" fmla="*/ 109 w 232"/>
                  <a:gd name="T47" fmla="*/ 202 h 233"/>
                  <a:gd name="T48" fmla="*/ 109 w 232"/>
                  <a:gd name="T49" fmla="*/ 217 h 233"/>
                  <a:gd name="T50" fmla="*/ 124 w 232"/>
                  <a:gd name="T51" fmla="*/ 233 h 233"/>
                  <a:gd name="T52" fmla="*/ 139 w 232"/>
                  <a:gd name="T53" fmla="*/ 218 h 233"/>
                  <a:gd name="T54" fmla="*/ 155 w 232"/>
                  <a:gd name="T55" fmla="*/ 233 h 233"/>
                  <a:gd name="T56" fmla="*/ 171 w 232"/>
                  <a:gd name="T57" fmla="*/ 218 h 233"/>
                  <a:gd name="T58" fmla="*/ 186 w 232"/>
                  <a:gd name="T59" fmla="*/ 233 h 233"/>
                  <a:gd name="T60" fmla="*/ 201 w 232"/>
                  <a:gd name="T61" fmla="*/ 218 h 233"/>
                  <a:gd name="T62" fmla="*/ 218 w 232"/>
                  <a:gd name="T63" fmla="*/ 202 h 233"/>
                  <a:gd name="T64" fmla="*/ 232 w 232"/>
                  <a:gd name="T65" fmla="*/ 186 h 233"/>
                  <a:gd name="T66" fmla="*/ 218 w 232"/>
                  <a:gd name="T67" fmla="*/ 171 h 233"/>
                  <a:gd name="T68" fmla="*/ 232 w 232"/>
                  <a:gd name="T69" fmla="*/ 156 h 233"/>
                  <a:gd name="T70" fmla="*/ 218 w 232"/>
                  <a:gd name="T71" fmla="*/ 140 h 233"/>
                  <a:gd name="T72" fmla="*/ 232 w 232"/>
                  <a:gd name="T73" fmla="*/ 124 h 233"/>
                  <a:gd name="T74" fmla="*/ 218 w 232"/>
                  <a:gd name="T75" fmla="*/ 108 h 233"/>
                  <a:gd name="T76" fmla="*/ 232 w 232"/>
                  <a:gd name="T77" fmla="*/ 93 h 233"/>
                  <a:gd name="T78" fmla="*/ 218 w 232"/>
                  <a:gd name="T79" fmla="*/ 78 h 233"/>
                  <a:gd name="T80" fmla="*/ 232 w 232"/>
                  <a:gd name="T81" fmla="*/ 62 h 233"/>
                  <a:gd name="T82" fmla="*/ 218 w 232"/>
                  <a:gd name="T83" fmla="*/ 47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233">
                    <a:moveTo>
                      <a:pt x="232" y="47"/>
                    </a:moveTo>
                    <a:lnTo>
                      <a:pt x="232" y="30"/>
                    </a:lnTo>
                    <a:lnTo>
                      <a:pt x="218" y="30"/>
                    </a:lnTo>
                    <a:lnTo>
                      <a:pt x="218" y="15"/>
                    </a:lnTo>
                    <a:lnTo>
                      <a:pt x="201" y="15"/>
                    </a:lnTo>
                    <a:lnTo>
                      <a:pt x="201" y="0"/>
                    </a:lnTo>
                    <a:lnTo>
                      <a:pt x="186" y="0"/>
                    </a:lnTo>
                    <a:lnTo>
                      <a:pt x="186" y="15"/>
                    </a:lnTo>
                    <a:lnTo>
                      <a:pt x="171" y="15"/>
                    </a:lnTo>
                    <a:lnTo>
                      <a:pt x="171" y="0"/>
                    </a:lnTo>
                    <a:lnTo>
                      <a:pt x="155" y="0"/>
                    </a:lnTo>
                    <a:lnTo>
                      <a:pt x="155" y="15"/>
                    </a:lnTo>
                    <a:lnTo>
                      <a:pt x="140" y="15"/>
                    </a:lnTo>
                    <a:lnTo>
                      <a:pt x="140" y="0"/>
                    </a:lnTo>
                    <a:lnTo>
                      <a:pt x="124" y="0"/>
                    </a:lnTo>
                    <a:lnTo>
                      <a:pt x="124" y="15"/>
                    </a:lnTo>
                    <a:lnTo>
                      <a:pt x="108" y="15"/>
                    </a:lnTo>
                    <a:lnTo>
                      <a:pt x="108" y="0"/>
                    </a:lnTo>
                    <a:lnTo>
                      <a:pt x="93" y="0"/>
                    </a:lnTo>
                    <a:lnTo>
                      <a:pt x="93" y="15"/>
                    </a:lnTo>
                    <a:lnTo>
                      <a:pt x="78" y="15"/>
                    </a:lnTo>
                    <a:lnTo>
                      <a:pt x="78" y="0"/>
                    </a:lnTo>
                    <a:lnTo>
                      <a:pt x="61" y="0"/>
                    </a:lnTo>
                    <a:lnTo>
                      <a:pt x="61" y="15"/>
                    </a:lnTo>
                    <a:lnTo>
                      <a:pt x="46" y="15"/>
                    </a:lnTo>
                    <a:lnTo>
                      <a:pt x="46" y="0"/>
                    </a:lnTo>
                    <a:lnTo>
                      <a:pt x="30" y="0"/>
                    </a:lnTo>
                    <a:lnTo>
                      <a:pt x="30" y="15"/>
                    </a:lnTo>
                    <a:lnTo>
                      <a:pt x="15" y="15"/>
                    </a:lnTo>
                    <a:lnTo>
                      <a:pt x="15" y="30"/>
                    </a:lnTo>
                    <a:lnTo>
                      <a:pt x="0" y="30"/>
                    </a:lnTo>
                    <a:lnTo>
                      <a:pt x="0" y="47"/>
                    </a:lnTo>
                    <a:lnTo>
                      <a:pt x="15" y="47"/>
                    </a:lnTo>
                    <a:lnTo>
                      <a:pt x="15" y="62"/>
                    </a:lnTo>
                    <a:lnTo>
                      <a:pt x="0" y="62"/>
                    </a:lnTo>
                    <a:lnTo>
                      <a:pt x="0" y="78"/>
                    </a:lnTo>
                    <a:lnTo>
                      <a:pt x="15" y="78"/>
                    </a:lnTo>
                    <a:lnTo>
                      <a:pt x="15" y="93"/>
                    </a:lnTo>
                    <a:lnTo>
                      <a:pt x="0" y="93"/>
                    </a:lnTo>
                    <a:lnTo>
                      <a:pt x="0" y="108"/>
                    </a:lnTo>
                    <a:lnTo>
                      <a:pt x="15" y="108"/>
                    </a:lnTo>
                    <a:lnTo>
                      <a:pt x="15" y="124"/>
                    </a:lnTo>
                    <a:lnTo>
                      <a:pt x="32" y="124"/>
                    </a:lnTo>
                    <a:lnTo>
                      <a:pt x="32" y="30"/>
                    </a:lnTo>
                    <a:lnTo>
                      <a:pt x="201" y="30"/>
                    </a:lnTo>
                    <a:lnTo>
                      <a:pt x="201" y="202"/>
                    </a:lnTo>
                    <a:lnTo>
                      <a:pt x="109" y="202"/>
                    </a:lnTo>
                    <a:lnTo>
                      <a:pt x="109" y="202"/>
                    </a:lnTo>
                    <a:lnTo>
                      <a:pt x="109" y="203"/>
                    </a:lnTo>
                    <a:lnTo>
                      <a:pt x="109" y="217"/>
                    </a:lnTo>
                    <a:lnTo>
                      <a:pt x="124" y="218"/>
                    </a:lnTo>
                    <a:lnTo>
                      <a:pt x="124" y="233"/>
                    </a:lnTo>
                    <a:lnTo>
                      <a:pt x="139" y="233"/>
                    </a:lnTo>
                    <a:lnTo>
                      <a:pt x="139" y="218"/>
                    </a:lnTo>
                    <a:lnTo>
                      <a:pt x="155" y="218"/>
                    </a:lnTo>
                    <a:lnTo>
                      <a:pt x="155" y="233"/>
                    </a:lnTo>
                    <a:lnTo>
                      <a:pt x="171" y="233"/>
                    </a:lnTo>
                    <a:lnTo>
                      <a:pt x="171" y="218"/>
                    </a:lnTo>
                    <a:lnTo>
                      <a:pt x="186" y="218"/>
                    </a:lnTo>
                    <a:lnTo>
                      <a:pt x="186" y="233"/>
                    </a:lnTo>
                    <a:lnTo>
                      <a:pt x="201" y="233"/>
                    </a:lnTo>
                    <a:lnTo>
                      <a:pt x="201" y="218"/>
                    </a:lnTo>
                    <a:lnTo>
                      <a:pt x="218" y="218"/>
                    </a:lnTo>
                    <a:lnTo>
                      <a:pt x="218" y="202"/>
                    </a:lnTo>
                    <a:lnTo>
                      <a:pt x="232" y="202"/>
                    </a:lnTo>
                    <a:lnTo>
                      <a:pt x="232" y="186"/>
                    </a:lnTo>
                    <a:lnTo>
                      <a:pt x="218" y="186"/>
                    </a:lnTo>
                    <a:lnTo>
                      <a:pt x="218" y="171"/>
                    </a:lnTo>
                    <a:lnTo>
                      <a:pt x="232" y="171"/>
                    </a:lnTo>
                    <a:lnTo>
                      <a:pt x="232" y="156"/>
                    </a:lnTo>
                    <a:lnTo>
                      <a:pt x="218" y="156"/>
                    </a:lnTo>
                    <a:lnTo>
                      <a:pt x="218" y="140"/>
                    </a:lnTo>
                    <a:lnTo>
                      <a:pt x="232" y="140"/>
                    </a:lnTo>
                    <a:lnTo>
                      <a:pt x="232" y="124"/>
                    </a:lnTo>
                    <a:lnTo>
                      <a:pt x="218" y="124"/>
                    </a:lnTo>
                    <a:lnTo>
                      <a:pt x="218" y="108"/>
                    </a:lnTo>
                    <a:lnTo>
                      <a:pt x="232" y="108"/>
                    </a:lnTo>
                    <a:lnTo>
                      <a:pt x="232" y="93"/>
                    </a:lnTo>
                    <a:lnTo>
                      <a:pt x="218" y="93"/>
                    </a:lnTo>
                    <a:lnTo>
                      <a:pt x="218" y="78"/>
                    </a:lnTo>
                    <a:lnTo>
                      <a:pt x="232" y="78"/>
                    </a:lnTo>
                    <a:lnTo>
                      <a:pt x="232" y="62"/>
                    </a:lnTo>
                    <a:lnTo>
                      <a:pt x="218" y="62"/>
                    </a:lnTo>
                    <a:lnTo>
                      <a:pt x="218" y="47"/>
                    </a:lnTo>
                    <a:lnTo>
                      <a:pt x="232" y="4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22">
                <a:extLst>
                  <a:ext uri="{FF2B5EF4-FFF2-40B4-BE49-F238E27FC236}">
                    <a16:creationId xmlns:a16="http://schemas.microsoft.com/office/drawing/2014/main" id="{C80F4642-51B2-428B-93B6-47795EE8D834}"/>
                  </a:ext>
                </a:extLst>
              </p:cNvPr>
              <p:cNvSpPr>
                <a:spLocks noEditPoints="1"/>
              </p:cNvSpPr>
              <p:nvPr/>
            </p:nvSpPr>
            <p:spPr bwMode="auto">
              <a:xfrm>
                <a:off x="2207" y="948"/>
                <a:ext cx="141" cy="141"/>
              </a:xfrm>
              <a:custGeom>
                <a:avLst/>
                <a:gdLst>
                  <a:gd name="T0" fmla="*/ 0 w 141"/>
                  <a:gd name="T1" fmla="*/ 0 h 141"/>
                  <a:gd name="T2" fmla="*/ 0 w 141"/>
                  <a:gd name="T3" fmla="*/ 141 h 141"/>
                  <a:gd name="T4" fmla="*/ 141 w 141"/>
                  <a:gd name="T5" fmla="*/ 141 h 141"/>
                  <a:gd name="T6" fmla="*/ 141 w 141"/>
                  <a:gd name="T7" fmla="*/ 0 h 141"/>
                  <a:gd name="T8" fmla="*/ 0 w 141"/>
                  <a:gd name="T9" fmla="*/ 0 h 141"/>
                  <a:gd name="T10" fmla="*/ 126 w 141"/>
                  <a:gd name="T11" fmla="*/ 124 h 141"/>
                  <a:gd name="T12" fmla="*/ 17 w 141"/>
                  <a:gd name="T13" fmla="*/ 124 h 141"/>
                  <a:gd name="T14" fmla="*/ 17 w 141"/>
                  <a:gd name="T15" fmla="*/ 16 h 141"/>
                  <a:gd name="T16" fmla="*/ 126 w 141"/>
                  <a:gd name="T17" fmla="*/ 16 h 141"/>
                  <a:gd name="T18" fmla="*/ 126 w 141"/>
                  <a:gd name="T19" fmla="*/ 12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0" y="0"/>
                    </a:moveTo>
                    <a:lnTo>
                      <a:pt x="0" y="141"/>
                    </a:lnTo>
                    <a:lnTo>
                      <a:pt x="141" y="141"/>
                    </a:lnTo>
                    <a:lnTo>
                      <a:pt x="141" y="0"/>
                    </a:lnTo>
                    <a:lnTo>
                      <a:pt x="0" y="0"/>
                    </a:lnTo>
                    <a:close/>
                    <a:moveTo>
                      <a:pt x="126" y="124"/>
                    </a:moveTo>
                    <a:lnTo>
                      <a:pt x="17" y="124"/>
                    </a:lnTo>
                    <a:lnTo>
                      <a:pt x="17" y="16"/>
                    </a:lnTo>
                    <a:lnTo>
                      <a:pt x="126" y="16"/>
                    </a:lnTo>
                    <a:lnTo>
                      <a:pt x="126" y="12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9" name="Group 58">
            <a:extLst>
              <a:ext uri="{FF2B5EF4-FFF2-40B4-BE49-F238E27FC236}">
                <a16:creationId xmlns:a16="http://schemas.microsoft.com/office/drawing/2014/main" id="{B732F5BA-FF85-5116-7AAF-A4351FD24CAC}"/>
              </a:ext>
            </a:extLst>
          </p:cNvPr>
          <p:cNvGrpSpPr/>
          <p:nvPr/>
        </p:nvGrpSpPr>
        <p:grpSpPr>
          <a:xfrm>
            <a:off x="4434426" y="2443917"/>
            <a:ext cx="1539875" cy="1889010"/>
            <a:chOff x="4434426" y="2443917"/>
            <a:chExt cx="1539875" cy="1889010"/>
          </a:xfrm>
        </p:grpSpPr>
        <p:sp>
          <p:nvSpPr>
            <p:cNvPr id="15" name="TextBox 14">
              <a:extLst>
                <a:ext uri="{FF2B5EF4-FFF2-40B4-BE49-F238E27FC236}">
                  <a16:creationId xmlns:a16="http://schemas.microsoft.com/office/drawing/2014/main" id="{2B0E09C2-44D0-47AF-8E31-9A346E2EF39B}"/>
                </a:ext>
              </a:extLst>
            </p:cNvPr>
            <p:cNvSpPr txBox="1"/>
            <p:nvPr/>
          </p:nvSpPr>
          <p:spPr>
            <a:xfrm>
              <a:off x="4434426" y="3348234"/>
              <a:ext cx="1539875" cy="984693"/>
            </a:xfrm>
            <a:prstGeom prst="rect">
              <a:avLst/>
            </a:prstGeom>
            <a:noFill/>
          </p:spPr>
          <p:txBody>
            <a:bodyPr wrap="square">
              <a:spAutoFit/>
            </a:bodyPr>
            <a:lstStyle/>
            <a:p>
              <a:pPr marL="0" marR="0" lvl="0" indent="0" algn="ctr" defTabSz="914400" rtl="0" eaLnBrk="1" fontAlgn="auto" latinLnBrk="0" hangingPunct="1">
                <a:lnSpc>
                  <a:spcPct val="107000"/>
                </a:lnSpc>
                <a:spcBef>
                  <a:spcPts val="0"/>
                </a:spcBef>
                <a:spcAft>
                  <a:spcPts val="120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Calibri" panose="020F0502020204030204" pitchFamily="34" charset="0"/>
                  <a:cs typeface="Segoe UI" panose="020B0502040204020203" pitchFamily="34" charset="0"/>
                </a:rPr>
                <a:t>GPUs can be programmatically exploited via CUDA for computational purposes </a:t>
              </a:r>
            </a:p>
          </p:txBody>
        </p:sp>
        <p:grpSp>
          <p:nvGrpSpPr>
            <p:cNvPr id="72" name="context" descr="context">
              <a:extLst>
                <a:ext uri="{FF2B5EF4-FFF2-40B4-BE49-F238E27FC236}">
                  <a16:creationId xmlns:a16="http://schemas.microsoft.com/office/drawing/2014/main" id="{91B6DF98-7C16-413C-AC9E-10454D6E6498}"/>
                </a:ext>
              </a:extLst>
            </p:cNvPr>
            <p:cNvGrpSpPr/>
            <p:nvPr/>
          </p:nvGrpSpPr>
          <p:grpSpPr>
            <a:xfrm>
              <a:off x="4849548" y="2443917"/>
              <a:ext cx="681754" cy="676972"/>
              <a:chOff x="1645226" y="2127941"/>
              <a:chExt cx="443543" cy="440430"/>
            </a:xfrm>
          </p:grpSpPr>
          <p:sp>
            <p:nvSpPr>
              <p:cNvPr id="73" name="Rectangle 1025">
                <a:extLst>
                  <a:ext uri="{FF2B5EF4-FFF2-40B4-BE49-F238E27FC236}">
                    <a16:creationId xmlns:a16="http://schemas.microsoft.com/office/drawing/2014/main" id="{DEC3C618-BF8B-431D-A89E-B9BC84BCEA11}"/>
                  </a:ext>
                </a:extLst>
              </p:cNvPr>
              <p:cNvSpPr>
                <a:spLocks noChangeArrowheads="1"/>
              </p:cNvSpPr>
              <p:nvPr/>
            </p:nvSpPr>
            <p:spPr bwMode="auto">
              <a:xfrm>
                <a:off x="1645226" y="2151285"/>
                <a:ext cx="143179" cy="3268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4" name="Rectangle 1026">
                <a:extLst>
                  <a:ext uri="{FF2B5EF4-FFF2-40B4-BE49-F238E27FC236}">
                    <a16:creationId xmlns:a16="http://schemas.microsoft.com/office/drawing/2014/main" id="{41A13939-28EC-4ADE-B797-4B394B807998}"/>
                  </a:ext>
                </a:extLst>
              </p:cNvPr>
              <p:cNvSpPr>
                <a:spLocks noChangeArrowheads="1"/>
              </p:cNvSpPr>
              <p:nvPr/>
            </p:nvSpPr>
            <p:spPr bwMode="auto">
              <a:xfrm>
                <a:off x="1645226" y="2185523"/>
                <a:ext cx="143179" cy="342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1027">
                <a:extLst>
                  <a:ext uri="{FF2B5EF4-FFF2-40B4-BE49-F238E27FC236}">
                    <a16:creationId xmlns:a16="http://schemas.microsoft.com/office/drawing/2014/main" id="{0E5DBA93-8738-41E2-8A82-C2BC81B6F2C0}"/>
                  </a:ext>
                </a:extLst>
              </p:cNvPr>
              <p:cNvSpPr>
                <a:spLocks noChangeArrowheads="1"/>
              </p:cNvSpPr>
              <p:nvPr/>
            </p:nvSpPr>
            <p:spPr bwMode="auto">
              <a:xfrm>
                <a:off x="1902014" y="2173073"/>
                <a:ext cx="164967" cy="2334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1028">
                <a:extLst>
                  <a:ext uri="{FF2B5EF4-FFF2-40B4-BE49-F238E27FC236}">
                    <a16:creationId xmlns:a16="http://schemas.microsoft.com/office/drawing/2014/main" id="{F6A3B9E8-0932-458D-A159-677A0D843684}"/>
                  </a:ext>
                </a:extLst>
              </p:cNvPr>
              <p:cNvSpPr>
                <a:spLocks noChangeArrowheads="1"/>
              </p:cNvSpPr>
              <p:nvPr/>
            </p:nvSpPr>
            <p:spPr bwMode="auto">
              <a:xfrm>
                <a:off x="1810193" y="2127941"/>
                <a:ext cx="68477" cy="11516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1029">
                <a:extLst>
                  <a:ext uri="{FF2B5EF4-FFF2-40B4-BE49-F238E27FC236}">
                    <a16:creationId xmlns:a16="http://schemas.microsoft.com/office/drawing/2014/main" id="{9AE8E73B-7A62-49BF-B87A-58A3FF0327A5}"/>
                  </a:ext>
                </a:extLst>
              </p:cNvPr>
              <p:cNvSpPr>
                <a:spLocks/>
              </p:cNvSpPr>
              <p:nvPr/>
            </p:nvSpPr>
            <p:spPr bwMode="auto">
              <a:xfrm>
                <a:off x="2057643" y="2152842"/>
                <a:ext cx="31126" cy="63808"/>
              </a:xfrm>
              <a:custGeom>
                <a:avLst/>
                <a:gdLst>
                  <a:gd name="T0" fmla="*/ 20 w 20"/>
                  <a:gd name="T1" fmla="*/ 21 h 41"/>
                  <a:gd name="T2" fmla="*/ 0 w 20"/>
                  <a:gd name="T3" fmla="*/ 41 h 41"/>
                  <a:gd name="T4" fmla="*/ 0 w 20"/>
                  <a:gd name="T5" fmla="*/ 0 h 41"/>
                  <a:gd name="T6" fmla="*/ 20 w 20"/>
                  <a:gd name="T7" fmla="*/ 21 h 41"/>
                </a:gdLst>
                <a:ahLst/>
                <a:cxnLst>
                  <a:cxn ang="0">
                    <a:pos x="T0" y="T1"/>
                  </a:cxn>
                  <a:cxn ang="0">
                    <a:pos x="T2" y="T3"/>
                  </a:cxn>
                  <a:cxn ang="0">
                    <a:pos x="T4" y="T5"/>
                  </a:cxn>
                  <a:cxn ang="0">
                    <a:pos x="T6" y="T7"/>
                  </a:cxn>
                </a:cxnLst>
                <a:rect l="0" t="0" r="r" b="b"/>
                <a:pathLst>
                  <a:path w="20" h="41">
                    <a:moveTo>
                      <a:pt x="20" y="21"/>
                    </a:moveTo>
                    <a:lnTo>
                      <a:pt x="0" y="41"/>
                    </a:lnTo>
                    <a:lnTo>
                      <a:pt x="0" y="0"/>
                    </a:lnTo>
                    <a:lnTo>
                      <a:pt x="20" y="2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8" name="Rectangle 1030">
                <a:extLst>
                  <a:ext uri="{FF2B5EF4-FFF2-40B4-BE49-F238E27FC236}">
                    <a16:creationId xmlns:a16="http://schemas.microsoft.com/office/drawing/2014/main" id="{BDAD494D-F5F7-4B08-BC0A-F2E79D378CCC}"/>
                  </a:ext>
                </a:extLst>
              </p:cNvPr>
              <p:cNvSpPr>
                <a:spLocks noChangeArrowheads="1"/>
              </p:cNvSpPr>
              <p:nvPr/>
            </p:nvSpPr>
            <p:spPr bwMode="auto">
              <a:xfrm>
                <a:off x="1645226" y="2313139"/>
                <a:ext cx="143179" cy="342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1031">
                <a:extLst>
                  <a:ext uri="{FF2B5EF4-FFF2-40B4-BE49-F238E27FC236}">
                    <a16:creationId xmlns:a16="http://schemas.microsoft.com/office/drawing/2014/main" id="{305B0F19-E7FF-4DE2-8562-7132434408EA}"/>
                  </a:ext>
                </a:extLst>
              </p:cNvPr>
              <p:cNvSpPr>
                <a:spLocks noChangeArrowheads="1"/>
              </p:cNvSpPr>
              <p:nvPr/>
            </p:nvSpPr>
            <p:spPr bwMode="auto">
              <a:xfrm>
                <a:off x="1645226" y="2347378"/>
                <a:ext cx="143179" cy="357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1032">
                <a:extLst>
                  <a:ext uri="{FF2B5EF4-FFF2-40B4-BE49-F238E27FC236}">
                    <a16:creationId xmlns:a16="http://schemas.microsoft.com/office/drawing/2014/main" id="{BDAEF9DF-A664-4A6B-B0B4-428DB5676E42}"/>
                  </a:ext>
                </a:extLst>
              </p:cNvPr>
              <p:cNvSpPr>
                <a:spLocks noChangeArrowheads="1"/>
              </p:cNvSpPr>
              <p:nvPr/>
            </p:nvSpPr>
            <p:spPr bwMode="auto">
              <a:xfrm>
                <a:off x="1902014" y="2336484"/>
                <a:ext cx="164967" cy="2334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1033">
                <a:extLst>
                  <a:ext uri="{FF2B5EF4-FFF2-40B4-BE49-F238E27FC236}">
                    <a16:creationId xmlns:a16="http://schemas.microsoft.com/office/drawing/2014/main" id="{51D58FBC-8B32-43FC-B59F-FBD6B33B9170}"/>
                  </a:ext>
                </a:extLst>
              </p:cNvPr>
              <p:cNvSpPr>
                <a:spLocks noChangeArrowheads="1"/>
              </p:cNvSpPr>
              <p:nvPr/>
            </p:nvSpPr>
            <p:spPr bwMode="auto">
              <a:xfrm>
                <a:off x="1810193" y="2289795"/>
                <a:ext cx="68477" cy="11516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1034">
                <a:extLst>
                  <a:ext uri="{FF2B5EF4-FFF2-40B4-BE49-F238E27FC236}">
                    <a16:creationId xmlns:a16="http://schemas.microsoft.com/office/drawing/2014/main" id="{9F9E7332-196B-4433-B182-FDB37037CCE9}"/>
                  </a:ext>
                </a:extLst>
              </p:cNvPr>
              <p:cNvSpPr>
                <a:spLocks/>
              </p:cNvSpPr>
              <p:nvPr/>
            </p:nvSpPr>
            <p:spPr bwMode="auto">
              <a:xfrm>
                <a:off x="2057643" y="2314696"/>
                <a:ext cx="31126" cy="65364"/>
              </a:xfrm>
              <a:custGeom>
                <a:avLst/>
                <a:gdLst>
                  <a:gd name="T0" fmla="*/ 20 w 20"/>
                  <a:gd name="T1" fmla="*/ 22 h 42"/>
                  <a:gd name="T2" fmla="*/ 0 w 20"/>
                  <a:gd name="T3" fmla="*/ 42 h 42"/>
                  <a:gd name="T4" fmla="*/ 0 w 20"/>
                  <a:gd name="T5" fmla="*/ 0 h 42"/>
                  <a:gd name="T6" fmla="*/ 20 w 20"/>
                  <a:gd name="T7" fmla="*/ 22 h 42"/>
                </a:gdLst>
                <a:ahLst/>
                <a:cxnLst>
                  <a:cxn ang="0">
                    <a:pos x="T0" y="T1"/>
                  </a:cxn>
                  <a:cxn ang="0">
                    <a:pos x="T2" y="T3"/>
                  </a:cxn>
                  <a:cxn ang="0">
                    <a:pos x="T4" y="T5"/>
                  </a:cxn>
                  <a:cxn ang="0">
                    <a:pos x="T6" y="T7"/>
                  </a:cxn>
                </a:cxnLst>
                <a:rect l="0" t="0" r="r" b="b"/>
                <a:pathLst>
                  <a:path w="20" h="42">
                    <a:moveTo>
                      <a:pt x="20" y="22"/>
                    </a:moveTo>
                    <a:lnTo>
                      <a:pt x="0" y="42"/>
                    </a:lnTo>
                    <a:lnTo>
                      <a:pt x="0" y="0"/>
                    </a:lnTo>
                    <a:lnTo>
                      <a:pt x="20" y="2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1035">
                <a:extLst>
                  <a:ext uri="{FF2B5EF4-FFF2-40B4-BE49-F238E27FC236}">
                    <a16:creationId xmlns:a16="http://schemas.microsoft.com/office/drawing/2014/main" id="{9F052ABE-A418-40D3-886A-6A8EF7BDAC7A}"/>
                  </a:ext>
                </a:extLst>
              </p:cNvPr>
              <p:cNvSpPr>
                <a:spLocks noChangeArrowheads="1"/>
              </p:cNvSpPr>
              <p:nvPr/>
            </p:nvSpPr>
            <p:spPr bwMode="auto">
              <a:xfrm>
                <a:off x="1645226" y="2476550"/>
                <a:ext cx="143179" cy="357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1036">
                <a:extLst>
                  <a:ext uri="{FF2B5EF4-FFF2-40B4-BE49-F238E27FC236}">
                    <a16:creationId xmlns:a16="http://schemas.microsoft.com/office/drawing/2014/main" id="{864319EB-555B-4CAE-B617-B49E6577C341}"/>
                  </a:ext>
                </a:extLst>
              </p:cNvPr>
              <p:cNvSpPr>
                <a:spLocks noChangeArrowheads="1"/>
              </p:cNvSpPr>
              <p:nvPr/>
            </p:nvSpPr>
            <p:spPr bwMode="auto">
              <a:xfrm>
                <a:off x="1645226" y="2510789"/>
                <a:ext cx="143179" cy="342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1037">
                <a:extLst>
                  <a:ext uri="{FF2B5EF4-FFF2-40B4-BE49-F238E27FC236}">
                    <a16:creationId xmlns:a16="http://schemas.microsoft.com/office/drawing/2014/main" id="{2B7C6C55-9010-41E3-AD28-753D1DF55814}"/>
                  </a:ext>
                </a:extLst>
              </p:cNvPr>
              <p:cNvSpPr>
                <a:spLocks noChangeArrowheads="1"/>
              </p:cNvSpPr>
              <p:nvPr/>
            </p:nvSpPr>
            <p:spPr bwMode="auto">
              <a:xfrm>
                <a:off x="1902014" y="2498338"/>
                <a:ext cx="164967" cy="2334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6" name="Rectangle 1038">
                <a:extLst>
                  <a:ext uri="{FF2B5EF4-FFF2-40B4-BE49-F238E27FC236}">
                    <a16:creationId xmlns:a16="http://schemas.microsoft.com/office/drawing/2014/main" id="{ADA9C9C2-6053-409C-9A6F-2DFCBB871BD1}"/>
                  </a:ext>
                </a:extLst>
              </p:cNvPr>
              <p:cNvSpPr>
                <a:spLocks noChangeArrowheads="1"/>
              </p:cNvSpPr>
              <p:nvPr/>
            </p:nvSpPr>
            <p:spPr bwMode="auto">
              <a:xfrm>
                <a:off x="1944034" y="2498338"/>
                <a:ext cx="82484" cy="2334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1039">
                <a:extLst>
                  <a:ext uri="{FF2B5EF4-FFF2-40B4-BE49-F238E27FC236}">
                    <a16:creationId xmlns:a16="http://schemas.microsoft.com/office/drawing/2014/main" id="{C40DD90C-A7EE-4D0B-8F4C-1B42664DCCF2}"/>
                  </a:ext>
                </a:extLst>
              </p:cNvPr>
              <p:cNvSpPr>
                <a:spLocks noChangeArrowheads="1"/>
              </p:cNvSpPr>
              <p:nvPr/>
            </p:nvSpPr>
            <p:spPr bwMode="auto">
              <a:xfrm>
                <a:off x="1810193" y="2453205"/>
                <a:ext cx="68477" cy="11516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1040">
                <a:extLst>
                  <a:ext uri="{FF2B5EF4-FFF2-40B4-BE49-F238E27FC236}">
                    <a16:creationId xmlns:a16="http://schemas.microsoft.com/office/drawing/2014/main" id="{093D9A71-8C0E-430A-94BE-F040829D4DBA}"/>
                  </a:ext>
                </a:extLst>
              </p:cNvPr>
              <p:cNvSpPr>
                <a:spLocks noChangeArrowheads="1"/>
              </p:cNvSpPr>
              <p:nvPr/>
            </p:nvSpPr>
            <p:spPr bwMode="auto">
              <a:xfrm>
                <a:off x="1842875" y="2453205"/>
                <a:ext cx="35795" cy="11516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9" name="Freeform 1041">
                <a:extLst>
                  <a:ext uri="{FF2B5EF4-FFF2-40B4-BE49-F238E27FC236}">
                    <a16:creationId xmlns:a16="http://schemas.microsoft.com/office/drawing/2014/main" id="{1E7B5B41-5081-429C-BEAC-183DF2A6643A}"/>
                  </a:ext>
                </a:extLst>
              </p:cNvPr>
              <p:cNvSpPr>
                <a:spLocks/>
              </p:cNvSpPr>
              <p:nvPr/>
            </p:nvSpPr>
            <p:spPr bwMode="auto">
              <a:xfrm>
                <a:off x="2057643" y="2478106"/>
                <a:ext cx="31126" cy="65364"/>
              </a:xfrm>
              <a:custGeom>
                <a:avLst/>
                <a:gdLst>
                  <a:gd name="T0" fmla="*/ 20 w 20"/>
                  <a:gd name="T1" fmla="*/ 21 h 42"/>
                  <a:gd name="T2" fmla="*/ 0 w 20"/>
                  <a:gd name="T3" fmla="*/ 42 h 42"/>
                  <a:gd name="T4" fmla="*/ 0 w 20"/>
                  <a:gd name="T5" fmla="*/ 0 h 42"/>
                  <a:gd name="T6" fmla="*/ 20 w 20"/>
                  <a:gd name="T7" fmla="*/ 21 h 42"/>
                </a:gdLst>
                <a:ahLst/>
                <a:cxnLst>
                  <a:cxn ang="0">
                    <a:pos x="T0" y="T1"/>
                  </a:cxn>
                  <a:cxn ang="0">
                    <a:pos x="T2" y="T3"/>
                  </a:cxn>
                  <a:cxn ang="0">
                    <a:pos x="T4" y="T5"/>
                  </a:cxn>
                  <a:cxn ang="0">
                    <a:pos x="T6" y="T7"/>
                  </a:cxn>
                </a:cxnLst>
                <a:rect l="0" t="0" r="r" b="b"/>
                <a:pathLst>
                  <a:path w="20" h="42">
                    <a:moveTo>
                      <a:pt x="20" y="21"/>
                    </a:moveTo>
                    <a:lnTo>
                      <a:pt x="0" y="42"/>
                    </a:lnTo>
                    <a:lnTo>
                      <a:pt x="0" y="0"/>
                    </a:lnTo>
                    <a:lnTo>
                      <a:pt x="20" y="2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57" name="Group 56">
            <a:extLst>
              <a:ext uri="{FF2B5EF4-FFF2-40B4-BE49-F238E27FC236}">
                <a16:creationId xmlns:a16="http://schemas.microsoft.com/office/drawing/2014/main" id="{C15C1202-7F7A-FAAF-F47F-3C45CECD9455}"/>
              </a:ext>
            </a:extLst>
          </p:cNvPr>
          <p:cNvGrpSpPr/>
          <p:nvPr/>
        </p:nvGrpSpPr>
        <p:grpSpPr>
          <a:xfrm>
            <a:off x="10253265" y="2447882"/>
            <a:ext cx="1414463" cy="1881055"/>
            <a:chOff x="10253265" y="2285262"/>
            <a:chExt cx="1414463" cy="1881055"/>
          </a:xfrm>
        </p:grpSpPr>
        <p:sp>
          <p:nvSpPr>
            <p:cNvPr id="18" name="TextBox 17">
              <a:extLst>
                <a:ext uri="{FF2B5EF4-FFF2-40B4-BE49-F238E27FC236}">
                  <a16:creationId xmlns:a16="http://schemas.microsoft.com/office/drawing/2014/main" id="{8FD7F656-45E3-44DB-9927-7CC7D913C7CB}"/>
                </a:ext>
              </a:extLst>
            </p:cNvPr>
            <p:cNvSpPr txBox="1"/>
            <p:nvPr/>
          </p:nvSpPr>
          <p:spPr>
            <a:xfrm>
              <a:off x="10253265" y="3181624"/>
              <a:ext cx="1414463" cy="984693"/>
            </a:xfrm>
            <a:prstGeom prst="rect">
              <a:avLst/>
            </a:prstGeom>
            <a:noFill/>
          </p:spPr>
          <p:txBody>
            <a:bodyPr wrap="square">
              <a:spAutoFit/>
            </a:bodyPr>
            <a:lstStyle/>
            <a:p>
              <a:pPr marL="0" marR="0" lvl="0" indent="0" algn="ctr" defTabSz="914400" rtl="0" eaLnBrk="1" fontAlgn="auto" latinLnBrk="0" hangingPunct="1">
                <a:lnSpc>
                  <a:spcPct val="107000"/>
                </a:lnSpc>
                <a:spcBef>
                  <a:spcPts val="0"/>
                </a:spcBef>
                <a:spcAft>
                  <a:spcPts val="120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Calibri" panose="020F0502020204030204" pitchFamily="34" charset="0"/>
                  <a:cs typeface="Segoe UI" panose="020B0502040204020203" pitchFamily="34" charset="0"/>
                </a:rPr>
                <a:t>HPC clusters (HW+SW) can be  simultaneously exploited for algorithmic gains </a:t>
              </a:r>
            </a:p>
          </p:txBody>
        </p:sp>
        <p:grpSp>
          <p:nvGrpSpPr>
            <p:cNvPr id="10" name="Group 9">
              <a:extLst>
                <a:ext uri="{FF2B5EF4-FFF2-40B4-BE49-F238E27FC236}">
                  <a16:creationId xmlns:a16="http://schemas.microsoft.com/office/drawing/2014/main" id="{0346CEF8-B162-4C7C-A79E-FDFD7B852FC1}"/>
                </a:ext>
                <a:ext uri="{C183D7F6-B498-43B3-948B-1728B52AA6E4}">
                  <adec:decorative xmlns:adec="http://schemas.microsoft.com/office/drawing/2017/decorative" val="1"/>
                </a:ext>
              </a:extLst>
            </p:cNvPr>
            <p:cNvGrpSpPr/>
            <p:nvPr/>
          </p:nvGrpSpPr>
          <p:grpSpPr>
            <a:xfrm>
              <a:off x="10569262" y="2285262"/>
              <a:ext cx="775467" cy="740723"/>
              <a:chOff x="10693476" y="3191033"/>
              <a:chExt cx="966494" cy="923191"/>
            </a:xfrm>
          </p:grpSpPr>
          <p:sp>
            <p:nvSpPr>
              <p:cNvPr id="103" name="Freeform: Shape 102">
                <a:extLst>
                  <a:ext uri="{FF2B5EF4-FFF2-40B4-BE49-F238E27FC236}">
                    <a16:creationId xmlns:a16="http://schemas.microsoft.com/office/drawing/2014/main" id="{991A9CEB-A4DD-4E0E-AD97-BF2D6E515D24}"/>
                  </a:ext>
                </a:extLst>
              </p:cNvPr>
              <p:cNvSpPr/>
              <p:nvPr/>
            </p:nvSpPr>
            <p:spPr>
              <a:xfrm>
                <a:off x="10693476" y="3414339"/>
                <a:ext cx="703954" cy="183320"/>
              </a:xfrm>
              <a:custGeom>
                <a:avLst/>
                <a:gdLst>
                  <a:gd name="connsiteX0" fmla="*/ 320841 w 338296"/>
                  <a:gd name="connsiteY0" fmla="*/ 89312 h 88096"/>
                  <a:gd name="connsiteX1" fmla="*/ 339250 w 338296"/>
                  <a:gd name="connsiteY1" fmla="*/ 89312 h 88096"/>
                  <a:gd name="connsiteX2" fmla="*/ 339250 w 338296"/>
                  <a:gd name="connsiteY2" fmla="*/ 954 h 88096"/>
                  <a:gd name="connsiteX3" fmla="*/ 954 w 338296"/>
                  <a:gd name="connsiteY3" fmla="*/ 954 h 88096"/>
                  <a:gd name="connsiteX4" fmla="*/ 954 w 338296"/>
                  <a:gd name="connsiteY4" fmla="*/ 89372 h 88096"/>
                  <a:gd name="connsiteX5" fmla="*/ 196794 w 338296"/>
                  <a:gd name="connsiteY5" fmla="*/ 89372 h 88096"/>
                  <a:gd name="connsiteX6" fmla="*/ 258788 w 338296"/>
                  <a:gd name="connsiteY6" fmla="*/ 64075 h 88096"/>
                  <a:gd name="connsiteX7" fmla="*/ 320841 w 338296"/>
                  <a:gd name="connsiteY7" fmla="*/ 89312 h 8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8296" h="88096">
                    <a:moveTo>
                      <a:pt x="320841" y="89312"/>
                    </a:moveTo>
                    <a:lnTo>
                      <a:pt x="339250" y="89312"/>
                    </a:lnTo>
                    <a:lnTo>
                      <a:pt x="339250" y="954"/>
                    </a:lnTo>
                    <a:lnTo>
                      <a:pt x="954" y="954"/>
                    </a:lnTo>
                    <a:lnTo>
                      <a:pt x="954" y="89372"/>
                    </a:lnTo>
                    <a:lnTo>
                      <a:pt x="196794" y="89372"/>
                    </a:lnTo>
                    <a:cubicBezTo>
                      <a:pt x="212767" y="73695"/>
                      <a:pt x="234679" y="64075"/>
                      <a:pt x="258788" y="64075"/>
                    </a:cubicBezTo>
                    <a:cubicBezTo>
                      <a:pt x="282897" y="64075"/>
                      <a:pt x="304868" y="73695"/>
                      <a:pt x="320841" y="89312"/>
                    </a:cubicBez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Freeform: Shape 103">
                <a:extLst>
                  <a:ext uri="{FF2B5EF4-FFF2-40B4-BE49-F238E27FC236}">
                    <a16:creationId xmlns:a16="http://schemas.microsoft.com/office/drawing/2014/main" id="{A039FADB-8CE7-40E8-A001-7A55E0656068}"/>
                  </a:ext>
                </a:extLst>
              </p:cNvPr>
              <p:cNvSpPr/>
              <p:nvPr/>
            </p:nvSpPr>
            <p:spPr>
              <a:xfrm>
                <a:off x="10693476" y="3636155"/>
                <a:ext cx="381309" cy="183320"/>
              </a:xfrm>
              <a:custGeom>
                <a:avLst/>
                <a:gdLst>
                  <a:gd name="connsiteX0" fmla="*/ 182483 w 183243"/>
                  <a:gd name="connsiteY0" fmla="*/ 954 h 88096"/>
                  <a:gd name="connsiteX1" fmla="*/ 954 w 183243"/>
                  <a:gd name="connsiteY1" fmla="*/ 954 h 88096"/>
                  <a:gd name="connsiteX2" fmla="*/ 954 w 183243"/>
                  <a:gd name="connsiteY2" fmla="*/ 89372 h 88096"/>
                  <a:gd name="connsiteX3" fmla="*/ 181414 w 183243"/>
                  <a:gd name="connsiteY3" fmla="*/ 89372 h 88096"/>
                  <a:gd name="connsiteX4" fmla="*/ 170131 w 183243"/>
                  <a:gd name="connsiteY4" fmla="*/ 46083 h 88096"/>
                  <a:gd name="connsiteX5" fmla="*/ 182483 w 183243"/>
                  <a:gd name="connsiteY5" fmla="*/ 954 h 8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243" h="88096">
                    <a:moveTo>
                      <a:pt x="182483" y="954"/>
                    </a:moveTo>
                    <a:lnTo>
                      <a:pt x="954" y="954"/>
                    </a:lnTo>
                    <a:lnTo>
                      <a:pt x="954" y="89372"/>
                    </a:lnTo>
                    <a:lnTo>
                      <a:pt x="181414" y="89372"/>
                    </a:lnTo>
                    <a:cubicBezTo>
                      <a:pt x="174229" y="76545"/>
                      <a:pt x="170131" y="61819"/>
                      <a:pt x="170131" y="46083"/>
                    </a:cubicBezTo>
                    <a:cubicBezTo>
                      <a:pt x="170131" y="29634"/>
                      <a:pt x="174644" y="14196"/>
                      <a:pt x="182483" y="954"/>
                    </a:cubicBez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 name="Freeform: Shape 104">
                <a:extLst>
                  <a:ext uri="{FF2B5EF4-FFF2-40B4-BE49-F238E27FC236}">
                    <a16:creationId xmlns:a16="http://schemas.microsoft.com/office/drawing/2014/main" id="{3BFA90E5-87F1-432D-82D3-802C6CCEE43D}"/>
                  </a:ext>
                </a:extLst>
              </p:cNvPr>
              <p:cNvSpPr/>
              <p:nvPr/>
            </p:nvSpPr>
            <p:spPr>
              <a:xfrm>
                <a:off x="10693476" y="3191033"/>
                <a:ext cx="703954" cy="183320"/>
              </a:xfrm>
              <a:custGeom>
                <a:avLst/>
                <a:gdLst>
                  <a:gd name="connsiteX0" fmla="*/ 339250 w 338296"/>
                  <a:gd name="connsiteY0" fmla="*/ 954 h 88096"/>
                  <a:gd name="connsiteX1" fmla="*/ 954 w 338296"/>
                  <a:gd name="connsiteY1" fmla="*/ 954 h 88096"/>
                  <a:gd name="connsiteX2" fmla="*/ 954 w 338296"/>
                  <a:gd name="connsiteY2" fmla="*/ 89372 h 88096"/>
                  <a:gd name="connsiteX3" fmla="*/ 339250 w 338296"/>
                  <a:gd name="connsiteY3" fmla="*/ 89372 h 88096"/>
                  <a:gd name="connsiteX4" fmla="*/ 339250 w 338296"/>
                  <a:gd name="connsiteY4" fmla="*/ 954 h 88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296" h="88096">
                    <a:moveTo>
                      <a:pt x="339250" y="954"/>
                    </a:moveTo>
                    <a:lnTo>
                      <a:pt x="954" y="954"/>
                    </a:lnTo>
                    <a:lnTo>
                      <a:pt x="954" y="89372"/>
                    </a:lnTo>
                    <a:lnTo>
                      <a:pt x="339250" y="89372"/>
                    </a:lnTo>
                    <a:lnTo>
                      <a:pt x="339250" y="954"/>
                    </a:ln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Freeform: Shape 105">
                <a:extLst>
                  <a:ext uri="{FF2B5EF4-FFF2-40B4-BE49-F238E27FC236}">
                    <a16:creationId xmlns:a16="http://schemas.microsoft.com/office/drawing/2014/main" id="{9F466143-FE55-4FEA-8D10-CF844179B0A6}"/>
                  </a:ext>
                </a:extLst>
              </p:cNvPr>
              <p:cNvSpPr/>
              <p:nvPr/>
            </p:nvSpPr>
            <p:spPr>
              <a:xfrm>
                <a:off x="10769956" y="3245800"/>
                <a:ext cx="73328" cy="73328"/>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Freeform: Shape 106">
                <a:extLst>
                  <a:ext uri="{FF2B5EF4-FFF2-40B4-BE49-F238E27FC236}">
                    <a16:creationId xmlns:a16="http://schemas.microsoft.com/office/drawing/2014/main" id="{D76D4933-9823-4D3E-88AA-40EA58A5853D}"/>
                  </a:ext>
                </a:extLst>
              </p:cNvPr>
              <p:cNvSpPr/>
              <p:nvPr/>
            </p:nvSpPr>
            <p:spPr>
              <a:xfrm>
                <a:off x="10769956" y="3690865"/>
                <a:ext cx="73328" cy="73328"/>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Freeform: Shape 107">
                <a:extLst>
                  <a:ext uri="{FF2B5EF4-FFF2-40B4-BE49-F238E27FC236}">
                    <a16:creationId xmlns:a16="http://schemas.microsoft.com/office/drawing/2014/main" id="{96267E56-AB33-401A-9442-4881DD4DB4D4}"/>
                  </a:ext>
                </a:extLst>
              </p:cNvPr>
              <p:cNvSpPr/>
              <p:nvPr/>
            </p:nvSpPr>
            <p:spPr>
              <a:xfrm>
                <a:off x="10769956" y="3469048"/>
                <a:ext cx="73328" cy="73328"/>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11" name="magnifying glass" descr="magnifying glass, search">
                <a:extLst>
                  <a:ext uri="{FF2B5EF4-FFF2-40B4-BE49-F238E27FC236}">
                    <a16:creationId xmlns:a16="http://schemas.microsoft.com/office/drawing/2014/main" id="{08749F17-F076-412B-8D3C-006088537175}"/>
                  </a:ext>
                </a:extLst>
              </p:cNvPr>
              <p:cNvGrpSpPr/>
              <p:nvPr/>
            </p:nvGrpSpPr>
            <p:grpSpPr>
              <a:xfrm>
                <a:off x="11006568" y="3460822"/>
                <a:ext cx="653402" cy="653402"/>
                <a:chOff x="4453473" y="3928006"/>
                <a:chExt cx="434702" cy="434702"/>
              </a:xfrm>
            </p:grpSpPr>
            <p:sp>
              <p:nvSpPr>
                <p:cNvPr id="112" name="Freeform: Shape 111">
                  <a:extLst>
                    <a:ext uri="{FF2B5EF4-FFF2-40B4-BE49-F238E27FC236}">
                      <a16:creationId xmlns:a16="http://schemas.microsoft.com/office/drawing/2014/main" id="{98B50102-E755-4C66-BE90-53C862CC619A}"/>
                    </a:ext>
                  </a:extLst>
                </p:cNvPr>
                <p:cNvSpPr/>
                <p:nvPr/>
              </p:nvSpPr>
              <p:spPr>
                <a:xfrm>
                  <a:off x="4468715" y="3942771"/>
                  <a:ext cx="292852" cy="292852"/>
                </a:xfrm>
                <a:custGeom>
                  <a:avLst/>
                  <a:gdLst>
                    <a:gd name="connsiteX0" fmla="*/ 147270 w 292852"/>
                    <a:gd name="connsiteY0" fmla="*/ 292913 h 292852"/>
                    <a:gd name="connsiteX1" fmla="*/ 292913 w 292852"/>
                    <a:gd name="connsiteY1" fmla="*/ 147270 h 292852"/>
                    <a:gd name="connsiteX2" fmla="*/ 147270 w 292852"/>
                    <a:gd name="connsiteY2" fmla="*/ 1627 h 292852"/>
                    <a:gd name="connsiteX3" fmla="*/ 1627 w 292852"/>
                    <a:gd name="connsiteY3" fmla="*/ 147270 h 292852"/>
                    <a:gd name="connsiteX4" fmla="*/ 147270 w 292852"/>
                    <a:gd name="connsiteY4" fmla="*/ 292913 h 2928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852" h="292852">
                      <a:moveTo>
                        <a:pt x="147270" y="292913"/>
                      </a:moveTo>
                      <a:cubicBezTo>
                        <a:pt x="227707" y="292913"/>
                        <a:pt x="292913" y="227707"/>
                        <a:pt x="292913" y="147270"/>
                      </a:cubicBezTo>
                      <a:cubicBezTo>
                        <a:pt x="292913" y="66834"/>
                        <a:pt x="227707" y="1627"/>
                        <a:pt x="147270" y="1627"/>
                      </a:cubicBezTo>
                      <a:cubicBezTo>
                        <a:pt x="66834" y="1627"/>
                        <a:pt x="1627" y="66834"/>
                        <a:pt x="1627" y="147270"/>
                      </a:cubicBezTo>
                      <a:cubicBezTo>
                        <a:pt x="1627" y="227707"/>
                        <a:pt x="66834" y="292913"/>
                        <a:pt x="147270" y="292913"/>
                      </a:cubicBezTo>
                      <a:close/>
                    </a:path>
                  </a:pathLst>
                </a:custGeom>
                <a:solidFill>
                  <a:srgbClr val="0070C0"/>
                </a:solidFill>
                <a:ln w="45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Freeform: Shape 112">
                  <a:extLst>
                    <a:ext uri="{FF2B5EF4-FFF2-40B4-BE49-F238E27FC236}">
                      <a16:creationId xmlns:a16="http://schemas.microsoft.com/office/drawing/2014/main" id="{60F49E53-A204-4D59-B93F-29F0F5B03B37}"/>
                    </a:ext>
                  </a:extLst>
                </p:cNvPr>
                <p:cNvSpPr/>
                <p:nvPr/>
              </p:nvSpPr>
              <p:spPr>
                <a:xfrm>
                  <a:off x="4453473" y="3928006"/>
                  <a:ext cx="434702" cy="434702"/>
                </a:xfrm>
                <a:custGeom>
                  <a:avLst/>
                  <a:gdLst>
                    <a:gd name="connsiteX0" fmla="*/ 433343 w 434702"/>
                    <a:gd name="connsiteY0" fmla="*/ 403478 h 434702"/>
                    <a:gd name="connsiteX1" fmla="*/ 289717 w 434702"/>
                    <a:gd name="connsiteY1" fmla="*/ 259878 h 434702"/>
                    <a:gd name="connsiteX2" fmla="*/ 322873 w 434702"/>
                    <a:gd name="connsiteY2" fmla="*/ 162184 h 434702"/>
                    <a:gd name="connsiteX3" fmla="*/ 162212 w 434702"/>
                    <a:gd name="connsiteY3" fmla="*/ 1627 h 434702"/>
                    <a:gd name="connsiteX4" fmla="*/ 1627 w 434702"/>
                    <a:gd name="connsiteY4" fmla="*/ 162184 h 434702"/>
                    <a:gd name="connsiteX5" fmla="*/ 162212 w 434702"/>
                    <a:gd name="connsiteY5" fmla="*/ 322741 h 434702"/>
                    <a:gd name="connsiteX6" fmla="*/ 257326 w 434702"/>
                    <a:gd name="connsiteY6" fmla="*/ 291577 h 434702"/>
                    <a:gd name="connsiteX7" fmla="*/ 401256 w 434702"/>
                    <a:gd name="connsiteY7" fmla="*/ 435482 h 434702"/>
                    <a:gd name="connsiteX8" fmla="*/ 433343 w 434702"/>
                    <a:gd name="connsiteY8" fmla="*/ 403478 h 434702"/>
                    <a:gd name="connsiteX9" fmla="*/ 47771 w 434702"/>
                    <a:gd name="connsiteY9" fmla="*/ 162184 h 434702"/>
                    <a:gd name="connsiteX10" fmla="*/ 162289 w 434702"/>
                    <a:gd name="connsiteY10" fmla="*/ 47687 h 434702"/>
                    <a:gd name="connsiteX11" fmla="*/ 276807 w 434702"/>
                    <a:gd name="connsiteY11" fmla="*/ 162184 h 434702"/>
                    <a:gd name="connsiteX12" fmla="*/ 162212 w 434702"/>
                    <a:gd name="connsiteY12" fmla="*/ 276682 h 434702"/>
                    <a:gd name="connsiteX13" fmla="*/ 47771 w 434702"/>
                    <a:gd name="connsiteY13" fmla="*/ 162184 h 434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702" h="434702">
                      <a:moveTo>
                        <a:pt x="433343" y="403478"/>
                      </a:moveTo>
                      <a:lnTo>
                        <a:pt x="289717" y="259878"/>
                      </a:lnTo>
                      <a:cubicBezTo>
                        <a:pt x="310497" y="232839"/>
                        <a:pt x="322873" y="198925"/>
                        <a:pt x="322873" y="162184"/>
                      </a:cubicBezTo>
                      <a:cubicBezTo>
                        <a:pt x="322873" y="73504"/>
                        <a:pt x="250908" y="1627"/>
                        <a:pt x="162212" y="1627"/>
                      </a:cubicBezTo>
                      <a:cubicBezTo>
                        <a:pt x="73516" y="1627"/>
                        <a:pt x="1627" y="73504"/>
                        <a:pt x="1627" y="162184"/>
                      </a:cubicBezTo>
                      <a:cubicBezTo>
                        <a:pt x="1627" y="250865"/>
                        <a:pt x="73516" y="322741"/>
                        <a:pt x="162212" y="322741"/>
                      </a:cubicBezTo>
                      <a:cubicBezTo>
                        <a:pt x="197813" y="322741"/>
                        <a:pt x="230663" y="311131"/>
                        <a:pt x="257326" y="291577"/>
                      </a:cubicBezTo>
                      <a:lnTo>
                        <a:pt x="401256" y="435482"/>
                      </a:lnTo>
                      <a:lnTo>
                        <a:pt x="433343" y="403478"/>
                      </a:lnTo>
                      <a:close/>
                      <a:moveTo>
                        <a:pt x="47771" y="162184"/>
                      </a:moveTo>
                      <a:cubicBezTo>
                        <a:pt x="47771" y="98939"/>
                        <a:pt x="99033" y="47687"/>
                        <a:pt x="162289" y="47687"/>
                      </a:cubicBezTo>
                      <a:cubicBezTo>
                        <a:pt x="225545" y="47687"/>
                        <a:pt x="276807" y="98939"/>
                        <a:pt x="276807" y="162184"/>
                      </a:cubicBezTo>
                      <a:cubicBezTo>
                        <a:pt x="276807" y="225429"/>
                        <a:pt x="225468" y="276682"/>
                        <a:pt x="162212" y="276682"/>
                      </a:cubicBezTo>
                      <a:cubicBezTo>
                        <a:pt x="99033" y="276682"/>
                        <a:pt x="47771" y="225429"/>
                        <a:pt x="47771" y="162184"/>
                      </a:cubicBezTo>
                      <a:close/>
                    </a:path>
                  </a:pathLst>
                </a:custGeom>
                <a:solidFill>
                  <a:srgbClr val="50E6FF"/>
                </a:solidFill>
                <a:ln w="45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Freeform: Shape 113">
                  <a:extLst>
                    <a:ext uri="{FF2B5EF4-FFF2-40B4-BE49-F238E27FC236}">
                      <a16:creationId xmlns:a16="http://schemas.microsoft.com/office/drawing/2014/main" id="{9E4D8031-18A7-4BA8-AC40-1804796B400C}"/>
                    </a:ext>
                  </a:extLst>
                </p:cNvPr>
                <p:cNvSpPr/>
                <p:nvPr/>
              </p:nvSpPr>
              <p:spPr>
                <a:xfrm>
                  <a:off x="4557448" y="4019826"/>
                  <a:ext cx="22879" cy="137274"/>
                </a:xfrm>
                <a:custGeom>
                  <a:avLst/>
                  <a:gdLst>
                    <a:gd name="connsiteX0" fmla="*/ 23782 w 22879"/>
                    <a:gd name="connsiteY0" fmla="*/ 1627 h 137274"/>
                    <a:gd name="connsiteX1" fmla="*/ 1627 w 22879"/>
                    <a:gd name="connsiteY1" fmla="*/ 1627 h 137274"/>
                    <a:gd name="connsiteX2" fmla="*/ 1627 w 22879"/>
                    <a:gd name="connsiteY2" fmla="*/ 138811 h 137274"/>
                    <a:gd name="connsiteX3" fmla="*/ 23782 w 22879"/>
                    <a:gd name="connsiteY3" fmla="*/ 138811 h 137274"/>
                    <a:gd name="connsiteX4" fmla="*/ 23782 w 22879"/>
                    <a:gd name="connsiteY4" fmla="*/ 1627 h 137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79" h="137274">
                      <a:moveTo>
                        <a:pt x="23782" y="1627"/>
                      </a:moveTo>
                      <a:lnTo>
                        <a:pt x="1627" y="1627"/>
                      </a:lnTo>
                      <a:lnTo>
                        <a:pt x="1627" y="138811"/>
                      </a:lnTo>
                      <a:lnTo>
                        <a:pt x="23782" y="138811"/>
                      </a:lnTo>
                      <a:lnTo>
                        <a:pt x="23782" y="1627"/>
                      </a:lnTo>
                      <a:close/>
                    </a:path>
                  </a:pathLst>
                </a:custGeom>
                <a:solidFill>
                  <a:schemeClr val="bg1"/>
                </a:solidFill>
                <a:ln w="45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Freeform: Shape 114">
                  <a:extLst>
                    <a:ext uri="{FF2B5EF4-FFF2-40B4-BE49-F238E27FC236}">
                      <a16:creationId xmlns:a16="http://schemas.microsoft.com/office/drawing/2014/main" id="{64A61E60-0842-41DE-8BEA-47A2BC8B6F30}"/>
                    </a:ext>
                  </a:extLst>
                </p:cNvPr>
                <p:cNvSpPr/>
                <p:nvPr/>
              </p:nvSpPr>
              <p:spPr>
                <a:xfrm>
                  <a:off x="4603282" y="4066407"/>
                  <a:ext cx="22879" cy="91516"/>
                </a:xfrm>
                <a:custGeom>
                  <a:avLst/>
                  <a:gdLst>
                    <a:gd name="connsiteX0" fmla="*/ 23782 w 22879"/>
                    <a:gd name="connsiteY0" fmla="*/ 1627 h 91516"/>
                    <a:gd name="connsiteX1" fmla="*/ 1627 w 22879"/>
                    <a:gd name="connsiteY1" fmla="*/ 1627 h 91516"/>
                    <a:gd name="connsiteX2" fmla="*/ 1627 w 22879"/>
                    <a:gd name="connsiteY2" fmla="*/ 92218 h 91516"/>
                    <a:gd name="connsiteX3" fmla="*/ 23782 w 22879"/>
                    <a:gd name="connsiteY3" fmla="*/ 92218 h 91516"/>
                    <a:gd name="connsiteX4" fmla="*/ 23782 w 22879"/>
                    <a:gd name="connsiteY4" fmla="*/ 1627 h 91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79" h="91516">
                      <a:moveTo>
                        <a:pt x="23782" y="1627"/>
                      </a:moveTo>
                      <a:lnTo>
                        <a:pt x="1627" y="1627"/>
                      </a:lnTo>
                      <a:lnTo>
                        <a:pt x="1627" y="92218"/>
                      </a:lnTo>
                      <a:lnTo>
                        <a:pt x="23782" y="92218"/>
                      </a:lnTo>
                      <a:lnTo>
                        <a:pt x="23782" y="1627"/>
                      </a:lnTo>
                      <a:close/>
                    </a:path>
                  </a:pathLst>
                </a:custGeom>
                <a:solidFill>
                  <a:srgbClr val="50E6FF"/>
                </a:solidFill>
                <a:ln w="45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 name="Freeform: Shape 115">
                  <a:extLst>
                    <a:ext uri="{FF2B5EF4-FFF2-40B4-BE49-F238E27FC236}">
                      <a16:creationId xmlns:a16="http://schemas.microsoft.com/office/drawing/2014/main" id="{440BC0D5-E939-4C00-83DE-AF5B68D65ACB}"/>
                    </a:ext>
                  </a:extLst>
                </p:cNvPr>
                <p:cNvSpPr/>
                <p:nvPr/>
              </p:nvSpPr>
              <p:spPr>
                <a:xfrm>
                  <a:off x="4649732" y="4112469"/>
                  <a:ext cx="22879" cy="45758"/>
                </a:xfrm>
                <a:custGeom>
                  <a:avLst/>
                  <a:gdLst>
                    <a:gd name="connsiteX0" fmla="*/ 23783 w 22879"/>
                    <a:gd name="connsiteY0" fmla="*/ 1627 h 45758"/>
                    <a:gd name="connsiteX1" fmla="*/ 1627 w 22879"/>
                    <a:gd name="connsiteY1" fmla="*/ 1627 h 45758"/>
                    <a:gd name="connsiteX2" fmla="*/ 1627 w 22879"/>
                    <a:gd name="connsiteY2" fmla="*/ 46159 h 45758"/>
                    <a:gd name="connsiteX3" fmla="*/ 23783 w 22879"/>
                    <a:gd name="connsiteY3" fmla="*/ 46159 h 45758"/>
                    <a:gd name="connsiteX4" fmla="*/ 23783 w 22879"/>
                    <a:gd name="connsiteY4" fmla="*/ 1627 h 45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79" h="45758">
                      <a:moveTo>
                        <a:pt x="23783" y="1627"/>
                      </a:moveTo>
                      <a:lnTo>
                        <a:pt x="1627" y="1627"/>
                      </a:lnTo>
                      <a:lnTo>
                        <a:pt x="1627" y="46159"/>
                      </a:lnTo>
                      <a:lnTo>
                        <a:pt x="23783" y="46159"/>
                      </a:lnTo>
                      <a:lnTo>
                        <a:pt x="23783" y="1627"/>
                      </a:lnTo>
                      <a:close/>
                    </a:path>
                  </a:pathLst>
                </a:custGeom>
                <a:solidFill>
                  <a:srgbClr val="50E6FF"/>
                </a:solidFill>
                <a:ln w="45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spTree>
    <p:extLst>
      <p:ext uri="{BB962C8B-B14F-4D97-AF65-F5344CB8AC3E}">
        <p14:creationId xmlns:p14="http://schemas.microsoft.com/office/powerpoint/2010/main" val="2676510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childTnLst>
                                </p:cTn>
                              </p:par>
                            </p:childTnLst>
                          </p:cTn>
                        </p:par>
                        <p:par>
                          <p:cTn id="8" fill="hold">
                            <p:stCondLst>
                              <p:cond delay="250"/>
                            </p:stCondLst>
                            <p:childTnLst>
                              <p:par>
                                <p:cTn id="9" presetID="2" presetClass="entr" presetSubtype="4" fill="hold" nodeType="afterEffect">
                                  <p:stCondLst>
                                    <p:cond delay="0"/>
                                  </p:stCondLst>
                                  <p:childTnLst>
                                    <p:set>
                                      <p:cBhvr>
                                        <p:cTn id="10" dur="1" fill="hold">
                                          <p:stCondLst>
                                            <p:cond delay="0"/>
                                          </p:stCondLst>
                                        </p:cTn>
                                        <p:tgtEl>
                                          <p:spTgt spid="52"/>
                                        </p:tgtEl>
                                        <p:attrNameLst>
                                          <p:attrName>style.visibility</p:attrName>
                                        </p:attrNameLst>
                                      </p:cBhvr>
                                      <p:to>
                                        <p:strVal val="visible"/>
                                      </p:to>
                                    </p:set>
                                    <p:anim calcmode="lin" valueType="num">
                                      <p:cBhvr additive="base">
                                        <p:cTn id="11" dur="350" fill="hold"/>
                                        <p:tgtEl>
                                          <p:spTgt spid="52"/>
                                        </p:tgtEl>
                                        <p:attrNameLst>
                                          <p:attrName>ppt_x</p:attrName>
                                        </p:attrNameLst>
                                      </p:cBhvr>
                                      <p:tavLst>
                                        <p:tav tm="0">
                                          <p:val>
                                            <p:strVal val="#ppt_x"/>
                                          </p:val>
                                        </p:tav>
                                        <p:tav tm="100000">
                                          <p:val>
                                            <p:strVal val="#ppt_x"/>
                                          </p:val>
                                        </p:tav>
                                      </p:tavLst>
                                    </p:anim>
                                    <p:anim calcmode="lin" valueType="num">
                                      <p:cBhvr additive="base">
                                        <p:cTn id="12" dur="350" fill="hold"/>
                                        <p:tgtEl>
                                          <p:spTgt spid="52"/>
                                        </p:tgtEl>
                                        <p:attrNameLst>
                                          <p:attrName>ppt_y</p:attrName>
                                        </p:attrNameLst>
                                      </p:cBhvr>
                                      <p:tavLst>
                                        <p:tav tm="0">
                                          <p:val>
                                            <p:strVal val="1+#ppt_h/2"/>
                                          </p:val>
                                        </p:tav>
                                        <p:tav tm="100000">
                                          <p:val>
                                            <p:strVal val="#ppt_y"/>
                                          </p:val>
                                        </p:tav>
                                      </p:tavLst>
                                    </p:anim>
                                  </p:childTnLst>
                                </p:cTn>
                              </p:par>
                            </p:childTnLst>
                          </p:cTn>
                        </p:par>
                        <p:par>
                          <p:cTn id="13" fill="hold">
                            <p:stCondLst>
                              <p:cond delay="600"/>
                            </p:stCondLst>
                            <p:childTnLst>
                              <p:par>
                                <p:cTn id="14" presetID="2" presetClass="entr" presetSubtype="4" fill="hold" nodeType="afterEffect">
                                  <p:stCondLst>
                                    <p:cond delay="0"/>
                                  </p:stCondLst>
                                  <p:childTnLst>
                                    <p:set>
                                      <p:cBhvr>
                                        <p:cTn id="15" dur="1" fill="hold">
                                          <p:stCondLst>
                                            <p:cond delay="0"/>
                                          </p:stCondLst>
                                        </p:cTn>
                                        <p:tgtEl>
                                          <p:spTgt spid="53"/>
                                        </p:tgtEl>
                                        <p:attrNameLst>
                                          <p:attrName>style.visibility</p:attrName>
                                        </p:attrNameLst>
                                      </p:cBhvr>
                                      <p:to>
                                        <p:strVal val="visible"/>
                                      </p:to>
                                    </p:set>
                                    <p:anim calcmode="lin" valueType="num">
                                      <p:cBhvr additive="base">
                                        <p:cTn id="16" dur="350" fill="hold"/>
                                        <p:tgtEl>
                                          <p:spTgt spid="53"/>
                                        </p:tgtEl>
                                        <p:attrNameLst>
                                          <p:attrName>ppt_x</p:attrName>
                                        </p:attrNameLst>
                                      </p:cBhvr>
                                      <p:tavLst>
                                        <p:tav tm="0">
                                          <p:val>
                                            <p:strVal val="#ppt_x"/>
                                          </p:val>
                                        </p:tav>
                                        <p:tav tm="100000">
                                          <p:val>
                                            <p:strVal val="#ppt_x"/>
                                          </p:val>
                                        </p:tav>
                                      </p:tavLst>
                                    </p:anim>
                                    <p:anim calcmode="lin" valueType="num">
                                      <p:cBhvr additive="base">
                                        <p:cTn id="17" dur="350" fill="hold"/>
                                        <p:tgtEl>
                                          <p:spTgt spid="53"/>
                                        </p:tgtEl>
                                        <p:attrNameLst>
                                          <p:attrName>ppt_y</p:attrName>
                                        </p:attrNameLst>
                                      </p:cBhvr>
                                      <p:tavLst>
                                        <p:tav tm="0">
                                          <p:val>
                                            <p:strVal val="1+#ppt_h/2"/>
                                          </p:val>
                                        </p:tav>
                                        <p:tav tm="100000">
                                          <p:val>
                                            <p:strVal val="#ppt_y"/>
                                          </p:val>
                                        </p:tav>
                                      </p:tavLst>
                                    </p:anim>
                                  </p:childTnLst>
                                </p:cTn>
                              </p:par>
                            </p:childTnLst>
                          </p:cTn>
                        </p:par>
                        <p:par>
                          <p:cTn id="18" fill="hold">
                            <p:stCondLst>
                              <p:cond delay="950"/>
                            </p:stCondLst>
                            <p:childTnLst>
                              <p:par>
                                <p:cTn id="19" presetID="2" presetClass="entr" presetSubtype="4" fill="hold" nodeType="afterEffect">
                                  <p:stCondLst>
                                    <p:cond delay="0"/>
                                  </p:stCondLst>
                                  <p:childTnLst>
                                    <p:set>
                                      <p:cBhvr>
                                        <p:cTn id="20" dur="1" fill="hold">
                                          <p:stCondLst>
                                            <p:cond delay="0"/>
                                          </p:stCondLst>
                                        </p:cTn>
                                        <p:tgtEl>
                                          <p:spTgt spid="59"/>
                                        </p:tgtEl>
                                        <p:attrNameLst>
                                          <p:attrName>style.visibility</p:attrName>
                                        </p:attrNameLst>
                                      </p:cBhvr>
                                      <p:to>
                                        <p:strVal val="visible"/>
                                      </p:to>
                                    </p:set>
                                    <p:anim calcmode="lin" valueType="num">
                                      <p:cBhvr additive="base">
                                        <p:cTn id="21" dur="350" fill="hold"/>
                                        <p:tgtEl>
                                          <p:spTgt spid="59"/>
                                        </p:tgtEl>
                                        <p:attrNameLst>
                                          <p:attrName>ppt_x</p:attrName>
                                        </p:attrNameLst>
                                      </p:cBhvr>
                                      <p:tavLst>
                                        <p:tav tm="0">
                                          <p:val>
                                            <p:strVal val="#ppt_x"/>
                                          </p:val>
                                        </p:tav>
                                        <p:tav tm="100000">
                                          <p:val>
                                            <p:strVal val="#ppt_x"/>
                                          </p:val>
                                        </p:tav>
                                      </p:tavLst>
                                    </p:anim>
                                    <p:anim calcmode="lin" valueType="num">
                                      <p:cBhvr additive="base">
                                        <p:cTn id="22" dur="350" fill="hold"/>
                                        <p:tgtEl>
                                          <p:spTgt spid="59"/>
                                        </p:tgtEl>
                                        <p:attrNameLst>
                                          <p:attrName>ppt_y</p:attrName>
                                        </p:attrNameLst>
                                      </p:cBhvr>
                                      <p:tavLst>
                                        <p:tav tm="0">
                                          <p:val>
                                            <p:strVal val="1+#ppt_h/2"/>
                                          </p:val>
                                        </p:tav>
                                        <p:tav tm="100000">
                                          <p:val>
                                            <p:strVal val="#ppt_y"/>
                                          </p:val>
                                        </p:tav>
                                      </p:tavLst>
                                    </p:anim>
                                  </p:childTnLst>
                                </p:cTn>
                              </p:par>
                            </p:childTnLst>
                          </p:cTn>
                        </p:par>
                        <p:par>
                          <p:cTn id="23" fill="hold">
                            <p:stCondLst>
                              <p:cond delay="1300"/>
                            </p:stCondLst>
                            <p:childTnLst>
                              <p:par>
                                <p:cTn id="24" presetID="2" presetClass="entr" presetSubtype="4" fill="hold" nodeType="afterEffect">
                                  <p:stCondLst>
                                    <p:cond delay="0"/>
                                  </p:stCondLst>
                                  <p:childTnLst>
                                    <p:set>
                                      <p:cBhvr>
                                        <p:cTn id="25" dur="1" fill="hold">
                                          <p:stCondLst>
                                            <p:cond delay="0"/>
                                          </p:stCondLst>
                                        </p:cTn>
                                        <p:tgtEl>
                                          <p:spTgt spid="55"/>
                                        </p:tgtEl>
                                        <p:attrNameLst>
                                          <p:attrName>style.visibility</p:attrName>
                                        </p:attrNameLst>
                                      </p:cBhvr>
                                      <p:to>
                                        <p:strVal val="visible"/>
                                      </p:to>
                                    </p:set>
                                    <p:anim calcmode="lin" valueType="num">
                                      <p:cBhvr additive="base">
                                        <p:cTn id="26" dur="350" fill="hold"/>
                                        <p:tgtEl>
                                          <p:spTgt spid="55"/>
                                        </p:tgtEl>
                                        <p:attrNameLst>
                                          <p:attrName>ppt_x</p:attrName>
                                        </p:attrNameLst>
                                      </p:cBhvr>
                                      <p:tavLst>
                                        <p:tav tm="0">
                                          <p:val>
                                            <p:strVal val="#ppt_x"/>
                                          </p:val>
                                        </p:tav>
                                        <p:tav tm="100000">
                                          <p:val>
                                            <p:strVal val="#ppt_x"/>
                                          </p:val>
                                        </p:tav>
                                      </p:tavLst>
                                    </p:anim>
                                    <p:anim calcmode="lin" valueType="num">
                                      <p:cBhvr additive="base">
                                        <p:cTn id="27" dur="350" fill="hold"/>
                                        <p:tgtEl>
                                          <p:spTgt spid="55"/>
                                        </p:tgtEl>
                                        <p:attrNameLst>
                                          <p:attrName>ppt_y</p:attrName>
                                        </p:attrNameLst>
                                      </p:cBhvr>
                                      <p:tavLst>
                                        <p:tav tm="0">
                                          <p:val>
                                            <p:strVal val="1+#ppt_h/2"/>
                                          </p:val>
                                        </p:tav>
                                        <p:tav tm="100000">
                                          <p:val>
                                            <p:strVal val="#ppt_y"/>
                                          </p:val>
                                        </p:tav>
                                      </p:tavLst>
                                    </p:anim>
                                  </p:childTnLst>
                                </p:cTn>
                              </p:par>
                            </p:childTnLst>
                          </p:cTn>
                        </p:par>
                        <p:par>
                          <p:cTn id="28" fill="hold">
                            <p:stCondLst>
                              <p:cond delay="1650"/>
                            </p:stCondLst>
                            <p:childTnLst>
                              <p:par>
                                <p:cTn id="29" presetID="2" presetClass="entr" presetSubtype="4" fill="hold" nodeType="afterEffect">
                                  <p:stCondLst>
                                    <p:cond delay="0"/>
                                  </p:stCondLst>
                                  <p:childTnLst>
                                    <p:set>
                                      <p:cBhvr>
                                        <p:cTn id="30" dur="1" fill="hold">
                                          <p:stCondLst>
                                            <p:cond delay="0"/>
                                          </p:stCondLst>
                                        </p:cTn>
                                        <p:tgtEl>
                                          <p:spTgt spid="56"/>
                                        </p:tgtEl>
                                        <p:attrNameLst>
                                          <p:attrName>style.visibility</p:attrName>
                                        </p:attrNameLst>
                                      </p:cBhvr>
                                      <p:to>
                                        <p:strVal val="visible"/>
                                      </p:to>
                                    </p:set>
                                    <p:anim calcmode="lin" valueType="num">
                                      <p:cBhvr additive="base">
                                        <p:cTn id="31" dur="350" fill="hold"/>
                                        <p:tgtEl>
                                          <p:spTgt spid="56"/>
                                        </p:tgtEl>
                                        <p:attrNameLst>
                                          <p:attrName>ppt_x</p:attrName>
                                        </p:attrNameLst>
                                      </p:cBhvr>
                                      <p:tavLst>
                                        <p:tav tm="0">
                                          <p:val>
                                            <p:strVal val="#ppt_x"/>
                                          </p:val>
                                        </p:tav>
                                        <p:tav tm="100000">
                                          <p:val>
                                            <p:strVal val="#ppt_x"/>
                                          </p:val>
                                        </p:tav>
                                      </p:tavLst>
                                    </p:anim>
                                    <p:anim calcmode="lin" valueType="num">
                                      <p:cBhvr additive="base">
                                        <p:cTn id="32" dur="350" fill="hold"/>
                                        <p:tgtEl>
                                          <p:spTgt spid="56"/>
                                        </p:tgtEl>
                                        <p:attrNameLst>
                                          <p:attrName>ppt_y</p:attrName>
                                        </p:attrNameLst>
                                      </p:cBhvr>
                                      <p:tavLst>
                                        <p:tav tm="0">
                                          <p:val>
                                            <p:strVal val="1+#ppt_h/2"/>
                                          </p:val>
                                        </p:tav>
                                        <p:tav tm="100000">
                                          <p:val>
                                            <p:strVal val="#ppt_y"/>
                                          </p:val>
                                        </p:tav>
                                      </p:tavLst>
                                    </p:anim>
                                  </p:childTnLst>
                                </p:cTn>
                              </p:par>
                            </p:childTnLst>
                          </p:cTn>
                        </p:par>
                        <p:par>
                          <p:cTn id="33" fill="hold">
                            <p:stCondLst>
                              <p:cond delay="2000"/>
                            </p:stCondLst>
                            <p:childTnLst>
                              <p:par>
                                <p:cTn id="34" presetID="2" presetClass="entr" presetSubtype="4" fill="hold" nodeType="afterEffect">
                                  <p:stCondLst>
                                    <p:cond delay="0"/>
                                  </p:stCondLst>
                                  <p:childTnLst>
                                    <p:set>
                                      <p:cBhvr>
                                        <p:cTn id="35" dur="1" fill="hold">
                                          <p:stCondLst>
                                            <p:cond delay="0"/>
                                          </p:stCondLst>
                                        </p:cTn>
                                        <p:tgtEl>
                                          <p:spTgt spid="57"/>
                                        </p:tgtEl>
                                        <p:attrNameLst>
                                          <p:attrName>style.visibility</p:attrName>
                                        </p:attrNameLst>
                                      </p:cBhvr>
                                      <p:to>
                                        <p:strVal val="visible"/>
                                      </p:to>
                                    </p:set>
                                    <p:anim calcmode="lin" valueType="num">
                                      <p:cBhvr additive="base">
                                        <p:cTn id="36" dur="350" fill="hold"/>
                                        <p:tgtEl>
                                          <p:spTgt spid="57"/>
                                        </p:tgtEl>
                                        <p:attrNameLst>
                                          <p:attrName>ppt_x</p:attrName>
                                        </p:attrNameLst>
                                      </p:cBhvr>
                                      <p:tavLst>
                                        <p:tav tm="0">
                                          <p:val>
                                            <p:strVal val="#ppt_x"/>
                                          </p:val>
                                        </p:tav>
                                        <p:tav tm="100000">
                                          <p:val>
                                            <p:strVal val="#ppt_x"/>
                                          </p:val>
                                        </p:tav>
                                      </p:tavLst>
                                    </p:anim>
                                    <p:anim calcmode="lin" valueType="num">
                                      <p:cBhvr additive="base">
                                        <p:cTn id="37" dur="350" fill="hold"/>
                                        <p:tgtEl>
                                          <p:spTgt spid="5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006154-4293-4869-B84F-DCE0CD70BB54}"/>
              </a:ext>
            </a:extLst>
          </p:cNvPr>
          <p:cNvSpPr>
            <a:spLocks noGrp="1"/>
          </p:cNvSpPr>
          <p:nvPr>
            <p:ph type="title"/>
          </p:nvPr>
        </p:nvSpPr>
        <p:spPr/>
        <p:txBody>
          <a:bodyPr/>
          <a:lstStyle/>
          <a:p>
            <a:r>
              <a:rPr lang="en-US"/>
              <a:t>NVIDIA RAPIDS™ on Microsoft Azure</a:t>
            </a:r>
          </a:p>
        </p:txBody>
      </p:sp>
      <p:sp>
        <p:nvSpPr>
          <p:cNvPr id="35" name="Rectangle 34">
            <a:extLst>
              <a:ext uri="{FF2B5EF4-FFF2-40B4-BE49-F238E27FC236}">
                <a16:creationId xmlns:a16="http://schemas.microsoft.com/office/drawing/2014/main" id="{2C723F43-A9D2-0FDD-5134-29EDB3EB0D80}"/>
              </a:ext>
            </a:extLst>
          </p:cNvPr>
          <p:cNvSpPr/>
          <p:nvPr/>
        </p:nvSpPr>
        <p:spPr bwMode="auto">
          <a:xfrm>
            <a:off x="1893902" y="6196096"/>
            <a:ext cx="2600159" cy="326325"/>
          </a:xfrm>
          <a:prstGeom prst="rect">
            <a:avLst/>
          </a:prstGeom>
          <a:solidFill>
            <a:schemeClr val="bg1">
              <a:alpha val="63000"/>
            </a:schemeClr>
          </a:solidFill>
          <a:ln w="25400">
            <a:solidFill>
              <a:srgbClr val="D80E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Microsoft technology</a:t>
            </a:r>
          </a:p>
        </p:txBody>
      </p:sp>
      <p:sp>
        <p:nvSpPr>
          <p:cNvPr id="36" name="Rectangle 35">
            <a:extLst>
              <a:ext uri="{FF2B5EF4-FFF2-40B4-BE49-F238E27FC236}">
                <a16:creationId xmlns:a16="http://schemas.microsoft.com/office/drawing/2014/main" id="{9747D158-7E0B-770E-EE0C-805EE6BD1BCE}"/>
              </a:ext>
            </a:extLst>
          </p:cNvPr>
          <p:cNvSpPr/>
          <p:nvPr/>
        </p:nvSpPr>
        <p:spPr bwMode="auto">
          <a:xfrm>
            <a:off x="4819800" y="6196096"/>
            <a:ext cx="2600159" cy="326325"/>
          </a:xfrm>
          <a:prstGeom prst="rect">
            <a:avLst/>
          </a:prstGeom>
          <a:solidFill>
            <a:schemeClr val="bg1">
              <a:alpha val="63000"/>
            </a:schemeClr>
          </a:solidFill>
          <a:ln w="25400">
            <a:solidFill>
              <a:srgbClr val="EF87E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NVIDIA technology</a:t>
            </a:r>
            <a:endParaRPr kumimoji="0" lang="en-US" sz="1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37" name="Rectangle 36">
            <a:extLst>
              <a:ext uri="{FF2B5EF4-FFF2-40B4-BE49-F238E27FC236}">
                <a16:creationId xmlns:a16="http://schemas.microsoft.com/office/drawing/2014/main" id="{E7FB2CFA-E042-8519-2877-FD8B06F7A9A7}"/>
              </a:ext>
            </a:extLst>
          </p:cNvPr>
          <p:cNvSpPr/>
          <p:nvPr/>
        </p:nvSpPr>
        <p:spPr bwMode="auto">
          <a:xfrm>
            <a:off x="7697939" y="6196096"/>
            <a:ext cx="2600159" cy="326325"/>
          </a:xfrm>
          <a:prstGeom prst="rect">
            <a:avLst/>
          </a:prstGeom>
          <a:solidFill>
            <a:schemeClr val="bg1">
              <a:alpha val="63000"/>
            </a:schemeClr>
          </a:solidFill>
          <a:ln w="254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Open-source technology</a:t>
            </a:r>
          </a:p>
        </p:txBody>
      </p:sp>
      <p:grpSp>
        <p:nvGrpSpPr>
          <p:cNvPr id="8" name="Group 7">
            <a:extLst>
              <a:ext uri="{FF2B5EF4-FFF2-40B4-BE49-F238E27FC236}">
                <a16:creationId xmlns:a16="http://schemas.microsoft.com/office/drawing/2014/main" id="{F730E212-069F-B8AF-1BFF-8DBC8CDA4AC1}"/>
              </a:ext>
            </a:extLst>
          </p:cNvPr>
          <p:cNvGrpSpPr/>
          <p:nvPr/>
        </p:nvGrpSpPr>
        <p:grpSpPr>
          <a:xfrm>
            <a:off x="2568727" y="1336609"/>
            <a:ext cx="7051431" cy="659423"/>
            <a:chOff x="2568727" y="1336609"/>
            <a:chExt cx="7051431" cy="659423"/>
          </a:xfrm>
        </p:grpSpPr>
        <p:sp>
          <p:nvSpPr>
            <p:cNvPr id="38" name="Rectangle 37">
              <a:extLst>
                <a:ext uri="{FF2B5EF4-FFF2-40B4-BE49-F238E27FC236}">
                  <a16:creationId xmlns:a16="http://schemas.microsoft.com/office/drawing/2014/main" id="{4BD252DC-F8E9-19DA-153E-3899DA31BF9E}"/>
                </a:ext>
              </a:extLst>
            </p:cNvPr>
            <p:cNvSpPr/>
            <p:nvPr/>
          </p:nvSpPr>
          <p:spPr bwMode="auto">
            <a:xfrm>
              <a:off x="2568727" y="1336609"/>
              <a:ext cx="7051431" cy="659423"/>
            </a:xfrm>
            <a:prstGeom prst="rect">
              <a:avLst/>
            </a:prstGeom>
            <a:solidFill>
              <a:schemeClr val="bg1">
                <a:alpha val="80000"/>
              </a:schemeClr>
            </a:solidFill>
            <a:ln w="12700">
              <a:solidFill>
                <a:srgbClr val="D80E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           Azure Machine Learning</a:t>
              </a:r>
              <a:endParaRPr kumimoji="0" lang="en-CA"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pic>
          <p:nvPicPr>
            <p:cNvPr id="46" name="Graphic 45">
              <a:extLst>
                <a:ext uri="{FF2B5EF4-FFF2-40B4-BE49-F238E27FC236}">
                  <a16:creationId xmlns:a16="http://schemas.microsoft.com/office/drawing/2014/main" id="{5E0A62DA-E6A6-F097-4F08-60AA21002352}"/>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7769" y="1493098"/>
              <a:ext cx="333825" cy="333825"/>
            </a:xfrm>
            <a:prstGeom prst="rect">
              <a:avLst/>
            </a:prstGeom>
          </p:spPr>
        </p:pic>
      </p:grpSp>
      <p:grpSp>
        <p:nvGrpSpPr>
          <p:cNvPr id="28" name="Group 27">
            <a:extLst>
              <a:ext uri="{FF2B5EF4-FFF2-40B4-BE49-F238E27FC236}">
                <a16:creationId xmlns:a16="http://schemas.microsoft.com/office/drawing/2014/main" id="{D6996920-DDB2-9515-2006-82FA23A7F616}"/>
              </a:ext>
            </a:extLst>
          </p:cNvPr>
          <p:cNvGrpSpPr/>
          <p:nvPr/>
        </p:nvGrpSpPr>
        <p:grpSpPr>
          <a:xfrm>
            <a:off x="2568727" y="5150138"/>
            <a:ext cx="7051431" cy="698094"/>
            <a:chOff x="2568727" y="5150138"/>
            <a:chExt cx="7051431" cy="698094"/>
          </a:xfrm>
        </p:grpSpPr>
        <p:sp>
          <p:nvSpPr>
            <p:cNvPr id="47" name="Rectangle 46">
              <a:extLst>
                <a:ext uri="{FF2B5EF4-FFF2-40B4-BE49-F238E27FC236}">
                  <a16:creationId xmlns:a16="http://schemas.microsoft.com/office/drawing/2014/main" id="{9A82321F-A252-09A4-42E8-2040C2E14CE2}"/>
                </a:ext>
              </a:extLst>
            </p:cNvPr>
            <p:cNvSpPr/>
            <p:nvPr/>
          </p:nvSpPr>
          <p:spPr bwMode="auto">
            <a:xfrm>
              <a:off x="2568727" y="5150138"/>
              <a:ext cx="7051431" cy="698094"/>
            </a:xfrm>
            <a:prstGeom prst="rect">
              <a:avLst/>
            </a:prstGeom>
            <a:solidFill>
              <a:sysClr val="windowText" lastClr="000000">
                <a:alpha val="80000"/>
              </a:sysClr>
            </a:solidFill>
            <a:ln w="12700" cap="flat" cmpd="sng" algn="ctr">
              <a:solidFill>
                <a:srgbClr val="D80EB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           GPU-powered N-Series VMs</a:t>
              </a:r>
              <a:endParaRPr kumimoji="0" lang="en-CA"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pic>
          <p:nvPicPr>
            <p:cNvPr id="48" name="Graphic 47">
              <a:extLst>
                <a:ext uri="{FF2B5EF4-FFF2-40B4-BE49-F238E27FC236}">
                  <a16:creationId xmlns:a16="http://schemas.microsoft.com/office/drawing/2014/main" id="{058F19E5-C619-414F-1117-638778BB39AA}"/>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61479" y="5290138"/>
              <a:ext cx="416431" cy="416431"/>
            </a:xfrm>
            <a:prstGeom prst="rect">
              <a:avLst/>
            </a:prstGeom>
          </p:spPr>
        </p:pic>
      </p:grpSp>
      <p:grpSp>
        <p:nvGrpSpPr>
          <p:cNvPr id="19" name="Group 18">
            <a:extLst>
              <a:ext uri="{FF2B5EF4-FFF2-40B4-BE49-F238E27FC236}">
                <a16:creationId xmlns:a16="http://schemas.microsoft.com/office/drawing/2014/main" id="{83E9F26D-9781-A049-6C47-E42A9E48E4F1}"/>
              </a:ext>
            </a:extLst>
          </p:cNvPr>
          <p:cNvGrpSpPr/>
          <p:nvPr/>
        </p:nvGrpSpPr>
        <p:grpSpPr>
          <a:xfrm>
            <a:off x="7960581" y="2723061"/>
            <a:ext cx="1659577" cy="499622"/>
            <a:chOff x="7960581" y="2723061"/>
            <a:chExt cx="1659577" cy="499622"/>
          </a:xfrm>
        </p:grpSpPr>
        <p:sp>
          <p:nvSpPr>
            <p:cNvPr id="51" name="Rectangle 50">
              <a:extLst>
                <a:ext uri="{FF2B5EF4-FFF2-40B4-BE49-F238E27FC236}">
                  <a16:creationId xmlns:a16="http://schemas.microsoft.com/office/drawing/2014/main" id="{B0179584-724C-D439-E475-F5359DFF1C8B}"/>
                </a:ext>
                <a:ext uri="{C183D7F6-B498-43B3-948B-1728B52AA6E4}">
                  <adec:decorative xmlns:adec="http://schemas.microsoft.com/office/drawing/2017/decorative" val="1"/>
                </a:ext>
              </a:extLst>
            </p:cNvPr>
            <p:cNvSpPr/>
            <p:nvPr/>
          </p:nvSpPr>
          <p:spPr bwMode="auto">
            <a:xfrm>
              <a:off x="7960581" y="2723061"/>
              <a:ext cx="1659577" cy="499622"/>
            </a:xfrm>
            <a:prstGeom prst="rect">
              <a:avLst/>
            </a:prstGeom>
            <a:solidFill>
              <a:sysClr val="windowText" lastClr="000000">
                <a:alpha val="80000"/>
              </a:sysClr>
            </a:solidFill>
            <a:ln w="12700" cap="flat" cmpd="sng" algn="ctr">
              <a:solidFill>
                <a:srgbClr val="EF87ED"/>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TextBox 53">
              <a:extLst>
                <a:ext uri="{FF2B5EF4-FFF2-40B4-BE49-F238E27FC236}">
                  <a16:creationId xmlns:a16="http://schemas.microsoft.com/office/drawing/2014/main" id="{C4EBE87F-FE0D-1E30-1204-0924E47D9505}"/>
                </a:ext>
              </a:extLst>
            </p:cNvPr>
            <p:cNvSpPr txBox="1"/>
            <p:nvPr/>
          </p:nvSpPr>
          <p:spPr>
            <a:xfrm>
              <a:off x="8114108" y="2807571"/>
              <a:ext cx="1352521" cy="330602"/>
            </a:xfrm>
            <a:prstGeom prst="rect">
              <a:avLst/>
            </a:prstGeom>
            <a:noFill/>
            <a:ln w="12700">
              <a:solidFill>
                <a:sysClr val="windowText" lastClr="000000"/>
              </a:solidFill>
            </a:ln>
          </p:spPr>
          <p:txBody>
            <a:bodyPr wrap="square"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Deep Learning Frameworks</a:t>
              </a:r>
              <a:endParaRPr kumimoji="0" lang="en-US" sz="1200" b="0" i="0" u="none" strike="noStrike" kern="0" cap="none" spc="0" normalizeH="0" baseline="0" noProof="0">
                <a:ln>
                  <a:noFill/>
                </a:ln>
                <a:solidFill>
                  <a:prstClr val="black"/>
                </a:solidFill>
                <a:effectLst/>
                <a:uLnTx/>
                <a:uFillTx/>
                <a:latin typeface="Segoe UI Semibold"/>
              </a:endParaRPr>
            </a:p>
          </p:txBody>
        </p:sp>
      </p:grpSp>
      <p:grpSp>
        <p:nvGrpSpPr>
          <p:cNvPr id="17" name="Group 16">
            <a:extLst>
              <a:ext uri="{FF2B5EF4-FFF2-40B4-BE49-F238E27FC236}">
                <a16:creationId xmlns:a16="http://schemas.microsoft.com/office/drawing/2014/main" id="{5038E646-F493-E8D1-1A65-81F6C5A4B13D}"/>
              </a:ext>
            </a:extLst>
          </p:cNvPr>
          <p:cNvGrpSpPr/>
          <p:nvPr/>
        </p:nvGrpSpPr>
        <p:grpSpPr>
          <a:xfrm>
            <a:off x="3463993" y="2077262"/>
            <a:ext cx="6156165" cy="557020"/>
            <a:chOff x="3463993" y="2077262"/>
            <a:chExt cx="6156165" cy="557020"/>
          </a:xfrm>
        </p:grpSpPr>
        <p:sp>
          <p:nvSpPr>
            <p:cNvPr id="49" name="Rectangle 48">
              <a:extLst>
                <a:ext uri="{FF2B5EF4-FFF2-40B4-BE49-F238E27FC236}">
                  <a16:creationId xmlns:a16="http://schemas.microsoft.com/office/drawing/2014/main" id="{80C87A8C-C41F-D004-C4B0-37E6AC20A52A}"/>
                </a:ext>
                <a:ext uri="{C183D7F6-B498-43B3-948B-1728B52AA6E4}">
                  <adec:decorative xmlns:adec="http://schemas.microsoft.com/office/drawing/2017/decorative" val="1"/>
                </a:ext>
              </a:extLst>
            </p:cNvPr>
            <p:cNvSpPr/>
            <p:nvPr/>
          </p:nvSpPr>
          <p:spPr bwMode="auto">
            <a:xfrm>
              <a:off x="3463993" y="2077262"/>
              <a:ext cx="6156165" cy="557020"/>
            </a:xfrm>
            <a:prstGeom prst="rect">
              <a:avLst/>
            </a:prstGeom>
            <a:solidFill>
              <a:sysClr val="windowText" lastClr="000000">
                <a:alpha val="80000"/>
              </a:sysClr>
            </a:solidFill>
            <a:ln w="12700" cap="flat" cmpd="sng" algn="ctr">
              <a:solidFill>
                <a:srgbClr val="EF87ED"/>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TextBox 52">
              <a:extLst>
                <a:ext uri="{FF2B5EF4-FFF2-40B4-BE49-F238E27FC236}">
                  <a16:creationId xmlns:a16="http://schemas.microsoft.com/office/drawing/2014/main" id="{D24150A6-A15B-45E6-219C-1332A84A085A}"/>
                </a:ext>
              </a:extLst>
            </p:cNvPr>
            <p:cNvSpPr txBox="1"/>
            <p:nvPr/>
          </p:nvSpPr>
          <p:spPr>
            <a:xfrm>
              <a:off x="5837533" y="2184055"/>
              <a:ext cx="1352521" cy="338554"/>
            </a:xfrm>
            <a:prstGeom prst="rect">
              <a:avLst/>
            </a:prstGeom>
            <a:noFill/>
            <a:ln w="12700">
              <a:solidFill>
                <a:sysClr val="windowText" lastClr="000000"/>
              </a:solid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Python</a:t>
              </a:r>
              <a:endParaRPr kumimoji="0" lang="en-US" sz="1600" b="0" i="0" u="none" strike="noStrike" kern="0" cap="none" spc="0" normalizeH="0" baseline="0" noProof="0">
                <a:ln>
                  <a:noFill/>
                </a:ln>
                <a:solidFill>
                  <a:prstClr val="black"/>
                </a:solidFill>
                <a:effectLst/>
                <a:uLnTx/>
                <a:uFillTx/>
                <a:latin typeface="Segoe UI Semibold"/>
              </a:endParaRPr>
            </a:p>
          </p:txBody>
        </p:sp>
        <p:pic>
          <p:nvPicPr>
            <p:cNvPr id="56" name="Picture 2">
              <a:extLst>
                <a:ext uri="{FF2B5EF4-FFF2-40B4-BE49-F238E27FC236}">
                  <a16:creationId xmlns:a16="http://schemas.microsoft.com/office/drawing/2014/main" id="{A214EE2A-3A7C-CA63-8D50-F554C3FBF831}"/>
                </a:ext>
                <a:ext uri="{C183D7F6-B498-43B3-948B-1728B52AA6E4}">
                  <adec:decorative xmlns:adec="http://schemas.microsoft.com/office/drawing/2017/decorative" val="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96406" y="2199304"/>
              <a:ext cx="323305" cy="323305"/>
            </a:xfrm>
            <a:prstGeom prst="rect">
              <a:avLst/>
            </a:prstGeom>
            <a:noFill/>
            <a:ln w="12700">
              <a:solidFill>
                <a:sysClr val="windowText" lastClr="000000"/>
              </a:solidFill>
            </a:ln>
            <a:extLst>
              <a:ext uri="{909E8E84-426E-40DD-AFC4-6F175D3DCCD1}">
                <a14:hiddenFill xmlns:a14="http://schemas.microsoft.com/office/drawing/2010/main">
                  <a:solidFill>
                    <a:srgbClr val="FFFFFF"/>
                  </a:solidFill>
                </a14:hiddenFill>
              </a:ext>
            </a:extLst>
          </p:spPr>
        </p:pic>
      </p:grpSp>
      <p:grpSp>
        <p:nvGrpSpPr>
          <p:cNvPr id="26" name="Group 25">
            <a:extLst>
              <a:ext uri="{FF2B5EF4-FFF2-40B4-BE49-F238E27FC236}">
                <a16:creationId xmlns:a16="http://schemas.microsoft.com/office/drawing/2014/main" id="{298FA58B-F03B-47AC-C024-74C3645D1A36}"/>
              </a:ext>
            </a:extLst>
          </p:cNvPr>
          <p:cNvGrpSpPr/>
          <p:nvPr/>
        </p:nvGrpSpPr>
        <p:grpSpPr>
          <a:xfrm>
            <a:off x="3463993" y="4504838"/>
            <a:ext cx="6156165" cy="557020"/>
            <a:chOff x="3463993" y="4504838"/>
            <a:chExt cx="6156165" cy="557020"/>
          </a:xfrm>
        </p:grpSpPr>
        <p:grpSp>
          <p:nvGrpSpPr>
            <p:cNvPr id="25" name="Group 24">
              <a:extLst>
                <a:ext uri="{FF2B5EF4-FFF2-40B4-BE49-F238E27FC236}">
                  <a16:creationId xmlns:a16="http://schemas.microsoft.com/office/drawing/2014/main" id="{63709EC3-F618-D5E0-6AD5-A7B62DBAD819}"/>
                </a:ext>
              </a:extLst>
            </p:cNvPr>
            <p:cNvGrpSpPr/>
            <p:nvPr/>
          </p:nvGrpSpPr>
          <p:grpSpPr>
            <a:xfrm>
              <a:off x="3463993" y="4504838"/>
              <a:ext cx="6156165" cy="557020"/>
              <a:chOff x="3463993" y="4504838"/>
              <a:chExt cx="6156165" cy="557020"/>
            </a:xfrm>
          </p:grpSpPr>
          <p:sp>
            <p:nvSpPr>
              <p:cNvPr id="50" name="Rectangle 49">
                <a:extLst>
                  <a:ext uri="{FF2B5EF4-FFF2-40B4-BE49-F238E27FC236}">
                    <a16:creationId xmlns:a16="http://schemas.microsoft.com/office/drawing/2014/main" id="{AB49A610-E441-8BA0-594E-8225FF76CB35}"/>
                  </a:ext>
                  <a:ext uri="{C183D7F6-B498-43B3-948B-1728B52AA6E4}">
                    <adec:decorative xmlns:adec="http://schemas.microsoft.com/office/drawing/2017/decorative" val="1"/>
                  </a:ext>
                </a:extLst>
              </p:cNvPr>
              <p:cNvSpPr/>
              <p:nvPr/>
            </p:nvSpPr>
            <p:spPr bwMode="auto">
              <a:xfrm>
                <a:off x="3463993" y="4504838"/>
                <a:ext cx="6156165" cy="557020"/>
              </a:xfrm>
              <a:prstGeom prst="rect">
                <a:avLst/>
              </a:prstGeom>
              <a:solidFill>
                <a:sysClr val="windowText" lastClr="000000">
                  <a:alpha val="80000"/>
                </a:sysClr>
              </a:solidFill>
              <a:ln w="12700" cap="flat" cmpd="sng" algn="ctr">
                <a:solidFill>
                  <a:srgbClr val="EF87ED"/>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TextBox 54">
                <a:extLst>
                  <a:ext uri="{FF2B5EF4-FFF2-40B4-BE49-F238E27FC236}">
                    <a16:creationId xmlns:a16="http://schemas.microsoft.com/office/drawing/2014/main" id="{47CAAF5C-06E4-3B8D-4CCA-92F141FBA2FC}"/>
                  </a:ext>
                </a:extLst>
              </p:cNvPr>
              <p:cNvSpPr txBox="1"/>
              <p:nvPr/>
            </p:nvSpPr>
            <p:spPr>
              <a:xfrm>
                <a:off x="5454895" y="4620999"/>
                <a:ext cx="2356262" cy="307777"/>
              </a:xfrm>
              <a:prstGeom prst="rect">
                <a:avLst/>
              </a:prstGeom>
              <a:noFill/>
              <a:ln w="12700">
                <a:solidFill>
                  <a:sysClr val="windowText" lastClr="000000"/>
                </a:solid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cs typeface="Segoe UI" pitchFamily="34" charset="0"/>
                  </a:rPr>
                  <a:t>Apache Arrow</a:t>
                </a:r>
                <a:endParaRPr kumimoji="0" lang="en-US" sz="1400" b="0" i="0" u="none" strike="noStrike" kern="0" cap="none" spc="0" normalizeH="0" baseline="0" noProof="0">
                  <a:ln>
                    <a:noFill/>
                  </a:ln>
                  <a:solidFill>
                    <a:prstClr val="black"/>
                  </a:solidFill>
                  <a:effectLst/>
                  <a:uLnTx/>
                  <a:uFillTx/>
                  <a:latin typeface="Segoe UI Semibold"/>
                </a:endParaRPr>
              </a:p>
            </p:txBody>
          </p:sp>
        </p:grpSp>
        <p:pic>
          <p:nvPicPr>
            <p:cNvPr id="57" name="Picture 4" descr="Project News and Blog | Apache Arrow">
              <a:extLst>
                <a:ext uri="{FF2B5EF4-FFF2-40B4-BE49-F238E27FC236}">
                  <a16:creationId xmlns:a16="http://schemas.microsoft.com/office/drawing/2014/main" id="{3AF4EBE4-B947-1117-E9B6-D436BEDAF21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59095"/>
            <a:stretch/>
          </p:blipFill>
          <p:spPr bwMode="auto">
            <a:xfrm>
              <a:off x="5563765" y="4609530"/>
              <a:ext cx="422379" cy="377311"/>
            </a:xfrm>
            <a:prstGeom prst="rect">
              <a:avLst/>
            </a:prstGeom>
            <a:noFill/>
            <a:ln w="12700">
              <a:solidFill>
                <a:sysClr val="windowText" lastClr="000000"/>
              </a:solidFill>
            </a:ln>
            <a:extLst>
              <a:ext uri="{909E8E84-426E-40DD-AFC4-6F175D3DCCD1}">
                <a14:hiddenFill xmlns:a14="http://schemas.microsoft.com/office/drawing/2010/main">
                  <a:solidFill>
                    <a:srgbClr val="FFFFFF"/>
                  </a:solidFill>
                </a14:hiddenFill>
              </a:ext>
            </a:extLst>
          </p:spPr>
        </p:pic>
      </p:grpSp>
      <p:grpSp>
        <p:nvGrpSpPr>
          <p:cNvPr id="32" name="Group 31">
            <a:extLst>
              <a:ext uri="{FF2B5EF4-FFF2-40B4-BE49-F238E27FC236}">
                <a16:creationId xmlns:a16="http://schemas.microsoft.com/office/drawing/2014/main" id="{7319CEF5-37AA-DDCB-41C1-9B9918FEF07D}"/>
              </a:ext>
            </a:extLst>
          </p:cNvPr>
          <p:cNvGrpSpPr/>
          <p:nvPr/>
        </p:nvGrpSpPr>
        <p:grpSpPr>
          <a:xfrm>
            <a:off x="2568727" y="2085996"/>
            <a:ext cx="754139" cy="2975862"/>
            <a:chOff x="2568727" y="2085996"/>
            <a:chExt cx="754139" cy="2975862"/>
          </a:xfrm>
        </p:grpSpPr>
        <p:sp>
          <p:nvSpPr>
            <p:cNvPr id="52" name="Rectangle 51">
              <a:extLst>
                <a:ext uri="{FF2B5EF4-FFF2-40B4-BE49-F238E27FC236}">
                  <a16:creationId xmlns:a16="http://schemas.microsoft.com/office/drawing/2014/main" id="{D5140CF9-E5D3-1430-ADCD-21E13050A8FD}"/>
                </a:ext>
                <a:ext uri="{C183D7F6-B498-43B3-948B-1728B52AA6E4}">
                  <adec:decorative xmlns:adec="http://schemas.microsoft.com/office/drawing/2017/decorative" val="1"/>
                </a:ext>
              </a:extLst>
            </p:cNvPr>
            <p:cNvSpPr/>
            <p:nvPr/>
          </p:nvSpPr>
          <p:spPr bwMode="auto">
            <a:xfrm>
              <a:off x="2568727" y="2085996"/>
              <a:ext cx="754139" cy="2975862"/>
            </a:xfrm>
            <a:prstGeom prst="rect">
              <a:avLst/>
            </a:prstGeom>
            <a:solidFill>
              <a:sysClr val="windowText" lastClr="000000">
                <a:alpha val="80000"/>
              </a:sysClr>
            </a:solidFill>
            <a:ln w="12700" cap="flat" cmpd="sng" algn="ctr">
              <a:solidFill>
                <a:srgbClr val="EF87ED"/>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8" name="Picture 6" descr="Dask: Scalable analytics in Python">
              <a:extLst>
                <a:ext uri="{FF2B5EF4-FFF2-40B4-BE49-F238E27FC236}">
                  <a16:creationId xmlns:a16="http://schemas.microsoft.com/office/drawing/2014/main" id="{A5B0B3D3-25B4-9214-CEB5-46CB4B8568C3}"/>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rightnessContrast contrast="51000"/>
                      </a14:imgEffect>
                    </a14:imgLayer>
                  </a14:imgProps>
                </a:ext>
                <a:ext uri="{28A0092B-C50C-407E-A947-70E740481C1C}">
                  <a14:useLocalDpi xmlns:a14="http://schemas.microsoft.com/office/drawing/2010/main" val="0"/>
                </a:ext>
              </a:extLst>
            </a:blip>
            <a:srcRect/>
            <a:stretch>
              <a:fillRect/>
            </a:stretch>
          </p:blipFill>
          <p:spPr bwMode="auto">
            <a:xfrm rot="16200000">
              <a:off x="2257222" y="3361642"/>
              <a:ext cx="1382859" cy="564127"/>
            </a:xfrm>
            <a:prstGeom prst="rect">
              <a:avLst/>
            </a:prstGeom>
            <a:noFill/>
            <a:ln w="12700">
              <a:solidFill>
                <a:sysClr val="windowText" lastClr="000000"/>
              </a:solidFill>
            </a:ln>
            <a:extLst>
              <a:ext uri="{909E8E84-426E-40DD-AFC4-6F175D3DCCD1}">
                <a14:hiddenFill xmlns:a14="http://schemas.microsoft.com/office/drawing/2010/main">
                  <a:solidFill>
                    <a:srgbClr val="FFFFFF"/>
                  </a:solidFill>
                </a14:hiddenFill>
              </a:ext>
            </a:extLst>
          </p:spPr>
        </p:pic>
      </p:grpSp>
      <p:grpSp>
        <p:nvGrpSpPr>
          <p:cNvPr id="24" name="Group 23">
            <a:extLst>
              <a:ext uri="{FF2B5EF4-FFF2-40B4-BE49-F238E27FC236}">
                <a16:creationId xmlns:a16="http://schemas.microsoft.com/office/drawing/2014/main" id="{54AD8C9A-D22E-CDA5-E987-6BDD9864D351}"/>
              </a:ext>
            </a:extLst>
          </p:cNvPr>
          <p:cNvGrpSpPr/>
          <p:nvPr/>
        </p:nvGrpSpPr>
        <p:grpSpPr>
          <a:xfrm>
            <a:off x="3463993" y="3874499"/>
            <a:ext cx="6156165" cy="557020"/>
            <a:chOff x="3463993" y="3874499"/>
            <a:chExt cx="6156165" cy="557020"/>
          </a:xfrm>
        </p:grpSpPr>
        <p:sp>
          <p:nvSpPr>
            <p:cNvPr id="61" name="Rectangle 60">
              <a:extLst>
                <a:ext uri="{FF2B5EF4-FFF2-40B4-BE49-F238E27FC236}">
                  <a16:creationId xmlns:a16="http://schemas.microsoft.com/office/drawing/2014/main" id="{A869262E-FC01-410D-E97F-CDAC9CD94D4C}"/>
                </a:ext>
                <a:ext uri="{C183D7F6-B498-43B3-948B-1728B52AA6E4}">
                  <adec:decorative xmlns:adec="http://schemas.microsoft.com/office/drawing/2017/decorative" val="1"/>
                </a:ext>
              </a:extLst>
            </p:cNvPr>
            <p:cNvSpPr/>
            <p:nvPr/>
          </p:nvSpPr>
          <p:spPr bwMode="auto">
            <a:xfrm>
              <a:off x="3463993" y="3874499"/>
              <a:ext cx="6156165" cy="557020"/>
            </a:xfrm>
            <a:prstGeom prst="rect">
              <a:avLst/>
            </a:prstGeom>
            <a:solidFill>
              <a:sysClr val="windowText" lastClr="000000">
                <a:alpha val="80000"/>
              </a:sysClr>
            </a:solidFill>
            <a:ln w="12700" cap="flat" cmpd="sng" algn="ctr">
              <a:solidFill>
                <a:schemeClr val="tx1">
                  <a:lumMod val="6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TextBox 62">
              <a:extLst>
                <a:ext uri="{FF2B5EF4-FFF2-40B4-BE49-F238E27FC236}">
                  <a16:creationId xmlns:a16="http://schemas.microsoft.com/office/drawing/2014/main" id="{5E6C7377-E5D7-EEAD-7940-437418334870}"/>
                </a:ext>
              </a:extLst>
            </p:cNvPr>
            <p:cNvSpPr txBox="1"/>
            <p:nvPr/>
          </p:nvSpPr>
          <p:spPr>
            <a:xfrm>
              <a:off x="3561563" y="3965803"/>
              <a:ext cx="5963849" cy="369332"/>
            </a:xfrm>
            <a:prstGeom prst="rect">
              <a:avLst/>
            </a:prstGeom>
            <a:noFill/>
            <a:ln w="12700">
              <a:solidFill>
                <a:sysClr val="windowText" lastClr="000000"/>
              </a:solid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Semibold"/>
                  <a:cs typeface="Segoe UI" pitchFamily="34" charset="0"/>
                </a:rPr>
                <a:t>CUDA</a:t>
              </a:r>
              <a:endParaRPr kumimoji="0" lang="en-US" sz="1800" b="0" i="0" u="none" strike="noStrike" kern="0" cap="none" spc="0" normalizeH="0" baseline="0" noProof="0">
                <a:ln>
                  <a:noFill/>
                </a:ln>
                <a:solidFill>
                  <a:prstClr val="white"/>
                </a:solidFill>
                <a:effectLst/>
                <a:uLnTx/>
                <a:uFillTx/>
                <a:latin typeface="Segoe UI Semibold"/>
              </a:endParaRPr>
            </a:p>
          </p:txBody>
        </p:sp>
      </p:grpSp>
      <p:grpSp>
        <p:nvGrpSpPr>
          <p:cNvPr id="20" name="Group 19">
            <a:extLst>
              <a:ext uri="{FF2B5EF4-FFF2-40B4-BE49-F238E27FC236}">
                <a16:creationId xmlns:a16="http://schemas.microsoft.com/office/drawing/2014/main" id="{FC83288D-5E4D-93FF-922C-9E83AE02224C}"/>
              </a:ext>
            </a:extLst>
          </p:cNvPr>
          <p:cNvGrpSpPr/>
          <p:nvPr/>
        </p:nvGrpSpPr>
        <p:grpSpPr>
          <a:xfrm>
            <a:off x="7960581" y="3286598"/>
            <a:ext cx="1659577" cy="499622"/>
            <a:chOff x="7960581" y="3286598"/>
            <a:chExt cx="1659577" cy="499622"/>
          </a:xfrm>
        </p:grpSpPr>
        <p:sp>
          <p:nvSpPr>
            <p:cNvPr id="62" name="Rectangle 61">
              <a:extLst>
                <a:ext uri="{FF2B5EF4-FFF2-40B4-BE49-F238E27FC236}">
                  <a16:creationId xmlns:a16="http://schemas.microsoft.com/office/drawing/2014/main" id="{61BB1A0B-DD35-96A6-F198-D12987F610ED}"/>
                </a:ext>
                <a:ext uri="{C183D7F6-B498-43B3-948B-1728B52AA6E4}">
                  <adec:decorative xmlns:adec="http://schemas.microsoft.com/office/drawing/2017/decorative" val="1"/>
                </a:ext>
              </a:extLst>
            </p:cNvPr>
            <p:cNvSpPr/>
            <p:nvPr/>
          </p:nvSpPr>
          <p:spPr bwMode="auto">
            <a:xfrm>
              <a:off x="7960581" y="3286598"/>
              <a:ext cx="1659577" cy="499622"/>
            </a:xfrm>
            <a:prstGeom prst="rect">
              <a:avLst/>
            </a:prstGeom>
            <a:solidFill>
              <a:sysClr val="windowText" lastClr="000000">
                <a:alpha val="80000"/>
              </a:sysClr>
            </a:solidFill>
            <a:ln w="12700" cap="flat" cmpd="sng" algn="ctr">
              <a:solidFill>
                <a:schemeClr val="tx1">
                  <a:lumMod val="6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TextBox 63">
              <a:extLst>
                <a:ext uri="{FF2B5EF4-FFF2-40B4-BE49-F238E27FC236}">
                  <a16:creationId xmlns:a16="http://schemas.microsoft.com/office/drawing/2014/main" id="{2B752B4F-FCD2-23D4-7366-EC60D87B7047}"/>
                </a:ext>
              </a:extLst>
            </p:cNvPr>
            <p:cNvSpPr txBox="1"/>
            <p:nvPr/>
          </p:nvSpPr>
          <p:spPr>
            <a:xfrm>
              <a:off x="8114779" y="3367132"/>
              <a:ext cx="1352521" cy="338554"/>
            </a:xfrm>
            <a:prstGeom prst="rect">
              <a:avLst/>
            </a:prstGeom>
            <a:noFill/>
            <a:ln w="12700">
              <a:solidFill>
                <a:sysClr val="windowText" lastClr="000000"/>
              </a:solid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Semibold"/>
                  <a:cs typeface="Segoe UI" pitchFamily="34" charset="0"/>
                </a:rPr>
                <a:t>CUDNN</a:t>
              </a:r>
              <a:endParaRPr kumimoji="0" lang="en-US" sz="1600" b="0" i="0" u="none" strike="noStrike" kern="0" cap="none" spc="0" normalizeH="0" baseline="0" noProof="0">
                <a:ln>
                  <a:noFill/>
                </a:ln>
                <a:solidFill>
                  <a:prstClr val="white"/>
                </a:solidFill>
                <a:effectLst/>
                <a:uLnTx/>
                <a:uFillTx/>
                <a:latin typeface="Segoe UI Semibold"/>
              </a:endParaRPr>
            </a:p>
          </p:txBody>
        </p:sp>
      </p:grpSp>
      <p:grpSp>
        <p:nvGrpSpPr>
          <p:cNvPr id="18" name="Group 17">
            <a:extLst>
              <a:ext uri="{FF2B5EF4-FFF2-40B4-BE49-F238E27FC236}">
                <a16:creationId xmlns:a16="http://schemas.microsoft.com/office/drawing/2014/main" id="{22CE6E40-489D-7A93-91D6-EEB8F4CC1959}"/>
              </a:ext>
            </a:extLst>
          </p:cNvPr>
          <p:cNvGrpSpPr/>
          <p:nvPr/>
        </p:nvGrpSpPr>
        <p:grpSpPr>
          <a:xfrm>
            <a:off x="3463993" y="2724276"/>
            <a:ext cx="4440022" cy="1061943"/>
            <a:chOff x="3463993" y="2724276"/>
            <a:chExt cx="4440022" cy="1061943"/>
          </a:xfrm>
        </p:grpSpPr>
        <p:sp>
          <p:nvSpPr>
            <p:cNvPr id="59" name="Rectangle 58">
              <a:extLst>
                <a:ext uri="{FF2B5EF4-FFF2-40B4-BE49-F238E27FC236}">
                  <a16:creationId xmlns:a16="http://schemas.microsoft.com/office/drawing/2014/main" id="{01810F88-F09F-6A31-BA56-51C7D3D2193C}"/>
                </a:ext>
                <a:ext uri="{C183D7F6-B498-43B3-948B-1728B52AA6E4}">
                  <adec:decorative xmlns:adec="http://schemas.microsoft.com/office/drawing/2017/decorative" val="1"/>
                </a:ext>
              </a:extLst>
            </p:cNvPr>
            <p:cNvSpPr/>
            <p:nvPr/>
          </p:nvSpPr>
          <p:spPr bwMode="auto">
            <a:xfrm>
              <a:off x="3463993" y="2724276"/>
              <a:ext cx="4440022" cy="1061943"/>
            </a:xfrm>
            <a:prstGeom prst="rect">
              <a:avLst/>
            </a:prstGeom>
            <a:solidFill>
              <a:sysClr val="windowText" lastClr="000000">
                <a:alpha val="80000"/>
              </a:sysClr>
            </a:solidFill>
            <a:ln w="12700" cap="flat" cmpd="sng" algn="ctr">
              <a:solidFill>
                <a:schemeClr val="tx1">
                  <a:lumMod val="6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Rectangle 59">
              <a:extLst>
                <a:ext uri="{FF2B5EF4-FFF2-40B4-BE49-F238E27FC236}">
                  <a16:creationId xmlns:a16="http://schemas.microsoft.com/office/drawing/2014/main" id="{F3E7B420-ED33-FE28-6556-F8B0EBCB3E5E}"/>
                </a:ext>
              </a:extLst>
            </p:cNvPr>
            <p:cNvSpPr/>
            <p:nvPr/>
          </p:nvSpPr>
          <p:spPr bwMode="auto">
            <a:xfrm>
              <a:off x="4919768" y="3250990"/>
              <a:ext cx="1295489" cy="429250"/>
            </a:xfrm>
            <a:prstGeom prst="rect">
              <a:avLst/>
            </a:prstGeom>
            <a:noFill/>
            <a:ln w="12700" cap="flat" cmpd="sng" algn="ctr">
              <a:solidFill>
                <a:sysClr val="window" lastClr="FFFFFF">
                  <a:lumMod val="65000"/>
                </a:sysClr>
              </a:solid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CUML</a:t>
              </a:r>
              <a:endParaRPr kumimoji="0" lang="en-US" sz="1800" b="0" i="0" u="none" strike="noStrike" kern="0" cap="none" spc="0" normalizeH="0" baseline="0" noProof="0">
                <a:ln>
                  <a:noFill/>
                </a:ln>
                <a:solidFill>
                  <a:prstClr val="black"/>
                </a:solidFill>
                <a:effectLst/>
                <a:uLnTx/>
                <a:uFillTx/>
                <a:latin typeface="Segoe UI Semibold"/>
                <a:ea typeface="+mn-ea"/>
                <a:cs typeface="+mn-cs"/>
              </a:endParaRPr>
            </a:p>
          </p:txBody>
        </p:sp>
        <p:pic>
          <p:nvPicPr>
            <p:cNvPr id="65" name="Picture 8" descr="RAPIDS Branding and Guides | RAPIDS">
              <a:extLst>
                <a:ext uri="{FF2B5EF4-FFF2-40B4-BE49-F238E27FC236}">
                  <a16:creationId xmlns:a16="http://schemas.microsoft.com/office/drawing/2014/main" id="{39441B92-A1CA-CCE0-8DFD-3E4F2D586DF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rightnessContrast bright="100000" contrast="3000"/>
                      </a14:imgEffect>
                    </a14:imgLayer>
                  </a14:imgProps>
                </a:ext>
                <a:ext uri="{28A0092B-C50C-407E-A947-70E740481C1C}">
                  <a14:useLocalDpi xmlns:a14="http://schemas.microsoft.com/office/drawing/2010/main" val="0"/>
                </a:ext>
              </a:extLst>
            </a:blip>
            <a:srcRect/>
            <a:stretch>
              <a:fillRect/>
            </a:stretch>
          </p:blipFill>
          <p:spPr bwMode="auto">
            <a:xfrm>
              <a:off x="5159293" y="2801242"/>
              <a:ext cx="1074226" cy="395002"/>
            </a:xfrm>
            <a:prstGeom prst="rect">
              <a:avLst/>
            </a:prstGeom>
            <a:noFill/>
            <a:ln w="12700">
              <a:solidFill>
                <a:sysClr val="windowText" lastClr="000000"/>
              </a:solidFill>
            </a:ln>
            <a:extLst>
              <a:ext uri="{909E8E84-426E-40DD-AFC4-6F175D3DCCD1}">
                <a14:hiddenFill xmlns:a14="http://schemas.microsoft.com/office/drawing/2010/main">
                  <a:solidFill>
                    <a:srgbClr val="FFFFFF"/>
                  </a:solidFill>
                </a14:hiddenFill>
              </a:ext>
            </a:extLst>
          </p:spPr>
        </p:pic>
        <p:sp>
          <p:nvSpPr>
            <p:cNvPr id="66" name="Rectangle 65">
              <a:extLst>
                <a:ext uri="{FF2B5EF4-FFF2-40B4-BE49-F238E27FC236}">
                  <a16:creationId xmlns:a16="http://schemas.microsoft.com/office/drawing/2014/main" id="{E0A87AF1-A5A6-966D-4C51-99289C3B1349}"/>
                </a:ext>
              </a:extLst>
            </p:cNvPr>
            <p:cNvSpPr/>
            <p:nvPr/>
          </p:nvSpPr>
          <p:spPr bwMode="auto">
            <a:xfrm>
              <a:off x="3561564" y="3250990"/>
              <a:ext cx="1217077" cy="429250"/>
            </a:xfrm>
            <a:prstGeom prst="rect">
              <a:avLst/>
            </a:prstGeom>
            <a:noFill/>
            <a:ln w="12700" cap="flat" cmpd="sng" algn="ctr">
              <a:solidFill>
                <a:sysClr val="window" lastClr="FFFFFF">
                  <a:lumMod val="65000"/>
                </a:sysClr>
              </a:solid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CUDF</a:t>
              </a:r>
              <a:endParaRPr kumimoji="0" lang="en-US" sz="1800" b="0" i="0" u="none" strike="noStrike" kern="0" cap="none" spc="0" normalizeH="0" baseline="0" noProof="0">
                <a:ln>
                  <a:noFill/>
                </a:ln>
                <a:solidFill>
                  <a:prstClr val="black"/>
                </a:solidFill>
                <a:effectLst/>
                <a:uLnTx/>
                <a:uFillTx/>
                <a:latin typeface="Segoe UI Semibold"/>
                <a:ea typeface="+mn-ea"/>
                <a:cs typeface="+mn-cs"/>
              </a:endParaRPr>
            </a:p>
          </p:txBody>
        </p:sp>
        <p:sp>
          <p:nvSpPr>
            <p:cNvPr id="67" name="Rectangle 66">
              <a:extLst>
                <a:ext uri="{FF2B5EF4-FFF2-40B4-BE49-F238E27FC236}">
                  <a16:creationId xmlns:a16="http://schemas.microsoft.com/office/drawing/2014/main" id="{D0B841CD-360D-6405-61E7-1D50AE6BE1A3}"/>
                </a:ext>
              </a:extLst>
            </p:cNvPr>
            <p:cNvSpPr/>
            <p:nvPr/>
          </p:nvSpPr>
          <p:spPr bwMode="auto">
            <a:xfrm>
              <a:off x="6308396" y="3250990"/>
              <a:ext cx="1489385" cy="429250"/>
            </a:xfrm>
            <a:prstGeom prst="rect">
              <a:avLst/>
            </a:prstGeom>
            <a:noFill/>
            <a:ln w="12700" cap="flat" cmpd="sng" algn="ctr">
              <a:solidFill>
                <a:sysClr val="window" lastClr="FFFFFF">
                  <a:lumMod val="65000"/>
                </a:sysClr>
              </a:solid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CUGRAPH</a:t>
              </a:r>
              <a:endParaRPr kumimoji="0" lang="en-US" sz="1800" b="0" i="0" u="none" strike="noStrike" kern="0" cap="none" spc="0" normalizeH="0" baseline="0" noProof="0">
                <a:ln>
                  <a:noFill/>
                </a:ln>
                <a:solidFill>
                  <a:prstClr val="black"/>
                </a:solidFill>
                <a:effectLst/>
                <a:uLnTx/>
                <a:uFillTx/>
                <a:latin typeface="Segoe UI Semibold"/>
                <a:ea typeface="+mn-ea"/>
                <a:cs typeface="+mn-cs"/>
              </a:endParaRPr>
            </a:p>
          </p:txBody>
        </p:sp>
      </p:grpSp>
    </p:spTree>
    <p:extLst>
      <p:ext uri="{BB962C8B-B14F-4D97-AF65-F5344CB8AC3E}">
        <p14:creationId xmlns:p14="http://schemas.microsoft.com/office/powerpoint/2010/main" val="948348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250"/>
                                        <p:tgtEl>
                                          <p:spTgt spid="8"/>
                                        </p:tgtEl>
                                      </p:cBhvr>
                                    </p:animEffect>
                                  </p:childTnLst>
                                </p:cTn>
                              </p:par>
                            </p:childTnLst>
                          </p:cTn>
                        </p:par>
                        <p:par>
                          <p:cTn id="12" fill="hold">
                            <p:stCondLst>
                              <p:cond delay="750"/>
                            </p:stCondLst>
                            <p:childTnLst>
                              <p:par>
                                <p:cTn id="13" presetID="16" presetClass="entr" presetSubtype="42" fill="hold" nodeType="afterEffect">
                                  <p:stCondLst>
                                    <p:cond delay="0"/>
                                  </p:stCondLst>
                                  <p:childTnLst>
                                    <p:set>
                                      <p:cBhvr>
                                        <p:cTn id="14" dur="1" fill="hold">
                                          <p:stCondLst>
                                            <p:cond delay="0"/>
                                          </p:stCondLst>
                                        </p:cTn>
                                        <p:tgtEl>
                                          <p:spTgt spid="32"/>
                                        </p:tgtEl>
                                        <p:attrNameLst>
                                          <p:attrName>style.visibility</p:attrName>
                                        </p:attrNameLst>
                                      </p:cBhvr>
                                      <p:to>
                                        <p:strVal val="visible"/>
                                      </p:to>
                                    </p:set>
                                    <p:animEffect transition="in" filter="barn(outHorizontal)">
                                      <p:cBhvr>
                                        <p:cTn id="15" dur="500"/>
                                        <p:tgtEl>
                                          <p:spTgt spid="32"/>
                                        </p:tgtEl>
                                      </p:cBhvr>
                                    </p:animEffect>
                                  </p:childTnLst>
                                </p:cTn>
                              </p:par>
                              <p:par>
                                <p:cTn id="16" presetID="22" presetClass="entr" presetSubtype="2" fill="hold" nodeType="with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wipe(right)">
                                      <p:cBhvr>
                                        <p:cTn id="18" dur="500"/>
                                        <p:tgtEl>
                                          <p:spTgt spid="17"/>
                                        </p:tgtEl>
                                      </p:cBhvr>
                                    </p:animEffect>
                                  </p:childTnLst>
                                </p:cTn>
                              </p:par>
                              <p:par>
                                <p:cTn id="19" presetID="22" presetClass="entr" presetSubtype="8" fill="hold" nodeType="with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wipe(left)">
                                      <p:cBhvr>
                                        <p:cTn id="21" dur="500"/>
                                        <p:tgtEl>
                                          <p:spTgt spid="18"/>
                                        </p:tgtEl>
                                      </p:cBhvr>
                                    </p:animEffect>
                                  </p:childTnLst>
                                </p:cTn>
                              </p:par>
                              <p:par>
                                <p:cTn id="22" presetID="22" presetClass="entr" presetSubtype="2" fill="hold"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wipe(right)">
                                      <p:cBhvr>
                                        <p:cTn id="24" dur="500"/>
                                        <p:tgtEl>
                                          <p:spTgt spid="20"/>
                                        </p:tgtEl>
                                      </p:cBhvr>
                                    </p:animEffect>
                                  </p:childTnLst>
                                </p:cTn>
                              </p:par>
                              <p:par>
                                <p:cTn id="25" presetID="22" presetClass="entr" presetSubtype="2"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wipe(right)">
                                      <p:cBhvr>
                                        <p:cTn id="27" dur="500"/>
                                        <p:tgtEl>
                                          <p:spTgt spid="19"/>
                                        </p:tgtEl>
                                      </p:cBhvr>
                                    </p:animEffect>
                                  </p:childTnLst>
                                </p:cTn>
                              </p:par>
                              <p:par>
                                <p:cTn id="28" presetID="22" presetClass="entr" presetSubtype="2" fill="hold" nodeType="withEffect">
                                  <p:stCondLst>
                                    <p:cond delay="0"/>
                                  </p:stCondLst>
                                  <p:childTnLst>
                                    <p:set>
                                      <p:cBhvr>
                                        <p:cTn id="29" dur="1" fill="hold">
                                          <p:stCondLst>
                                            <p:cond delay="0"/>
                                          </p:stCondLst>
                                        </p:cTn>
                                        <p:tgtEl>
                                          <p:spTgt spid="24"/>
                                        </p:tgtEl>
                                        <p:attrNameLst>
                                          <p:attrName>style.visibility</p:attrName>
                                        </p:attrNameLst>
                                      </p:cBhvr>
                                      <p:to>
                                        <p:strVal val="visible"/>
                                      </p:to>
                                    </p:set>
                                    <p:animEffect transition="in" filter="wipe(right)">
                                      <p:cBhvr>
                                        <p:cTn id="30" dur="500"/>
                                        <p:tgtEl>
                                          <p:spTgt spid="24"/>
                                        </p:tgtEl>
                                      </p:cBhvr>
                                    </p:animEffect>
                                  </p:childTnLst>
                                </p:cTn>
                              </p:par>
                              <p:par>
                                <p:cTn id="31" presetID="22" presetClass="entr" presetSubtype="8" fill="hold" nodeType="withEffect">
                                  <p:stCondLst>
                                    <p:cond delay="0"/>
                                  </p:stCondLst>
                                  <p:childTnLst>
                                    <p:set>
                                      <p:cBhvr>
                                        <p:cTn id="32" dur="1" fill="hold">
                                          <p:stCondLst>
                                            <p:cond delay="0"/>
                                          </p:stCondLst>
                                        </p:cTn>
                                        <p:tgtEl>
                                          <p:spTgt spid="26"/>
                                        </p:tgtEl>
                                        <p:attrNameLst>
                                          <p:attrName>style.visibility</p:attrName>
                                        </p:attrNameLst>
                                      </p:cBhvr>
                                      <p:to>
                                        <p:strVal val="visible"/>
                                      </p:to>
                                    </p:set>
                                    <p:animEffect transition="in" filter="wipe(left)">
                                      <p:cBhvr>
                                        <p:cTn id="33" dur="500"/>
                                        <p:tgtEl>
                                          <p:spTgt spid="26"/>
                                        </p:tgtEl>
                                      </p:cBhvr>
                                    </p:animEffect>
                                  </p:childTnLst>
                                </p:cTn>
                              </p:par>
                            </p:childTnLst>
                          </p:cTn>
                        </p:par>
                        <p:par>
                          <p:cTn id="34" fill="hold">
                            <p:stCondLst>
                              <p:cond delay="1250"/>
                            </p:stCondLst>
                            <p:childTnLst>
                              <p:par>
                                <p:cTn id="35" presetID="22" presetClass="entr" presetSubtype="4" fill="hold" nodeType="after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wipe(down)">
                                      <p:cBhvr>
                                        <p:cTn id="37" dur="500"/>
                                        <p:tgtEl>
                                          <p:spTgt spid="28"/>
                                        </p:tgtEl>
                                      </p:cBhvr>
                                    </p:animEffect>
                                  </p:childTnLst>
                                </p:cTn>
                              </p:par>
                            </p:childTnLst>
                          </p:cTn>
                        </p:par>
                        <p:par>
                          <p:cTn id="38" fill="hold">
                            <p:stCondLst>
                              <p:cond delay="1750"/>
                            </p:stCondLst>
                            <p:childTnLst>
                              <p:par>
                                <p:cTn id="39" presetID="10" presetClass="entr" presetSubtype="0" fill="hold" grpId="0" nodeType="afterEffect">
                                  <p:stCondLst>
                                    <p:cond delay="0"/>
                                  </p:stCondLst>
                                  <p:childTnLst>
                                    <p:set>
                                      <p:cBhvr>
                                        <p:cTn id="40" dur="1" fill="hold">
                                          <p:stCondLst>
                                            <p:cond delay="0"/>
                                          </p:stCondLst>
                                        </p:cTn>
                                        <p:tgtEl>
                                          <p:spTgt spid="35"/>
                                        </p:tgtEl>
                                        <p:attrNameLst>
                                          <p:attrName>style.visibility</p:attrName>
                                        </p:attrNameLst>
                                      </p:cBhvr>
                                      <p:to>
                                        <p:strVal val="visible"/>
                                      </p:to>
                                    </p:set>
                                    <p:animEffect transition="in" filter="fade">
                                      <p:cBhvr>
                                        <p:cTn id="41" dur="250"/>
                                        <p:tgtEl>
                                          <p:spTgt spid="35"/>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6"/>
                                        </p:tgtEl>
                                        <p:attrNameLst>
                                          <p:attrName>style.visibility</p:attrName>
                                        </p:attrNameLst>
                                      </p:cBhvr>
                                      <p:to>
                                        <p:strVal val="visible"/>
                                      </p:to>
                                    </p:set>
                                    <p:animEffect transition="in" filter="fade">
                                      <p:cBhvr>
                                        <p:cTn id="44" dur="250"/>
                                        <p:tgtEl>
                                          <p:spTgt spid="36"/>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25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5" grpId="0" animBg="1"/>
      <p:bldP spid="36" grpId="0" animBg="1"/>
      <p:bldP spid="3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170F9C-A2C8-11DC-ADE7-317AF98BAC57}"/>
              </a:ext>
            </a:extLst>
          </p:cNvPr>
          <p:cNvSpPr>
            <a:spLocks noGrp="1"/>
          </p:cNvSpPr>
          <p:nvPr>
            <p:ph type="title"/>
          </p:nvPr>
        </p:nvSpPr>
        <p:spPr/>
        <p:txBody>
          <a:bodyPr>
            <a:normAutofit/>
          </a:bodyPr>
          <a:lstStyle/>
          <a:p>
            <a:r>
              <a:rPr lang="en-CA" dirty="0"/>
              <a:t>Azure Marketplace images for NDv4</a:t>
            </a:r>
          </a:p>
        </p:txBody>
      </p:sp>
      <p:sp>
        <p:nvSpPr>
          <p:cNvPr id="5" name="Content Placeholder 4">
            <a:extLst>
              <a:ext uri="{FF2B5EF4-FFF2-40B4-BE49-F238E27FC236}">
                <a16:creationId xmlns:a16="http://schemas.microsoft.com/office/drawing/2014/main" id="{C175574A-1954-26D0-99B0-E5002C81FF8C}"/>
              </a:ext>
            </a:extLst>
          </p:cNvPr>
          <p:cNvSpPr>
            <a:spLocks noGrp="1"/>
          </p:cNvSpPr>
          <p:nvPr>
            <p:ph type="body" sz="quarter" idx="10"/>
          </p:nvPr>
        </p:nvSpPr>
        <p:spPr>
          <a:prstGeom prst="rect">
            <a:avLst/>
          </a:prstGeom>
        </p:spPr>
        <p:txBody>
          <a:bodyPr/>
          <a:lstStyle/>
          <a:p>
            <a:pPr marL="285750" indent="-285750">
              <a:buFont typeface="Arial" panose="020B0604020202020204" pitchFamily="34" charset="0"/>
              <a:buChar char="•"/>
            </a:pPr>
            <a:r>
              <a:rPr lang="en-US" sz="1800">
                <a:latin typeface="Segoe UI" panose="020B0502040204020203" pitchFamily="34" charset="0"/>
                <a:cs typeface="Segoe UI" panose="020B0502040204020203" pitchFamily="34" charset="0"/>
              </a:rPr>
              <a:t> </a:t>
            </a:r>
            <a:r>
              <a:rPr lang="en-US">
                <a:latin typeface="Segoe UI" panose="020B0502040204020203" pitchFamily="34" charset="0"/>
                <a:cs typeface="Segoe UI" panose="020B0502040204020203" pitchFamily="34" charset="0"/>
              </a:rPr>
              <a:t>Pre-installed</a:t>
            </a:r>
            <a:r>
              <a:rPr lang="en-US" sz="1800">
                <a:latin typeface="Segoe UI" panose="020B0502040204020203" pitchFamily="34" charset="0"/>
                <a:cs typeface="Segoe UI" panose="020B0502040204020203" pitchFamily="34" charset="0"/>
              </a:rPr>
              <a:t> </a:t>
            </a:r>
          </a:p>
          <a:p>
            <a:pPr marL="742950" lvl="1" indent="-285750">
              <a:buFont typeface="Arial" panose="020B0604020202020204" pitchFamily="34" charset="0"/>
              <a:buChar char="•"/>
            </a:pPr>
            <a:r>
              <a:rPr lang="en-US">
                <a:solidFill>
                  <a:srgbClr val="F89AF4"/>
                </a:solidFill>
                <a:latin typeface="Segoe UI" panose="020B0502040204020203" pitchFamily="34" charset="0"/>
                <a:cs typeface="Segoe UI" panose="020B0502040204020203" pitchFamily="34" charset="0"/>
              </a:rPr>
              <a:t>Drivers – GPU &amp; InfiniBand </a:t>
            </a:r>
          </a:p>
          <a:p>
            <a:pPr marL="742950" lvl="1" indent="-285750">
              <a:buFont typeface="Arial" panose="020B0604020202020204" pitchFamily="34" charset="0"/>
              <a:buChar char="•"/>
            </a:pPr>
            <a:r>
              <a:rPr lang="en-US">
                <a:solidFill>
                  <a:srgbClr val="F89AF4"/>
                </a:solidFill>
                <a:latin typeface="Segoe UI" panose="020B0502040204020203" pitchFamily="34" charset="0"/>
                <a:cs typeface="Segoe UI" panose="020B0502040204020203" pitchFamily="34" charset="0"/>
              </a:rPr>
              <a:t>CUDA, NCCL and MPI libraries (including </a:t>
            </a:r>
            <a:r>
              <a:rPr lang="en-US" err="1">
                <a:solidFill>
                  <a:srgbClr val="F89AF4"/>
                </a:solidFill>
                <a:latin typeface="Segoe UI" panose="020B0502040204020203" pitchFamily="34" charset="0"/>
                <a:cs typeface="Segoe UI" panose="020B0502040204020203" pitchFamily="34" charset="0"/>
              </a:rPr>
              <a:t>rdma_sharp_plugin</a:t>
            </a:r>
            <a:r>
              <a:rPr lang="en-US">
                <a:solidFill>
                  <a:srgbClr val="F89AF4"/>
                </a:solidFill>
                <a:latin typeface="Segoe UI" panose="020B0502040204020203" pitchFamily="34" charset="0"/>
                <a:cs typeface="Segoe UI" panose="020B0502040204020203" pitchFamily="34" charset="0"/>
              </a:rPr>
              <a:t>)</a:t>
            </a:r>
          </a:p>
          <a:p>
            <a:pPr marL="285750" indent="-285750">
              <a:buFont typeface="Arial" panose="020B0604020202020204" pitchFamily="34" charset="0"/>
              <a:buChar char="•"/>
            </a:pPr>
            <a:r>
              <a:rPr lang="en-US">
                <a:latin typeface="Segoe UI" panose="020B0502040204020203" pitchFamily="34" charset="0"/>
                <a:cs typeface="Segoe UI" panose="020B0502040204020203" pitchFamily="34" charset="0"/>
              </a:rPr>
              <a:t>Fully functional after booting up the image</a:t>
            </a:r>
            <a:endParaRPr lang="en-CA">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0534165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500"/>
                                        <p:tgtEl>
                                          <p:spTgt spid="5">
                                            <p:txEl>
                                              <p:pRg st="1" end="1"/>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Effect transition="in" filter="fade">
                                      <p:cBhvr>
                                        <p:cTn id="17" dur="500"/>
                                        <p:tgtEl>
                                          <p:spTgt spid="5">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5">
                                            <p:txEl>
                                              <p:pRg st="3" end="3"/>
                                            </p:txEl>
                                          </p:spTgt>
                                        </p:tgtEl>
                                        <p:attrNameLst>
                                          <p:attrName>style.visibility</p:attrName>
                                        </p:attrNameLst>
                                      </p:cBhvr>
                                      <p:to>
                                        <p:strVal val="visible"/>
                                      </p:to>
                                    </p:set>
                                    <p:animEffect transition="in" filter="fade">
                                      <p:cBhvr>
                                        <p:cTn id="20"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uiExpand="1" build="p"/>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4F6DA177-4DE3-1B04-2E6D-6C7D7449833D}"/>
              </a:ext>
            </a:extLst>
          </p:cNvPr>
          <p:cNvGrpSpPr/>
          <p:nvPr/>
        </p:nvGrpSpPr>
        <p:grpSpPr>
          <a:xfrm>
            <a:off x="6273781" y="1085485"/>
            <a:ext cx="5918523" cy="5389186"/>
            <a:chOff x="6273781" y="1085485"/>
            <a:chExt cx="5918523" cy="5389186"/>
          </a:xfrm>
        </p:grpSpPr>
        <p:pic>
          <p:nvPicPr>
            <p:cNvPr id="48" name="Picture 47">
              <a:extLst>
                <a:ext uri="{FF2B5EF4-FFF2-40B4-BE49-F238E27FC236}">
                  <a16:creationId xmlns:a16="http://schemas.microsoft.com/office/drawing/2014/main" id="{149C124D-609C-624B-B4D9-FBF55282F2FB}"/>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36280"/>
            <a:stretch/>
          </p:blipFill>
          <p:spPr>
            <a:xfrm>
              <a:off x="6273781" y="1085485"/>
              <a:ext cx="5918523" cy="5389186"/>
            </a:xfrm>
            <a:prstGeom prst="rect">
              <a:avLst/>
            </a:prstGeom>
          </p:spPr>
        </p:pic>
        <p:sp>
          <p:nvSpPr>
            <p:cNvPr id="49" name="Rectangle 48">
              <a:extLst>
                <a:ext uri="{FF2B5EF4-FFF2-40B4-BE49-F238E27FC236}">
                  <a16:creationId xmlns:a16="http://schemas.microsoft.com/office/drawing/2014/main" id="{1C4AF4CA-A44A-5341-9CF5-0E6E92519A96}"/>
                </a:ext>
                <a:ext uri="{C183D7F6-B498-43B3-948B-1728B52AA6E4}">
                  <adec:decorative xmlns:adec="http://schemas.microsoft.com/office/drawing/2017/decorative" val="1"/>
                </a:ext>
              </a:extLst>
            </p:cNvPr>
            <p:cNvSpPr/>
            <p:nvPr/>
          </p:nvSpPr>
          <p:spPr>
            <a:xfrm>
              <a:off x="7686636" y="1763380"/>
              <a:ext cx="4505364" cy="3673855"/>
            </a:xfrm>
            <a:prstGeom prst="rect">
              <a:avLst/>
            </a:prstGeom>
            <a:blipFill>
              <a:blip r:embed="rId4" cstate="screen">
                <a:extLst>
                  <a:ext uri="{28A0092B-C50C-407E-A947-70E740481C1C}">
                    <a14:useLocalDpi xmlns:a14="http://schemas.microsoft.com/office/drawing/2010/main"/>
                  </a:ext>
                </a:extLst>
              </a:blip>
              <a:srcRect/>
              <a:stretch>
                <a:fillRect r="-36108"/>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50" name="Rectangle 49">
            <a:extLst>
              <a:ext uri="{FF2B5EF4-FFF2-40B4-BE49-F238E27FC236}">
                <a16:creationId xmlns:a16="http://schemas.microsoft.com/office/drawing/2014/main" id="{4A365B65-9C1F-9246-B6D3-18022A4C7CE0}"/>
              </a:ext>
              <a:ext uri="{C183D7F6-B498-43B3-948B-1728B52AA6E4}">
                <adec:decorative xmlns:adec="http://schemas.microsoft.com/office/drawing/2017/decorative" val="1"/>
              </a:ext>
            </a:extLst>
          </p:cNvPr>
          <p:cNvSpPr/>
          <p:nvPr/>
        </p:nvSpPr>
        <p:spPr>
          <a:xfrm>
            <a:off x="565672" y="1253125"/>
            <a:ext cx="7200000" cy="1415772"/>
          </a:xfrm>
          <a:prstGeom prst="rect">
            <a:avLst/>
          </a:prstGeom>
        </p:spPr>
        <p:txBody>
          <a:bodyPr wrap="square">
            <a:spAutoFit/>
          </a:bodyPr>
          <a:lstStyle/>
          <a:p>
            <a:pPr marL="0" marR="0" lvl="0" indent="0" algn="l" defTabSz="914314"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F89AF4"/>
                </a:solidFill>
                <a:effectLst/>
                <a:uLnTx/>
                <a:uFillTx/>
                <a:latin typeface="Segoe UI Semibold" panose="020B0702040204020203" pitchFamily="34" charset="0"/>
                <a:ea typeface="+mn-ea"/>
                <a:cs typeface="Segoe UI Semibold" panose="020B0702040204020203" pitchFamily="34" charset="0"/>
              </a:rPr>
              <a:t>User empowerment</a:t>
            </a:r>
          </a:p>
          <a:p>
            <a:pPr marL="182880" marR="0" lvl="1" indent="-182880" algn="l" defTabSz="108768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rPr>
              <a:t>Able to cloud-enable existing workflows and schedulers</a:t>
            </a:r>
          </a:p>
          <a:p>
            <a:pPr marL="182880" marR="0" lvl="1" indent="-182880" algn="l" defTabSz="108768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rPr>
              <a:t>Enable instant access to resources</a:t>
            </a:r>
          </a:p>
          <a:p>
            <a:pPr marL="182880" marR="0" lvl="1" indent="-182880" algn="l" defTabSz="108768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rPr>
              <a:t>Provide auto-scaling, error handling</a:t>
            </a:r>
          </a:p>
        </p:txBody>
      </p:sp>
      <p:sp>
        <p:nvSpPr>
          <p:cNvPr id="52" name="Rectangle 51">
            <a:extLst>
              <a:ext uri="{FF2B5EF4-FFF2-40B4-BE49-F238E27FC236}">
                <a16:creationId xmlns:a16="http://schemas.microsoft.com/office/drawing/2014/main" id="{5725F542-E70F-AA41-B242-07DCB3B51E3D}"/>
              </a:ext>
              <a:ext uri="{C183D7F6-B498-43B3-948B-1728B52AA6E4}">
                <adec:decorative xmlns:adec="http://schemas.microsoft.com/office/drawing/2017/decorative" val="1"/>
              </a:ext>
            </a:extLst>
          </p:cNvPr>
          <p:cNvSpPr/>
          <p:nvPr/>
        </p:nvSpPr>
        <p:spPr>
          <a:xfrm>
            <a:off x="565673" y="4864157"/>
            <a:ext cx="7200000" cy="1097736"/>
          </a:xfrm>
          <a:prstGeom prst="rect">
            <a:avLst/>
          </a:prstGeom>
        </p:spPr>
        <p:txBody>
          <a:bodyPr wrap="square">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89AF4"/>
                </a:solidFill>
                <a:effectLst/>
                <a:uLnTx/>
                <a:uFillTx/>
                <a:latin typeface="Segoe UI Semibold" panose="020B0702040204020203" pitchFamily="34" charset="0"/>
                <a:ea typeface="+mn-ea"/>
                <a:cs typeface="Segoe UI Semibold" panose="020B0702040204020203" pitchFamily="34" charset="0"/>
              </a:rPr>
              <a:t>Business</a:t>
            </a:r>
            <a:r>
              <a:rPr kumimoji="0" lang="en-US" sz="2000" b="0" i="0" u="none" strike="noStrike" kern="1200" cap="none" spc="0" normalizeH="0" baseline="0" noProof="0">
                <a:ln>
                  <a:noFill/>
                </a:ln>
                <a:solidFill>
                  <a:srgbClr val="F89AF4"/>
                </a:solidFill>
                <a:effectLst/>
                <a:uLnTx/>
                <a:uFillTx/>
                <a:latin typeface="Segoe UI Semibold" panose="020B0702040204020203" pitchFamily="34" charset="0"/>
                <a:ea typeface="+mn-ea"/>
                <a:cs typeface="Segoe UI Semibold" panose="020B0702040204020203" pitchFamily="34" charset="0"/>
              </a:rPr>
              <a:t> </a:t>
            </a:r>
            <a:r>
              <a:rPr kumimoji="0" lang="en-US" sz="1800" b="0" i="0" u="none" strike="noStrike" kern="1200" cap="none" spc="0" normalizeH="0" baseline="0" noProof="0">
                <a:ln>
                  <a:noFill/>
                </a:ln>
                <a:solidFill>
                  <a:srgbClr val="F89AF4"/>
                </a:solidFill>
                <a:effectLst/>
                <a:uLnTx/>
                <a:uFillTx/>
                <a:latin typeface="Segoe UI Semibold" panose="020B0702040204020203" pitchFamily="34" charset="0"/>
                <a:ea typeface="+mn-ea"/>
                <a:cs typeface="Segoe UI Semibold" panose="020B0702040204020203" pitchFamily="34" charset="0"/>
              </a:rPr>
              <a:t>management</a:t>
            </a:r>
          </a:p>
          <a:p>
            <a:pPr marL="173038" marR="0" lvl="1" indent="-173038" algn="l" defTabSz="1087687"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
                <a:ea typeface="+mn-ea"/>
                <a:cs typeface="Segoe UI" pitchFamily="34" charset="0"/>
              </a:rPr>
              <a:t>Able to link usage to spend</a:t>
            </a:r>
          </a:p>
          <a:p>
            <a:pPr marL="173038" marR="0" lvl="1" indent="-173038" algn="l" defTabSz="1087687"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
                <a:ea typeface="+mn-ea"/>
                <a:cs typeface="Segoe UI" pitchFamily="34" charset="0"/>
              </a:rPr>
              <a:t>Provide tools to manage and control costs</a:t>
            </a:r>
          </a:p>
        </p:txBody>
      </p:sp>
      <p:sp>
        <p:nvSpPr>
          <p:cNvPr id="33" name="Rectangle 32">
            <a:extLst>
              <a:ext uri="{FF2B5EF4-FFF2-40B4-BE49-F238E27FC236}">
                <a16:creationId xmlns:a16="http://schemas.microsoft.com/office/drawing/2014/main" id="{C54DB952-4FDF-47B3-A92B-8E3D241A396A}"/>
              </a:ext>
              <a:ext uri="{C183D7F6-B498-43B3-948B-1728B52AA6E4}">
                <adec:decorative xmlns:adec="http://schemas.microsoft.com/office/drawing/2017/decorative" val="1"/>
              </a:ext>
            </a:extLst>
          </p:cNvPr>
          <p:cNvSpPr/>
          <p:nvPr/>
        </p:nvSpPr>
        <p:spPr>
          <a:xfrm>
            <a:off x="565672" y="3080567"/>
            <a:ext cx="7200000" cy="1415772"/>
          </a:xfrm>
          <a:prstGeom prst="rect">
            <a:avLst/>
          </a:prstGeom>
        </p:spPr>
        <p:txBody>
          <a:bodyPr wrap="square">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89AF4"/>
                </a:solidFill>
                <a:effectLst/>
                <a:uLnTx/>
                <a:uFillTx/>
                <a:latin typeface="Segoe UI Semibold"/>
                <a:ea typeface="+mn-ea"/>
                <a:cs typeface="Segoe UI Semibold" panose="020B0702040204020203" pitchFamily="34" charset="0"/>
              </a:rPr>
              <a:t>IT management</a:t>
            </a:r>
          </a:p>
          <a:p>
            <a:pPr marL="173038" marR="0" lvl="1" indent="-173038" algn="l" defTabSz="1087687"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rPr>
              <a:t>Link workflows for internal and external clouds</a:t>
            </a:r>
          </a:p>
          <a:p>
            <a:pPr marL="173038" marR="0" lvl="1" indent="-173038" algn="l" defTabSz="1087687"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rPr>
              <a:t>Use Active Directory for authentication and authorization</a:t>
            </a:r>
          </a:p>
          <a:p>
            <a:pPr marL="173038" marR="0" lvl="1" indent="-173038" algn="l" defTabSz="1087687"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rPr>
              <a:t>Provide secure and consistent access</a:t>
            </a:r>
          </a:p>
        </p:txBody>
      </p:sp>
      <p:sp>
        <p:nvSpPr>
          <p:cNvPr id="4" name="Title 3">
            <a:extLst>
              <a:ext uri="{FF2B5EF4-FFF2-40B4-BE49-F238E27FC236}">
                <a16:creationId xmlns:a16="http://schemas.microsoft.com/office/drawing/2014/main" id="{A74BA9DD-4FE8-3DD4-BAF2-A0E08A3FB416}"/>
              </a:ext>
            </a:extLst>
          </p:cNvPr>
          <p:cNvSpPr>
            <a:spLocks noGrp="1"/>
          </p:cNvSpPr>
          <p:nvPr>
            <p:ph type="title"/>
          </p:nvPr>
        </p:nvSpPr>
        <p:spPr/>
        <p:txBody>
          <a:bodyPr/>
          <a:lstStyle/>
          <a:p>
            <a:r>
              <a:rPr lang="en-IN"/>
              <a:t>Azure Cycle Cloud</a:t>
            </a:r>
          </a:p>
        </p:txBody>
      </p:sp>
    </p:spTree>
    <p:extLst>
      <p:ext uri="{BB962C8B-B14F-4D97-AF65-F5344CB8AC3E}">
        <p14:creationId xmlns:p14="http://schemas.microsoft.com/office/powerpoint/2010/main" val="28279476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0"/>
                                        </p:tgtEl>
                                        <p:attrNameLst>
                                          <p:attrName>style.visibility</p:attrName>
                                        </p:attrNameLst>
                                      </p:cBhvr>
                                      <p:to>
                                        <p:strVal val="visible"/>
                                      </p:to>
                                    </p:set>
                                    <p:animEffect transition="in" filter="fade">
                                      <p:cBhvr>
                                        <p:cTn id="11" dur="500"/>
                                        <p:tgtEl>
                                          <p:spTgt spid="50"/>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500"/>
                                        <p:tgtEl>
                                          <p:spTgt spid="33"/>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52"/>
                                        </p:tgtEl>
                                        <p:attrNameLst>
                                          <p:attrName>style.visibility</p:attrName>
                                        </p:attrNameLst>
                                      </p:cBhvr>
                                      <p:to>
                                        <p:strVal val="visible"/>
                                      </p:to>
                                    </p:set>
                                    <p:animEffect transition="in" filter="fade">
                                      <p:cBhvr>
                                        <p:cTn id="17" dur="500"/>
                                        <p:tgtEl>
                                          <p:spTgt spid="52"/>
                                        </p:tgtEl>
                                      </p:cBhvr>
                                    </p:animEffect>
                                  </p:childTnLst>
                                </p:cTn>
                              </p:par>
                              <p:par>
                                <p:cTn id="18" presetID="2" presetClass="entr" presetSubtype="6" fill="hold" nodeType="withEffect">
                                  <p:stCondLst>
                                    <p:cond delay="0"/>
                                  </p:stCondLst>
                                  <p:childTnLst>
                                    <p:set>
                                      <p:cBhvr>
                                        <p:cTn id="19" dur="1" fill="hold">
                                          <p:stCondLst>
                                            <p:cond delay="0"/>
                                          </p:stCondLst>
                                        </p:cTn>
                                        <p:tgtEl>
                                          <p:spTgt spid="5"/>
                                        </p:tgtEl>
                                        <p:attrNameLst>
                                          <p:attrName>style.visibility</p:attrName>
                                        </p:attrNameLst>
                                      </p:cBhvr>
                                      <p:to>
                                        <p:strVal val="visible"/>
                                      </p:to>
                                    </p:set>
                                    <p:anim calcmode="lin" valueType="num">
                                      <p:cBhvr additive="base">
                                        <p:cTn id="20" dur="500" fill="hold"/>
                                        <p:tgtEl>
                                          <p:spTgt spid="5"/>
                                        </p:tgtEl>
                                        <p:attrNameLst>
                                          <p:attrName>ppt_x</p:attrName>
                                        </p:attrNameLst>
                                      </p:cBhvr>
                                      <p:tavLst>
                                        <p:tav tm="0">
                                          <p:val>
                                            <p:strVal val="1+#ppt_w/2"/>
                                          </p:val>
                                        </p:tav>
                                        <p:tav tm="100000">
                                          <p:val>
                                            <p:strVal val="#ppt_x"/>
                                          </p:val>
                                        </p:tav>
                                      </p:tavLst>
                                    </p:anim>
                                    <p:anim calcmode="lin" valueType="num">
                                      <p:cBhvr additive="base">
                                        <p:cTn id="21"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52" grpId="0"/>
      <p:bldP spid="33" grpId="0"/>
      <p:bldP spid="4" grpId="0"/>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5B39B43-FB6D-4469-8EEC-FB001B8001FF}"/>
              </a:ext>
              <a:ext uri="{C183D7F6-B498-43B3-948B-1728B52AA6E4}">
                <adec:decorative xmlns:adec="http://schemas.microsoft.com/office/drawing/2017/decorative" val="1"/>
              </a:ext>
            </a:extLst>
          </p:cNvPr>
          <p:cNvGrpSpPr/>
          <p:nvPr/>
        </p:nvGrpSpPr>
        <p:grpSpPr>
          <a:xfrm>
            <a:off x="1050290" y="1911898"/>
            <a:ext cx="1849120" cy="1692415"/>
            <a:chOff x="516890" y="1090930"/>
            <a:chExt cx="5619750" cy="5143500"/>
          </a:xfrm>
        </p:grpSpPr>
        <p:pic>
          <p:nvPicPr>
            <p:cNvPr id="34818" name="Picture 2">
              <a:extLst>
                <a:ext uri="{FF2B5EF4-FFF2-40B4-BE49-F238E27FC236}">
                  <a16:creationId xmlns:a16="http://schemas.microsoft.com/office/drawing/2014/main" id="{2853AE16-E275-4E47-8984-771843AA1C5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6890" y="1090930"/>
              <a:ext cx="561975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
              <a:extLst>
                <a:ext uri="{FF2B5EF4-FFF2-40B4-BE49-F238E27FC236}">
                  <a16:creationId xmlns:a16="http://schemas.microsoft.com/office/drawing/2014/main" id="{1FBC54F8-E421-4D8B-8936-CF38CED95DC9}"/>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t="49901"/>
            <a:stretch/>
          </p:blipFill>
          <p:spPr bwMode="auto">
            <a:xfrm>
              <a:off x="750570" y="3839288"/>
              <a:ext cx="5223510" cy="239514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a:extLst>
              <a:ext uri="{FF2B5EF4-FFF2-40B4-BE49-F238E27FC236}">
                <a16:creationId xmlns:a16="http://schemas.microsoft.com/office/drawing/2014/main" id="{F6234252-F699-4CE0-955D-97D3E2F3BE36}"/>
              </a:ext>
              <a:ext uri="{C183D7F6-B498-43B3-948B-1728B52AA6E4}">
                <adec:decorative xmlns:adec="http://schemas.microsoft.com/office/drawing/2017/decorative" val="1"/>
              </a:ext>
            </a:extLst>
          </p:cNvPr>
          <p:cNvGrpSpPr/>
          <p:nvPr/>
        </p:nvGrpSpPr>
        <p:grpSpPr>
          <a:xfrm>
            <a:off x="4044963" y="2494684"/>
            <a:ext cx="3762375" cy="890847"/>
            <a:chOff x="3238500" y="2771775"/>
            <a:chExt cx="5715000" cy="1353185"/>
          </a:xfrm>
        </p:grpSpPr>
        <p:pic>
          <p:nvPicPr>
            <p:cNvPr id="34820" name="Picture 4" descr="HPC Schedulers for Clusters &amp; Servers| Aspen Systems">
              <a:extLst>
                <a:ext uri="{FF2B5EF4-FFF2-40B4-BE49-F238E27FC236}">
                  <a16:creationId xmlns:a16="http://schemas.microsoft.com/office/drawing/2014/main" id="{7A20604D-7B1A-4F8D-8A51-4557FEFEE51D}"/>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brightnessContrast bright="67000"/>
                      </a14:imgEffect>
                    </a14:imgLayer>
                  </a14:imgProps>
                </a:ext>
                <a:ext uri="{28A0092B-C50C-407E-A947-70E740481C1C}">
                  <a14:useLocalDpi xmlns:a14="http://schemas.microsoft.com/office/drawing/2010/main" val="0"/>
                </a:ext>
              </a:extLst>
            </a:blip>
            <a:srcRect r="73822"/>
            <a:stretch/>
          </p:blipFill>
          <p:spPr bwMode="auto">
            <a:xfrm>
              <a:off x="3238500" y="2771775"/>
              <a:ext cx="1496060" cy="1314450"/>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4" descr="HPC Schedulers for Clusters &amp; Servers| Aspen Systems">
              <a:extLst>
                <a:ext uri="{FF2B5EF4-FFF2-40B4-BE49-F238E27FC236}">
                  <a16:creationId xmlns:a16="http://schemas.microsoft.com/office/drawing/2014/main" id="{ECA582B9-A3E8-489F-BA9C-A9F371674224}"/>
                </a:ext>
              </a:extLst>
            </p:cNvPr>
            <p:cNvPicPr>
              <a:picLocks noChangeAspect="1" noChangeArrowheads="1"/>
            </p:cNvPicPr>
            <p:nvPr/>
          </p:nvPicPr>
          <p:blipFill rotWithShape="1">
            <a:blip r:embed="rId8">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l="26178"/>
            <a:stretch/>
          </p:blipFill>
          <p:spPr bwMode="auto">
            <a:xfrm>
              <a:off x="4734560" y="2810510"/>
              <a:ext cx="4218940" cy="13144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a:extLst>
              <a:ext uri="{FF2B5EF4-FFF2-40B4-BE49-F238E27FC236}">
                <a16:creationId xmlns:a16="http://schemas.microsoft.com/office/drawing/2014/main" id="{FD22557D-8264-4AD4-B4FF-A5CEBD6B7E18}"/>
              </a:ext>
              <a:ext uri="{C183D7F6-B498-43B3-948B-1728B52AA6E4}">
                <adec:decorative xmlns:adec="http://schemas.microsoft.com/office/drawing/2017/decorative" val="1"/>
              </a:ext>
            </a:extLst>
          </p:cNvPr>
          <p:cNvGrpSpPr/>
          <p:nvPr/>
        </p:nvGrpSpPr>
        <p:grpSpPr>
          <a:xfrm>
            <a:off x="1341416" y="4380031"/>
            <a:ext cx="4584735" cy="1380458"/>
            <a:chOff x="5634038" y="1294733"/>
            <a:chExt cx="4333875" cy="1304925"/>
          </a:xfrm>
        </p:grpSpPr>
        <p:pic>
          <p:nvPicPr>
            <p:cNvPr id="34822" name="Picture 6" descr="IBM Spectrum LSF | NVIDIA Developer">
              <a:extLst>
                <a:ext uri="{FF2B5EF4-FFF2-40B4-BE49-F238E27FC236}">
                  <a16:creationId xmlns:a16="http://schemas.microsoft.com/office/drawing/2014/main" id="{4F5F0D61-9E54-48E7-8696-D35196F1A06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634038" y="1304258"/>
              <a:ext cx="4333875" cy="1295400"/>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6" descr="IBM Spectrum LSF | NVIDIA Developer">
              <a:extLst>
                <a:ext uri="{FF2B5EF4-FFF2-40B4-BE49-F238E27FC236}">
                  <a16:creationId xmlns:a16="http://schemas.microsoft.com/office/drawing/2014/main" id="{D759A4F6-68E0-47B8-8753-3B86070A6EC1}"/>
                </a:ext>
              </a:extLst>
            </p:cNvPr>
            <p:cNvPicPr>
              <a:picLocks noChangeAspect="1" noChangeArrowheads="1"/>
            </p:cNvPicPr>
            <p:nvPr/>
          </p:nvPicPr>
          <p:blipFill rotWithShape="1">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l="30660" r="18572"/>
            <a:stretch/>
          </p:blipFill>
          <p:spPr bwMode="auto">
            <a:xfrm>
              <a:off x="6962775" y="1294733"/>
              <a:ext cx="2200275" cy="1295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id="{328B6A1C-F554-4BB0-8A6E-A5F9F0D5EBF8}"/>
              </a:ext>
              <a:ext uri="{C183D7F6-B498-43B3-948B-1728B52AA6E4}">
                <adec:decorative xmlns:adec="http://schemas.microsoft.com/office/drawing/2017/decorative" val="1"/>
              </a:ext>
            </a:extLst>
          </p:cNvPr>
          <p:cNvGrpSpPr/>
          <p:nvPr/>
        </p:nvGrpSpPr>
        <p:grpSpPr>
          <a:xfrm>
            <a:off x="8622302" y="1320140"/>
            <a:ext cx="2642543" cy="2284173"/>
            <a:chOff x="8143514" y="664104"/>
            <a:chExt cx="3035934" cy="2624214"/>
          </a:xfrm>
        </p:grpSpPr>
        <p:pic>
          <p:nvPicPr>
            <p:cNvPr id="132" name="Picture 6" descr="IBM Spectrum LSF | NVIDIA Developer">
              <a:extLst>
                <a:ext uri="{FF2B5EF4-FFF2-40B4-BE49-F238E27FC236}">
                  <a16:creationId xmlns:a16="http://schemas.microsoft.com/office/drawing/2014/main" id="{61705659-0A9F-43A3-AE1D-BBF80552631E}"/>
                </a:ext>
              </a:extLst>
            </p:cNvPr>
            <p:cNvPicPr>
              <a:picLocks noChangeAspect="1" noChangeArrowheads="1"/>
            </p:cNvPicPr>
            <p:nvPr/>
          </p:nvPicPr>
          <p:blipFill rotWithShape="1">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l="30660" r="18572"/>
            <a:stretch/>
          </p:blipFill>
          <p:spPr bwMode="auto">
            <a:xfrm>
              <a:off x="8143514" y="1765594"/>
              <a:ext cx="2327635" cy="1370382"/>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6" descr="IBM Spectrum LSF | NVIDIA Developer">
              <a:extLst>
                <a:ext uri="{FF2B5EF4-FFF2-40B4-BE49-F238E27FC236}">
                  <a16:creationId xmlns:a16="http://schemas.microsoft.com/office/drawing/2014/main" id="{F25756EB-A50D-42ED-986C-27DC68E70ADE}"/>
                </a:ext>
              </a:extLst>
            </p:cNvPr>
            <p:cNvPicPr>
              <a:picLocks noChangeAspect="1" noChangeArrowheads="1"/>
            </p:cNvPicPr>
            <p:nvPr/>
          </p:nvPicPr>
          <p:blipFill rotWithShape="1">
            <a:blip r:embed="rId12">
              <a:duotone>
                <a:schemeClr val="bg2">
                  <a:shade val="45000"/>
                  <a:satMod val="135000"/>
                </a:schemeClr>
                <a:prstClr val="white"/>
              </a:duotone>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l="3393" r="68976" b="9260"/>
            <a:stretch/>
          </p:blipFill>
          <p:spPr bwMode="auto">
            <a:xfrm>
              <a:off x="9261204" y="664104"/>
              <a:ext cx="1549893" cy="152133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C1DD7608-A50A-46F3-BF24-EA8D69A24EA6}"/>
                </a:ext>
              </a:extLst>
            </p:cNvPr>
            <p:cNvSpPr txBox="1"/>
            <p:nvPr/>
          </p:nvSpPr>
          <p:spPr>
            <a:xfrm>
              <a:off x="8704354" y="2566985"/>
              <a:ext cx="2475094" cy="72133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5A91CC"/>
                  </a:solidFill>
                  <a:effectLst/>
                  <a:uLnTx/>
                  <a:uFillTx/>
                  <a:latin typeface="Arial" panose="020B0604020202020204" pitchFamily="34" charset="0"/>
                  <a:ea typeface="+mn-ea"/>
                  <a:cs typeface="Arial" panose="020B0604020202020204" pitchFamily="34" charset="0"/>
                </a:rPr>
                <a:t>Symphony</a:t>
              </a:r>
            </a:p>
          </p:txBody>
        </p:sp>
      </p:grpSp>
      <p:sp>
        <p:nvSpPr>
          <p:cNvPr id="5" name="Title 4">
            <a:extLst>
              <a:ext uri="{FF2B5EF4-FFF2-40B4-BE49-F238E27FC236}">
                <a16:creationId xmlns:a16="http://schemas.microsoft.com/office/drawing/2014/main" id="{F8D7B108-A837-7CD9-02BA-2131187B820E}"/>
              </a:ext>
            </a:extLst>
          </p:cNvPr>
          <p:cNvSpPr>
            <a:spLocks noGrp="1"/>
          </p:cNvSpPr>
          <p:nvPr>
            <p:ph type="title"/>
          </p:nvPr>
        </p:nvSpPr>
        <p:spPr/>
        <p:txBody>
          <a:bodyPr/>
          <a:lstStyle/>
          <a:p>
            <a:r>
              <a:rPr lang="en-US"/>
              <a:t>Support for Traditional Job Schedulers</a:t>
            </a:r>
            <a:endParaRPr lang="en-IN"/>
          </a:p>
        </p:txBody>
      </p:sp>
      <p:pic>
        <p:nvPicPr>
          <p:cNvPr id="15" name="Picture 14" descr="Logo&#10;&#10;Description automatically generated with medium confidence">
            <a:extLst>
              <a:ext uri="{FF2B5EF4-FFF2-40B4-BE49-F238E27FC236}">
                <a16:creationId xmlns:a16="http://schemas.microsoft.com/office/drawing/2014/main" id="{DB45B4D0-187C-2830-C4BE-CCF06D79863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572538" y="4290242"/>
            <a:ext cx="3607759" cy="1560037"/>
          </a:xfrm>
          <a:prstGeom prst="rect">
            <a:avLst/>
          </a:prstGeom>
        </p:spPr>
      </p:pic>
    </p:spTree>
    <p:extLst>
      <p:ext uri="{BB962C8B-B14F-4D97-AF65-F5344CB8AC3E}">
        <p14:creationId xmlns:p14="http://schemas.microsoft.com/office/powerpoint/2010/main" val="30505635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nodeType="with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par>
                                <p:cTn id="15" presetID="10"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5B39B43-FB6D-4469-8EEC-FB001B8001FF}"/>
              </a:ext>
              <a:ext uri="{C183D7F6-B498-43B3-948B-1728B52AA6E4}">
                <adec:decorative xmlns:adec="http://schemas.microsoft.com/office/drawing/2017/decorative" val="1"/>
              </a:ext>
            </a:extLst>
          </p:cNvPr>
          <p:cNvGrpSpPr/>
          <p:nvPr/>
        </p:nvGrpSpPr>
        <p:grpSpPr>
          <a:xfrm>
            <a:off x="8152130" y="2161577"/>
            <a:ext cx="1853050" cy="1692415"/>
            <a:chOff x="516890" y="1090930"/>
            <a:chExt cx="5631695" cy="5143500"/>
          </a:xfrm>
        </p:grpSpPr>
        <p:pic>
          <p:nvPicPr>
            <p:cNvPr id="34818" name="Picture 2">
              <a:extLst>
                <a:ext uri="{FF2B5EF4-FFF2-40B4-BE49-F238E27FC236}">
                  <a16:creationId xmlns:a16="http://schemas.microsoft.com/office/drawing/2014/main" id="{2853AE16-E275-4E47-8984-771843AA1C5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6890" y="1090930"/>
              <a:ext cx="561975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
              <a:extLst>
                <a:ext uri="{FF2B5EF4-FFF2-40B4-BE49-F238E27FC236}">
                  <a16:creationId xmlns:a16="http://schemas.microsoft.com/office/drawing/2014/main" id="{1FBC54F8-E421-4D8B-8936-CF38CED95DC9}"/>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t="49901"/>
            <a:stretch/>
          </p:blipFill>
          <p:spPr bwMode="auto">
            <a:xfrm>
              <a:off x="528834" y="3659460"/>
              <a:ext cx="5619751" cy="2574970"/>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Title 4">
            <a:extLst>
              <a:ext uri="{FF2B5EF4-FFF2-40B4-BE49-F238E27FC236}">
                <a16:creationId xmlns:a16="http://schemas.microsoft.com/office/drawing/2014/main" id="{F8D7B108-A837-7CD9-02BA-2131187B820E}"/>
              </a:ext>
            </a:extLst>
          </p:cNvPr>
          <p:cNvSpPr>
            <a:spLocks noGrp="1"/>
          </p:cNvSpPr>
          <p:nvPr>
            <p:ph type="title"/>
          </p:nvPr>
        </p:nvSpPr>
        <p:spPr/>
        <p:txBody>
          <a:bodyPr/>
          <a:lstStyle/>
          <a:p>
            <a:r>
              <a:rPr lang="en-US" sz="2800"/>
              <a:t>Feature Focus: SLURM Integration</a:t>
            </a:r>
            <a:endParaRPr lang="en-IN"/>
          </a:p>
        </p:txBody>
      </p:sp>
      <p:sp>
        <p:nvSpPr>
          <p:cNvPr id="4" name="Text Placeholder 3">
            <a:extLst>
              <a:ext uri="{FF2B5EF4-FFF2-40B4-BE49-F238E27FC236}">
                <a16:creationId xmlns:a16="http://schemas.microsoft.com/office/drawing/2014/main" id="{777E5681-60EC-0E39-F74E-A66F2C9619FD}"/>
              </a:ext>
            </a:extLst>
          </p:cNvPr>
          <p:cNvSpPr>
            <a:spLocks noGrp="1"/>
          </p:cNvSpPr>
          <p:nvPr>
            <p:ph type="body" sz="quarter" idx="10"/>
          </p:nvPr>
        </p:nvSpPr>
        <p:spPr/>
        <p:txBody>
          <a:bodyPr/>
          <a:lstStyle/>
          <a:p>
            <a:pPr marL="342900" indent="-342900">
              <a:buFont typeface="Arial" panose="020B0604020202020204" pitchFamily="34" charset="0"/>
              <a:buChar char="•"/>
            </a:pPr>
            <a:r>
              <a:rPr kumimoji="0" lang="en-US" sz="1800" b="0" i="0" u="none" strike="noStrike" kern="1200" cap="none" spc="0" normalizeH="0" baseline="0" noProof="0">
                <a:ln>
                  <a:noFill/>
                </a:ln>
                <a:effectLst/>
                <a:uLnTx/>
                <a:uFillTx/>
                <a:latin typeface="Segoe UI" panose="020B0502040204020203" pitchFamily="34" charset="0"/>
                <a:cs typeface="Segoe UI" panose="020B0502040204020203" pitchFamily="34" charset="0"/>
              </a:rPr>
              <a:t>Advanced CycleCloud + SLURM HPC job scheduler Integration!</a:t>
            </a:r>
            <a:endParaRPr kumimoji="0" lang="en-US" sz="1800" b="1" i="0" u="none" strike="noStrike" kern="1200" cap="none" spc="0" normalizeH="0" baseline="0" noProof="0">
              <a:ln>
                <a:noFill/>
              </a:ln>
              <a:effectLst/>
              <a:uLnTx/>
              <a:uFillTx/>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kumimoji="0" lang="en-US" sz="1800" i="0" u="none" strike="noStrike" kern="1200" cap="none" spc="0" normalizeH="0" baseline="0" noProof="0">
                <a:ln>
                  <a:noFill/>
                </a:ln>
                <a:effectLst/>
                <a:uLnTx/>
                <a:uFillTx/>
                <a:latin typeface="Segoe UI" panose="020B0502040204020203" pitchFamily="34" charset="0"/>
                <a:cs typeface="Segoe UI" panose="020B0502040204020203" pitchFamily="34" charset="0"/>
              </a:rPr>
              <a:t>Brings the following autoscaling capabilities to </a:t>
            </a:r>
            <a:r>
              <a:rPr kumimoji="0" lang="en-US" sz="1800" i="0" u="none" strike="noStrike" kern="1200" cap="none" spc="0" normalizeH="0" baseline="0" noProof="0" err="1">
                <a:ln>
                  <a:noFill/>
                </a:ln>
                <a:effectLst/>
                <a:uLnTx/>
                <a:uFillTx/>
                <a:latin typeface="Segoe UI" panose="020B0502040204020203" pitchFamily="34" charset="0"/>
                <a:cs typeface="Segoe UI" panose="020B0502040204020203" pitchFamily="34" charset="0"/>
              </a:rPr>
              <a:t>Slurm</a:t>
            </a:r>
            <a:r>
              <a:rPr kumimoji="0" lang="en-US" sz="1800" i="0" u="none" strike="noStrike" kern="1200" cap="none" spc="0" normalizeH="0" baseline="0" noProof="0">
                <a:ln>
                  <a:noFill/>
                </a:ln>
                <a:effectLst/>
                <a:uLnTx/>
                <a:uFillTx/>
                <a:latin typeface="Segoe UI" panose="020B0502040204020203" pitchFamily="34" charset="0"/>
                <a:cs typeface="Segoe UI" panose="020B0502040204020203" pitchFamily="34" charset="0"/>
              </a:rPr>
              <a:t> clusters: </a:t>
            </a:r>
          </a:p>
          <a:p>
            <a:pPr marL="742950" lvl="1" indent="-285750">
              <a:buFont typeface="Arial" panose="020B0604020202020204" pitchFamily="34" charset="0"/>
              <a:buChar char="•"/>
            </a:pPr>
            <a:r>
              <a:rPr kumimoji="0" lang="en-US" sz="1600" i="0" u="none" strike="noStrike" kern="1200" cap="none" spc="0" normalizeH="0" baseline="0" noProof="0">
                <a:ln>
                  <a:noFill/>
                </a:ln>
                <a:solidFill>
                  <a:srgbClr val="F89AF4"/>
                </a:solidFill>
                <a:effectLst/>
                <a:uLnTx/>
                <a:uFillTx/>
                <a:latin typeface="Segoe UI" panose="020B0502040204020203" pitchFamily="34" charset="0"/>
                <a:cs typeface="Segoe UI" panose="020B0502040204020203" pitchFamily="34" charset="0"/>
              </a:rPr>
              <a:t>Burst on-premises </a:t>
            </a:r>
            <a:r>
              <a:rPr kumimoji="0" lang="en-US" sz="1600" i="0" u="none" strike="noStrike" kern="1200" cap="none" spc="0" normalizeH="0" baseline="0" noProof="0" err="1">
                <a:ln>
                  <a:noFill/>
                </a:ln>
                <a:solidFill>
                  <a:srgbClr val="F89AF4"/>
                </a:solidFill>
                <a:effectLst/>
                <a:uLnTx/>
                <a:uFillTx/>
                <a:latin typeface="Segoe UI" panose="020B0502040204020203" pitchFamily="34" charset="0"/>
                <a:cs typeface="Segoe UI" panose="020B0502040204020203" pitchFamily="34" charset="0"/>
              </a:rPr>
              <a:t>Slurm</a:t>
            </a:r>
            <a:r>
              <a:rPr kumimoji="0" lang="en-US" sz="1600" i="0" u="none" strike="noStrike" kern="1200" cap="none" spc="0" normalizeH="0" baseline="0" noProof="0">
                <a:ln>
                  <a:noFill/>
                </a:ln>
                <a:solidFill>
                  <a:srgbClr val="F89AF4"/>
                </a:solidFill>
                <a:effectLst/>
                <a:uLnTx/>
                <a:uFillTx/>
                <a:latin typeface="Segoe UI" panose="020B0502040204020203" pitchFamily="34" charset="0"/>
                <a:cs typeface="Segoe UI" panose="020B0502040204020203" pitchFamily="34" charset="0"/>
              </a:rPr>
              <a:t> clusters to Azure</a:t>
            </a:r>
          </a:p>
          <a:p>
            <a:pPr marL="742950" lvl="1" indent="-285750">
              <a:buFont typeface="Arial" panose="020B0604020202020204" pitchFamily="34" charset="0"/>
              <a:buChar char="•"/>
            </a:pPr>
            <a:r>
              <a:rPr kumimoji="0" lang="en-US" sz="1600" i="0" u="none" strike="noStrike" kern="1200" cap="none" spc="0" normalizeH="0" baseline="0" noProof="0" err="1">
                <a:ln>
                  <a:noFill/>
                </a:ln>
                <a:solidFill>
                  <a:srgbClr val="F89AF4"/>
                </a:solidFill>
                <a:effectLst/>
                <a:uLnTx/>
                <a:uFillTx/>
                <a:latin typeface="Segoe UI" panose="020B0502040204020203" pitchFamily="34" charset="0"/>
                <a:cs typeface="Segoe UI" panose="020B0502040204020203" pitchFamily="34" charset="0"/>
              </a:rPr>
              <a:t>Slurm</a:t>
            </a:r>
            <a:r>
              <a:rPr kumimoji="0" lang="en-US" sz="1600" i="0" u="none" strike="noStrike" kern="1200" cap="none" spc="0" normalizeH="0" baseline="0" noProof="0">
                <a:ln>
                  <a:noFill/>
                </a:ln>
                <a:solidFill>
                  <a:srgbClr val="F89AF4"/>
                </a:solidFill>
                <a:effectLst/>
                <a:uLnTx/>
                <a:uFillTx/>
                <a:latin typeface="Segoe UI" panose="020B0502040204020203" pitchFamily="34" charset="0"/>
                <a:cs typeface="Segoe UI" panose="020B0502040204020203" pitchFamily="34" charset="0"/>
              </a:rPr>
              <a:t> clusters can now auto-scale across different VM families</a:t>
            </a:r>
          </a:p>
          <a:p>
            <a:pPr marL="742950" lvl="1" indent="-285750">
              <a:buFont typeface="Arial" panose="020B0604020202020204" pitchFamily="34" charset="0"/>
              <a:buChar char="•"/>
            </a:pPr>
            <a:r>
              <a:rPr kumimoji="0" lang="en-US" sz="1600" i="0" u="none" strike="noStrike" kern="1200" cap="none" spc="0" normalizeH="0" baseline="0" noProof="0">
                <a:ln>
                  <a:noFill/>
                </a:ln>
                <a:solidFill>
                  <a:srgbClr val="F89AF4"/>
                </a:solidFill>
                <a:effectLst/>
                <a:uLnTx/>
                <a:uFillTx/>
                <a:latin typeface="Segoe UI" panose="020B0502040204020203" pitchFamily="34" charset="0"/>
                <a:cs typeface="Segoe UI" panose="020B0502040204020203" pitchFamily="34" charset="0"/>
              </a:rPr>
              <a:t>Autoscaling for MPI jobs in </a:t>
            </a:r>
            <a:r>
              <a:rPr kumimoji="0" lang="en-US" sz="1600" i="0" u="none" strike="noStrike" kern="1200" cap="none" spc="0" normalizeH="0" baseline="0" noProof="0" err="1">
                <a:ln>
                  <a:noFill/>
                </a:ln>
                <a:solidFill>
                  <a:srgbClr val="F89AF4"/>
                </a:solidFill>
                <a:effectLst/>
                <a:uLnTx/>
                <a:uFillTx/>
                <a:latin typeface="Segoe UI" panose="020B0502040204020203" pitchFamily="34" charset="0"/>
                <a:cs typeface="Segoe UI" panose="020B0502040204020203" pitchFamily="34" charset="0"/>
              </a:rPr>
              <a:t>Slurm</a:t>
            </a:r>
            <a:r>
              <a:rPr kumimoji="0" lang="en-US" sz="1600" i="0" u="none" strike="noStrike" kern="1200" cap="none" spc="0" normalizeH="0" baseline="0" noProof="0">
                <a:ln>
                  <a:noFill/>
                </a:ln>
                <a:solidFill>
                  <a:srgbClr val="F89AF4"/>
                </a:solidFill>
                <a:effectLst/>
                <a:uLnTx/>
                <a:uFillTx/>
                <a:latin typeface="Segoe UI" panose="020B0502040204020203" pitchFamily="34" charset="0"/>
                <a:cs typeface="Segoe UI" panose="020B0502040204020203" pitchFamily="34" charset="0"/>
              </a:rPr>
              <a:t> are now placement group aware</a:t>
            </a:r>
          </a:p>
          <a:p>
            <a:endParaRPr kumimoji="0" lang="en-US" sz="2000" b="1" i="0" u="none" strike="noStrike" kern="1200" cap="none" spc="0" normalizeH="0" baseline="0" noProof="0">
              <a:ln>
                <a:noFill/>
              </a:ln>
              <a:solidFill>
                <a:srgbClr val="F89AF4"/>
              </a:solidFill>
              <a:effectLst/>
              <a:uLnTx/>
              <a:uFillTx/>
              <a:latin typeface="Segoe UI"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5729059E-DD6F-3865-DC67-7520335D3907}"/>
              </a:ext>
              <a:ext uri="{C183D7F6-B498-43B3-948B-1728B52AA6E4}">
                <adec:decorative xmlns:adec="http://schemas.microsoft.com/office/drawing/2017/decorative" val="1"/>
              </a:ext>
            </a:extLst>
          </p:cNvPr>
          <p:cNvSpPr/>
          <p:nvPr/>
        </p:nvSpPr>
        <p:spPr>
          <a:xfrm>
            <a:off x="0" y="5264124"/>
            <a:ext cx="12192000" cy="1628775"/>
          </a:xfrm>
          <a:prstGeom prst="rect">
            <a:avLst/>
          </a:prstGeom>
          <a:solidFill>
            <a:srgbClr val="7030A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 name="Rectangle 21">
            <a:extLst>
              <a:ext uri="{FF2B5EF4-FFF2-40B4-BE49-F238E27FC236}">
                <a16:creationId xmlns:a16="http://schemas.microsoft.com/office/drawing/2014/main" id="{53629F0A-B58E-9785-D372-3C0CA730DE22}"/>
              </a:ext>
              <a:ext uri="{C183D7F6-B498-43B3-948B-1728B52AA6E4}">
                <adec:decorative xmlns:adec="http://schemas.microsoft.com/office/drawing/2017/decorative" val="1"/>
              </a:ext>
            </a:extLst>
          </p:cNvPr>
          <p:cNvSpPr/>
          <p:nvPr/>
        </p:nvSpPr>
        <p:spPr>
          <a:xfrm>
            <a:off x="1214275" y="5443446"/>
            <a:ext cx="9763449"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I </a:t>
            </a:r>
            <a:r>
              <a:rPr kumimoji="0" lang="en-US" sz="1800" b="1" i="1"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must</a:t>
            </a:r>
            <a:r>
              <a:rPr kumimoji="0" lang="en-US" sz="1800" b="0" i="1"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offer compliments on CycleCloud 7.8; it's interacting </a:t>
            </a:r>
            <a:r>
              <a:rPr kumimoji="0" lang="en-US" sz="1800" b="1" i="1"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very</a:t>
            </a:r>
            <a:r>
              <a:rPr kumimoji="0" lang="en-US" sz="1800" b="0" i="1"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smoothly with SLURM. Nodes spin up and spin down as expected ...and provisioning is happening </a:t>
            </a:r>
            <a:r>
              <a:rPr kumimoji="0" lang="en-US" sz="1800" b="1" i="1"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much</a:t>
            </a:r>
            <a:r>
              <a:rPr kumimoji="0" lang="en-US" sz="1800" b="0" i="1"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more quickly and reliably. Honestly - </a:t>
            </a:r>
            <a:r>
              <a:rPr kumimoji="0" lang="en-US" sz="1800" b="1" i="1"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kudos</a:t>
            </a:r>
            <a:r>
              <a:rPr kumimoji="0" lang="en-US" sz="1800" b="0" i="1"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CycleCloud is now working </a:t>
            </a:r>
            <a:r>
              <a:rPr kumimoji="0" lang="en-US" sz="1800" b="1" i="1"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great</a:t>
            </a:r>
            <a:r>
              <a:rPr kumimoji="0" lang="en-US" sz="1800" b="0" i="1"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Happy Customer</a:t>
            </a:r>
          </a:p>
        </p:txBody>
      </p:sp>
    </p:spTree>
    <p:extLst>
      <p:ext uri="{BB962C8B-B14F-4D97-AF65-F5344CB8AC3E}">
        <p14:creationId xmlns:p14="http://schemas.microsoft.com/office/powerpoint/2010/main" val="37750206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
                                            <p:txEl>
                                              <p:pRg st="1" end="1"/>
                                            </p:txEl>
                                          </p:spTgt>
                                        </p:tgtEl>
                                        <p:attrNameLst>
                                          <p:attrName>style.visibility</p:attrName>
                                        </p:attrNameLst>
                                      </p:cBhvr>
                                      <p:to>
                                        <p:strVal val="visible"/>
                                      </p:to>
                                    </p:set>
                                    <p:animEffect transition="in" filter="fade">
                                      <p:cBhvr>
                                        <p:cTn id="14" dur="500"/>
                                        <p:tgtEl>
                                          <p:spTgt spid="4">
                                            <p:txEl>
                                              <p:pRg st="1" end="1"/>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
                                            <p:txEl>
                                              <p:pRg st="3" end="3"/>
                                            </p:txEl>
                                          </p:spTgt>
                                        </p:tgtEl>
                                        <p:attrNameLst>
                                          <p:attrName>style.visibility</p:attrName>
                                        </p:attrNameLst>
                                      </p:cBhvr>
                                      <p:to>
                                        <p:strVal val="visible"/>
                                      </p:to>
                                    </p:set>
                                    <p:animEffect transition="in" filter="fade">
                                      <p:cBhvr>
                                        <p:cTn id="20" dur="500"/>
                                        <p:tgtEl>
                                          <p:spTgt spid="4">
                                            <p:txEl>
                                              <p:pRg st="3" end="3"/>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animEffect transition="in" filter="fade">
                                      <p:cBhvr>
                                        <p:cTn id="23" dur="500"/>
                                        <p:tgtEl>
                                          <p:spTgt spid="4">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2"/>
                                        </p:tgtEl>
                                        <p:attrNameLst>
                                          <p:attrName>style.visibility</p:attrName>
                                        </p:attrNameLst>
                                      </p:cBhvr>
                                      <p:to>
                                        <p:strVal val="visible"/>
                                      </p:to>
                                    </p:set>
                                    <p:animEffect transition="in" filter="fade">
                                      <p:cBhvr>
                                        <p:cTn id="26" dur="500"/>
                                        <p:tgtEl>
                                          <p:spTgt spid="2"/>
                                        </p:tgtEl>
                                      </p:cBhvr>
                                    </p:animEffect>
                                  </p:childTnLst>
                                </p:cTn>
                              </p:par>
                            </p:childTnLst>
                          </p:cTn>
                        </p:par>
                        <p:par>
                          <p:cTn id="27" fill="hold">
                            <p:stCondLst>
                              <p:cond delay="1000"/>
                            </p:stCondLst>
                            <p:childTnLst>
                              <p:par>
                                <p:cTn id="28" presetID="2" presetClass="entr" presetSubtype="4" fill="hold" grpId="0" nodeType="afterEffect">
                                  <p:stCondLst>
                                    <p:cond delay="0"/>
                                  </p:stCondLst>
                                  <p:childTnLst>
                                    <p:set>
                                      <p:cBhvr>
                                        <p:cTn id="29" dur="1" fill="hold">
                                          <p:stCondLst>
                                            <p:cond delay="0"/>
                                          </p:stCondLst>
                                        </p:cTn>
                                        <p:tgtEl>
                                          <p:spTgt spid="21"/>
                                        </p:tgtEl>
                                        <p:attrNameLst>
                                          <p:attrName>style.visibility</p:attrName>
                                        </p:attrNameLst>
                                      </p:cBhvr>
                                      <p:to>
                                        <p:strVal val="visible"/>
                                      </p:to>
                                    </p:set>
                                    <p:anim calcmode="lin" valueType="num">
                                      <p:cBhvr additive="base">
                                        <p:cTn id="30" dur="250" fill="hold"/>
                                        <p:tgtEl>
                                          <p:spTgt spid="21"/>
                                        </p:tgtEl>
                                        <p:attrNameLst>
                                          <p:attrName>ppt_x</p:attrName>
                                        </p:attrNameLst>
                                      </p:cBhvr>
                                      <p:tavLst>
                                        <p:tav tm="0">
                                          <p:val>
                                            <p:strVal val="#ppt_x"/>
                                          </p:val>
                                        </p:tav>
                                        <p:tav tm="100000">
                                          <p:val>
                                            <p:strVal val="#ppt_x"/>
                                          </p:val>
                                        </p:tav>
                                      </p:tavLst>
                                    </p:anim>
                                    <p:anim calcmode="lin" valueType="num">
                                      <p:cBhvr additive="base">
                                        <p:cTn id="31" dur="250" fill="hold"/>
                                        <p:tgtEl>
                                          <p:spTgt spid="21"/>
                                        </p:tgtEl>
                                        <p:attrNameLst>
                                          <p:attrName>ppt_y</p:attrName>
                                        </p:attrNameLst>
                                      </p:cBhvr>
                                      <p:tavLst>
                                        <p:tav tm="0">
                                          <p:val>
                                            <p:strVal val="1+#ppt_h/2"/>
                                          </p:val>
                                        </p:tav>
                                        <p:tav tm="100000">
                                          <p:val>
                                            <p:strVal val="#ppt_y"/>
                                          </p:val>
                                        </p:tav>
                                      </p:tavLst>
                                    </p:anim>
                                  </p:childTnLst>
                                </p:cTn>
                              </p:par>
                            </p:childTnLst>
                          </p:cTn>
                        </p:par>
                        <p:par>
                          <p:cTn id="32" fill="hold">
                            <p:stCondLst>
                              <p:cond delay="1250"/>
                            </p:stCondLst>
                            <p:childTnLst>
                              <p:par>
                                <p:cTn id="33" presetID="10" presetClass="entr" presetSubtype="0" fill="hold" grpId="0" nodeType="afterEffect">
                                  <p:stCondLst>
                                    <p:cond delay="0"/>
                                  </p:stCondLst>
                                  <p:childTnLst>
                                    <p:set>
                                      <p:cBhvr>
                                        <p:cTn id="34" dur="1" fill="hold">
                                          <p:stCondLst>
                                            <p:cond delay="0"/>
                                          </p:stCondLst>
                                        </p:cTn>
                                        <p:tgtEl>
                                          <p:spTgt spid="22"/>
                                        </p:tgtEl>
                                        <p:attrNameLst>
                                          <p:attrName>style.visibility</p:attrName>
                                        </p:attrNameLst>
                                      </p:cBhvr>
                                      <p:to>
                                        <p:strVal val="visible"/>
                                      </p:to>
                                    </p:set>
                                    <p:animEffect transition="in" filter="fade">
                                      <p:cBhvr>
                                        <p:cTn id="35" dur="25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4" grpId="0" uiExpand="1" build="p"/>
      <p:bldP spid="21" grpId="0" animBg="1"/>
      <p:bldP spid="2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6EC01-5336-CB54-8812-07BA7020A9FB}"/>
              </a:ext>
            </a:extLst>
          </p:cNvPr>
          <p:cNvSpPr>
            <a:spLocks noGrp="1"/>
          </p:cNvSpPr>
          <p:nvPr>
            <p:ph type="title"/>
          </p:nvPr>
        </p:nvSpPr>
        <p:spPr/>
        <p:txBody>
          <a:bodyPr/>
          <a:lstStyle/>
          <a:p>
            <a:r>
              <a:rPr lang="en-IN"/>
              <a:t>Terraform</a:t>
            </a:r>
          </a:p>
        </p:txBody>
      </p:sp>
      <p:sp>
        <p:nvSpPr>
          <p:cNvPr id="3" name="Text Placeholder 2">
            <a:extLst>
              <a:ext uri="{FF2B5EF4-FFF2-40B4-BE49-F238E27FC236}">
                <a16:creationId xmlns:a16="http://schemas.microsoft.com/office/drawing/2014/main" id="{B3E35195-19AD-F2F5-972E-4E2265A091BE}"/>
              </a:ext>
            </a:extLst>
          </p:cNvPr>
          <p:cNvSpPr>
            <a:spLocks noGrp="1"/>
          </p:cNvSpPr>
          <p:nvPr>
            <p:ph type="body" sz="quarter" idx="10"/>
          </p:nvPr>
        </p:nvSpPr>
        <p:spPr/>
        <p:txBody>
          <a:bodyPr/>
          <a:lstStyle/>
          <a:p>
            <a:r>
              <a:rPr kumimoji="0" lang="en-US" sz="1800" b="0" i="0" u="none" strike="noStrike" kern="0" cap="none" spc="0" normalizeH="0" baseline="0" noProof="0">
                <a:ln>
                  <a:noFill/>
                </a:ln>
                <a:solidFill>
                  <a:srgbClr val="F89AF4"/>
                </a:solidFill>
                <a:effectLst/>
                <a:uLnTx/>
                <a:uFillTx/>
                <a:latin typeface="Segoe UI" panose="020B0502040204020203" pitchFamily="34" charset="0"/>
                <a:cs typeface="Segoe UI" panose="020B0502040204020203" pitchFamily="34" charset="0"/>
              </a:rPr>
              <a:t>Azure DevOps Tool Integrations</a:t>
            </a:r>
          </a:p>
          <a:p>
            <a:r>
              <a:rPr lang="en-US" sz="1800">
                <a:latin typeface="Segoe UI" panose="020B0502040204020203" pitchFamily="34" charset="0"/>
                <a:cs typeface="Segoe UI" panose="020B0502040204020203" pitchFamily="34" charset="0"/>
              </a:rPr>
              <a:t>Bringing native Azure support for customers using Terraform</a:t>
            </a:r>
          </a:p>
          <a:p>
            <a:pPr marL="793345" lvl="1" indent="-336145">
              <a:spcAft>
                <a:spcPts val="1176"/>
              </a:spcAft>
              <a:buClr>
                <a:schemeClr val="tx1"/>
              </a:buClr>
              <a:buFont typeface="Arial" panose="020B0604020202020204" pitchFamily="34" charset="0"/>
              <a:buChar char="•"/>
            </a:pPr>
            <a:r>
              <a:rPr lang="en-US" sz="1600">
                <a:solidFill>
                  <a:srgbClr val="F89AF4"/>
                </a:solidFill>
                <a:latin typeface="Segoe UI" panose="020B0502040204020203" pitchFamily="34" charset="0"/>
                <a:cs typeface="Segoe UI" panose="020B0502040204020203" pitchFamily="34" charset="0"/>
                <a:hlinkClick r:id="rId2">
                  <a:extLst>
                    <a:ext uri="{A12FA001-AC4F-418D-AE19-62706E023703}">
                      <ahyp:hlinkClr xmlns:ahyp="http://schemas.microsoft.com/office/drawing/2018/hyperlinkcolor" val="tx"/>
                    </a:ext>
                  </a:extLst>
                </a:hlinkClick>
              </a:rPr>
              <a:t>Documentation Hub for Terraform</a:t>
            </a:r>
            <a:endParaRPr lang="en-US" sz="1600">
              <a:solidFill>
                <a:srgbClr val="F89AF4"/>
              </a:solidFill>
              <a:latin typeface="Segoe UI" panose="020B0502040204020203" pitchFamily="34" charset="0"/>
              <a:cs typeface="Segoe UI" panose="020B0502040204020203" pitchFamily="34" charset="0"/>
            </a:endParaRPr>
          </a:p>
          <a:p>
            <a:pPr marL="793345" lvl="1" indent="-336145">
              <a:spcAft>
                <a:spcPts val="1176"/>
              </a:spcAft>
              <a:buClr>
                <a:schemeClr val="tx1"/>
              </a:buClr>
              <a:buFont typeface="Arial" panose="020B0604020202020204" pitchFamily="34" charset="0"/>
              <a:buChar char="•"/>
            </a:pPr>
            <a:r>
              <a:rPr lang="en-US" sz="1600">
                <a:solidFill>
                  <a:srgbClr val="F89AF4"/>
                </a:solidFill>
                <a:latin typeface="Segoe UI" panose="020B0502040204020203" pitchFamily="34" charset="0"/>
                <a:cs typeface="Segoe UI" panose="020B0502040204020203" pitchFamily="34" charset="0"/>
                <a:hlinkClick r:id="rId3">
                  <a:extLst>
                    <a:ext uri="{A12FA001-AC4F-418D-AE19-62706E023703}">
                      <ahyp:hlinkClr xmlns:ahyp="http://schemas.microsoft.com/office/drawing/2018/hyperlinkcolor" val="tx"/>
                    </a:ext>
                  </a:extLst>
                </a:hlinkClick>
              </a:rPr>
              <a:t>Terraform in Azure Cloud Shell</a:t>
            </a:r>
            <a:endParaRPr lang="en-US" sz="1600">
              <a:solidFill>
                <a:srgbClr val="F89AF4"/>
              </a:solidFill>
              <a:latin typeface="Segoe UI" panose="020B0502040204020203" pitchFamily="34" charset="0"/>
              <a:cs typeface="Segoe UI" panose="020B0502040204020203" pitchFamily="34" charset="0"/>
              <a:hlinkClick r:id="" action="ppaction://noaction">
                <a:extLst>
                  <a:ext uri="{A12FA001-AC4F-418D-AE19-62706E023703}">
                    <ahyp:hlinkClr xmlns:ahyp="http://schemas.microsoft.com/office/drawing/2018/hyperlinkcolor" val="tx"/>
                  </a:ext>
                </a:extLst>
              </a:hlinkClick>
            </a:endParaRPr>
          </a:p>
          <a:p>
            <a:pPr marL="793345" lvl="1" indent="-336145">
              <a:spcAft>
                <a:spcPts val="1176"/>
              </a:spcAft>
              <a:buClr>
                <a:schemeClr val="tx1"/>
              </a:buClr>
              <a:buFont typeface="Arial" panose="020B0604020202020204" pitchFamily="34" charset="0"/>
              <a:buChar char="•"/>
            </a:pPr>
            <a:r>
              <a:rPr lang="en-US" sz="1600">
                <a:solidFill>
                  <a:srgbClr val="F89AF4"/>
                </a:solidFill>
                <a:latin typeface="Segoe UI" panose="020B0502040204020203" pitchFamily="34" charset="0"/>
                <a:cs typeface="Segoe UI" panose="020B0502040204020203" pitchFamily="34" charset="0"/>
                <a:hlinkClick r:id="" action="ppaction://noaction">
                  <a:extLst>
                    <a:ext uri="{A12FA001-AC4F-418D-AE19-62706E023703}">
                      <ahyp:hlinkClr xmlns:ahyp="http://schemas.microsoft.com/office/drawing/2018/hyperlinkcolor" val="tx"/>
                    </a:ext>
                  </a:extLst>
                </a:hlinkClick>
              </a:rPr>
              <a:t>Azure Resource Provider</a:t>
            </a:r>
            <a:endParaRPr lang="en-US" sz="1600">
              <a:solidFill>
                <a:srgbClr val="F89AF4"/>
              </a:solidFill>
              <a:latin typeface="Segoe UI" panose="020B0502040204020203" pitchFamily="34" charset="0"/>
              <a:cs typeface="Segoe UI" panose="020B0502040204020203" pitchFamily="34" charset="0"/>
            </a:endParaRPr>
          </a:p>
          <a:p>
            <a:pPr marL="793345" lvl="1" indent="-336145">
              <a:spcAft>
                <a:spcPts val="1176"/>
              </a:spcAft>
              <a:buClr>
                <a:schemeClr val="tx1"/>
              </a:buClr>
              <a:buFont typeface="Arial" panose="020B0604020202020204" pitchFamily="34" charset="0"/>
              <a:buChar char="•"/>
            </a:pPr>
            <a:r>
              <a:rPr lang="en-US" sz="1600">
                <a:solidFill>
                  <a:srgbClr val="F89AF4"/>
                </a:solidFill>
                <a:latin typeface="Segoe UI" panose="020B0502040204020203" pitchFamily="34" charset="0"/>
                <a:cs typeface="Segoe UI" panose="020B0502040204020203" pitchFamily="34" charset="0"/>
                <a:hlinkClick r:id="rId4">
                  <a:extLst>
                    <a:ext uri="{A12FA001-AC4F-418D-AE19-62706E023703}">
                      <ahyp:hlinkClr xmlns:ahyp="http://schemas.microsoft.com/office/drawing/2018/hyperlinkcolor" val="tx"/>
                    </a:ext>
                  </a:extLst>
                </a:hlinkClick>
              </a:rPr>
              <a:t>Azure Module Registry</a:t>
            </a:r>
            <a:endParaRPr lang="en-US" sz="1600">
              <a:solidFill>
                <a:srgbClr val="F89AF4"/>
              </a:solidFill>
              <a:latin typeface="Segoe UI" panose="020B0502040204020203" pitchFamily="34" charset="0"/>
              <a:cs typeface="Segoe UI" panose="020B0502040204020203" pitchFamily="34" charset="0"/>
            </a:endParaRPr>
          </a:p>
          <a:p>
            <a:pPr marL="793345" lvl="1" indent="-336145">
              <a:spcAft>
                <a:spcPts val="1176"/>
              </a:spcAft>
              <a:buClr>
                <a:schemeClr val="tx1"/>
              </a:buClr>
              <a:buFont typeface="Arial" panose="020B0604020202020204" pitchFamily="34" charset="0"/>
              <a:buChar char="•"/>
            </a:pPr>
            <a:r>
              <a:rPr lang="en-US" sz="1600">
                <a:solidFill>
                  <a:srgbClr val="F89AF4"/>
                </a:solidFill>
                <a:latin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Azure Cloud Shell Integration</a:t>
            </a:r>
            <a:endParaRPr lang="en-IN" sz="1600">
              <a:solidFill>
                <a:srgbClr val="F89AF4"/>
              </a:solidFill>
              <a:latin typeface="Segoe UI" panose="020B0502040204020203" pitchFamily="34" charset="0"/>
              <a:cs typeface="Segoe UI" panose="020B0502040204020203" pitchFamily="34" charset="0"/>
            </a:endParaRPr>
          </a:p>
        </p:txBody>
      </p:sp>
      <p:sp>
        <p:nvSpPr>
          <p:cNvPr id="5" name="Text Placeholder 3">
            <a:extLst>
              <a:ext uri="{FF2B5EF4-FFF2-40B4-BE49-F238E27FC236}">
                <a16:creationId xmlns:a16="http://schemas.microsoft.com/office/drawing/2014/main" id="{B9C1D823-250C-79D6-2F2B-1489D5353964}"/>
              </a:ext>
            </a:extLst>
          </p:cNvPr>
          <p:cNvSpPr txBox="1">
            <a:spLocks/>
          </p:cNvSpPr>
          <p:nvPr/>
        </p:nvSpPr>
        <p:spPr>
          <a:xfrm>
            <a:off x="996876" y="5591175"/>
            <a:ext cx="4695223" cy="27699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solidFill>
                  <a:srgbClr val="F89AF4"/>
                </a:solidFill>
                <a:effectLst/>
                <a:uLnTx/>
                <a:uFillTx/>
                <a:latin typeface="Segoe UI Semibold" panose="020B0702040204020203" pitchFamily="34" charset="0"/>
                <a:ea typeface="+mn-ea"/>
                <a:cs typeface="Segoe UI Semibold" panose="020B0702040204020203" pitchFamily="34" charset="0"/>
              </a:rPr>
              <a:t>docs.microsoft.com/azure/terraform</a:t>
            </a:r>
          </a:p>
        </p:txBody>
      </p:sp>
      <p:sp>
        <p:nvSpPr>
          <p:cNvPr id="6" name="Oval 5">
            <a:extLst>
              <a:ext uri="{FF2B5EF4-FFF2-40B4-BE49-F238E27FC236}">
                <a16:creationId xmlns:a16="http://schemas.microsoft.com/office/drawing/2014/main" id="{19933413-A87F-0A36-F66B-AB8C1BFC2EFB}"/>
              </a:ext>
            </a:extLst>
          </p:cNvPr>
          <p:cNvSpPr/>
          <p:nvPr/>
        </p:nvSpPr>
        <p:spPr bwMode="auto">
          <a:xfrm>
            <a:off x="426425" y="5530100"/>
            <a:ext cx="420039" cy="420037"/>
          </a:xfrm>
          <a:prstGeom prst="ellipse">
            <a:avLst/>
          </a:prstGeom>
          <a:noFill/>
          <a:ln w="28575" cap="flat" cmpd="sng" algn="ctr">
            <a:solidFill>
              <a:srgbClr val="EF87ED"/>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a:ln w="19050">
                  <a:noFill/>
                </a:ln>
                <a:solidFill>
                  <a:srgbClr val="F89AF4"/>
                </a:solidFill>
                <a:effectLst/>
                <a:uLnTx/>
                <a:uFillTx/>
                <a:latin typeface="Segoe UI"/>
                <a:ea typeface="Segoe UI" pitchFamily="34" charset="0"/>
                <a:cs typeface="Segoe UI" pitchFamily="34" charset="0"/>
                <a:sym typeface="Wingdings" panose="05000000000000000000" pitchFamily="2" charset="2"/>
              </a:rPr>
              <a:t></a:t>
            </a:r>
            <a:endParaRPr kumimoji="0" lang="en-US" sz="1961" b="0" i="0" u="none" strike="noStrike" kern="0" cap="none" spc="0" normalizeH="0" baseline="0" noProof="0">
              <a:ln w="19050">
                <a:noFill/>
              </a:ln>
              <a:solidFill>
                <a:srgbClr val="F89AF4"/>
              </a:solidFill>
              <a:effectLst/>
              <a:uLnTx/>
              <a:uFillTx/>
              <a:latin typeface="Segoe UI"/>
              <a:ea typeface="Segoe UI" pitchFamily="34" charset="0"/>
              <a:cs typeface="Segoe UI" pitchFamily="34" charset="0"/>
            </a:endParaRPr>
          </a:p>
        </p:txBody>
      </p:sp>
      <p:grpSp>
        <p:nvGrpSpPr>
          <p:cNvPr id="9" name="Group 8">
            <a:extLst>
              <a:ext uri="{FF2B5EF4-FFF2-40B4-BE49-F238E27FC236}">
                <a16:creationId xmlns:a16="http://schemas.microsoft.com/office/drawing/2014/main" id="{9AEFE56C-A93C-5613-97EF-808E60EAB9E8}"/>
              </a:ext>
            </a:extLst>
          </p:cNvPr>
          <p:cNvGrpSpPr/>
          <p:nvPr/>
        </p:nvGrpSpPr>
        <p:grpSpPr>
          <a:xfrm>
            <a:off x="6096000" y="1016524"/>
            <a:ext cx="6096000" cy="5172195"/>
            <a:chOff x="6096000" y="970223"/>
            <a:chExt cx="6096000" cy="5172195"/>
          </a:xfrm>
        </p:grpSpPr>
        <p:pic>
          <p:nvPicPr>
            <p:cNvPr id="8" name="Picture 7">
              <a:extLst>
                <a:ext uri="{FF2B5EF4-FFF2-40B4-BE49-F238E27FC236}">
                  <a16:creationId xmlns:a16="http://schemas.microsoft.com/office/drawing/2014/main" id="{D8C311F4-6ECA-D84A-E8A1-A60C20DC3A40}"/>
                </a:ext>
              </a:extLst>
            </p:cNvPr>
            <p:cNvPicPr>
              <a:picLocks noChangeAspect="1"/>
            </p:cNvPicPr>
            <p:nvPr/>
          </p:nvPicPr>
          <p:blipFill rotWithShape="1">
            <a:blip r:embed="rId6">
              <a:extLst>
                <a:ext uri="{28A0092B-C50C-407E-A947-70E740481C1C}">
                  <a14:useLocalDpi xmlns:a14="http://schemas.microsoft.com/office/drawing/2010/main" val="0"/>
                </a:ext>
              </a:extLst>
            </a:blip>
            <a:srcRect b="19862"/>
            <a:stretch/>
          </p:blipFill>
          <p:spPr>
            <a:xfrm>
              <a:off x="7145763" y="1681064"/>
              <a:ext cx="5046237" cy="3692144"/>
            </a:xfrm>
            <a:prstGeom prst="rect">
              <a:avLst/>
            </a:prstGeom>
          </p:spPr>
        </p:pic>
        <p:pic>
          <p:nvPicPr>
            <p:cNvPr id="7" name="Online Image Placeholder 6" descr="A picture containing screenshot&#10;&#10;Description generated with very high confidence">
              <a:extLst>
                <a:ext uri="{FF2B5EF4-FFF2-40B4-BE49-F238E27FC236}">
                  <a16:creationId xmlns:a16="http://schemas.microsoft.com/office/drawing/2014/main" id="{E44B64F4-8162-C43A-7BF7-53EB481A14F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96000" y="970223"/>
              <a:ext cx="6096000" cy="5172195"/>
            </a:xfrm>
            <a:prstGeom prst="rect">
              <a:avLst/>
            </a:prstGeom>
          </p:spPr>
        </p:pic>
      </p:grpSp>
    </p:spTree>
    <p:extLst>
      <p:ext uri="{BB962C8B-B14F-4D97-AF65-F5344CB8AC3E}">
        <p14:creationId xmlns:p14="http://schemas.microsoft.com/office/powerpoint/2010/main" val="339005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500"/>
                                        <p:tgtEl>
                                          <p:spTgt spid="3">
                                            <p:txEl>
                                              <p:pRg st="1" end="1"/>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2" presetClass="entr" presetSubtype="6" fill="hold" nodeType="withEffect">
                                  <p:stCondLst>
                                    <p:cond delay="0"/>
                                  </p:stCondLst>
                                  <p:childTnLst>
                                    <p:set>
                                      <p:cBhvr>
                                        <p:cTn id="31" dur="1" fill="hold">
                                          <p:stCondLst>
                                            <p:cond delay="0"/>
                                          </p:stCondLst>
                                        </p:cTn>
                                        <p:tgtEl>
                                          <p:spTgt spid="9"/>
                                        </p:tgtEl>
                                        <p:attrNameLst>
                                          <p:attrName>style.visibility</p:attrName>
                                        </p:attrNameLst>
                                      </p:cBhvr>
                                      <p:to>
                                        <p:strVal val="visible"/>
                                      </p:to>
                                    </p:set>
                                    <p:anim calcmode="lin" valueType="num">
                                      <p:cBhvr additive="base">
                                        <p:cTn id="32" dur="500" fill="hold"/>
                                        <p:tgtEl>
                                          <p:spTgt spid="9"/>
                                        </p:tgtEl>
                                        <p:attrNameLst>
                                          <p:attrName>ppt_x</p:attrName>
                                        </p:attrNameLst>
                                      </p:cBhvr>
                                      <p:tavLst>
                                        <p:tav tm="0">
                                          <p:val>
                                            <p:strVal val="1+#ppt_w/2"/>
                                          </p:val>
                                        </p:tav>
                                        <p:tav tm="100000">
                                          <p:val>
                                            <p:strVal val="#ppt_x"/>
                                          </p:val>
                                        </p:tav>
                                      </p:tavLst>
                                    </p:anim>
                                    <p:anim calcmode="lin" valueType="num">
                                      <p:cBhvr additive="base">
                                        <p:cTn id="33" dur="500" fill="hold"/>
                                        <p:tgtEl>
                                          <p:spTgt spid="9"/>
                                        </p:tgtEl>
                                        <p:attrNameLst>
                                          <p:attrName>ppt_y</p:attrName>
                                        </p:attrNameLst>
                                      </p:cBhvr>
                                      <p:tavLst>
                                        <p:tav tm="0">
                                          <p:val>
                                            <p:strVal val="1+#ppt_h/2"/>
                                          </p:val>
                                        </p:tav>
                                        <p:tav tm="100000">
                                          <p:val>
                                            <p:strVal val="#ppt_y"/>
                                          </p:val>
                                        </p:tav>
                                      </p:tavLst>
                                    </p:anim>
                                  </p:childTnLst>
                                </p:cTn>
                              </p:par>
                            </p:childTnLst>
                          </p:cTn>
                        </p:par>
                        <p:par>
                          <p:cTn id="34" fill="hold">
                            <p:stCondLst>
                              <p:cond delay="1000"/>
                            </p:stCondLst>
                            <p:childTnLst>
                              <p:par>
                                <p:cTn id="35" presetID="22" presetClass="entr" presetSubtype="8" fill="hold" grpId="0" nodeType="after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wipe(left)">
                                      <p:cBhvr>
                                        <p:cTn id="37" dur="250"/>
                                        <p:tgtEl>
                                          <p:spTgt spid="6"/>
                                        </p:tgtEl>
                                      </p:cBhvr>
                                    </p:animEffect>
                                  </p:childTnLst>
                                </p:cTn>
                              </p:par>
                            </p:childTnLst>
                          </p:cTn>
                        </p:par>
                        <p:par>
                          <p:cTn id="38" fill="hold">
                            <p:stCondLst>
                              <p:cond delay="1250"/>
                            </p:stCondLst>
                            <p:childTnLst>
                              <p:par>
                                <p:cTn id="39" presetID="22" presetClass="entr" presetSubtype="8" fill="hold" nodeType="afterEffect">
                                  <p:stCondLst>
                                    <p:cond delay="0"/>
                                  </p:stCondLst>
                                  <p:childTnLst>
                                    <p:set>
                                      <p:cBhvr>
                                        <p:cTn id="40" dur="1" fill="hold">
                                          <p:stCondLst>
                                            <p:cond delay="0"/>
                                          </p:stCondLst>
                                        </p:cTn>
                                        <p:tgtEl>
                                          <p:spTgt spid="5">
                                            <p:txEl>
                                              <p:pRg st="0" end="0"/>
                                            </p:txEl>
                                          </p:spTgt>
                                        </p:tgtEl>
                                        <p:attrNameLst>
                                          <p:attrName>style.visibility</p:attrName>
                                        </p:attrNameLst>
                                      </p:cBhvr>
                                      <p:to>
                                        <p:strVal val="visible"/>
                                      </p:to>
                                    </p:set>
                                    <p:animEffect transition="in" filter="wipe(left)">
                                      <p:cBhvr>
                                        <p:cTn id="4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P spid="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85D5A-2441-9BBB-1189-6BA372D41D58}"/>
              </a:ext>
            </a:extLst>
          </p:cNvPr>
          <p:cNvSpPr>
            <a:spLocks noGrp="1"/>
          </p:cNvSpPr>
          <p:nvPr>
            <p:ph type="title"/>
          </p:nvPr>
        </p:nvSpPr>
        <p:spPr/>
        <p:txBody>
          <a:bodyPr>
            <a:normAutofit/>
          </a:bodyPr>
          <a:lstStyle/>
          <a:p>
            <a:r>
              <a:rPr lang="en-CA" dirty="0"/>
              <a:t>Agenda</a:t>
            </a:r>
          </a:p>
        </p:txBody>
      </p:sp>
      <p:sp>
        <p:nvSpPr>
          <p:cNvPr id="3" name="Content Placeholder 2">
            <a:extLst>
              <a:ext uri="{FF2B5EF4-FFF2-40B4-BE49-F238E27FC236}">
                <a16:creationId xmlns:a16="http://schemas.microsoft.com/office/drawing/2014/main" id="{C2714CCA-6290-CF17-2FB6-6FFECA34011B}"/>
              </a:ext>
            </a:extLst>
          </p:cNvPr>
          <p:cNvSpPr>
            <a:spLocks noGrp="1"/>
          </p:cNvSpPr>
          <p:nvPr>
            <p:ph type="body" sz="quarter" idx="10"/>
          </p:nvPr>
        </p:nvSpPr>
        <p:spPr>
          <a:prstGeom prst="rect">
            <a:avLst/>
          </a:prstGeom>
        </p:spPr>
        <p:txBody>
          <a:bodyPr/>
          <a:lstStyle/>
          <a:p>
            <a:pPr marL="342900" indent="-342900">
              <a:spcBef>
                <a:spcPts val="1200"/>
              </a:spcBef>
              <a:buFont typeface="Arial" panose="020B0604020202020204" pitchFamily="34" charset="0"/>
              <a:buChar char="•"/>
            </a:pPr>
            <a:r>
              <a:rPr lang="en-US" dirty="0">
                <a:latin typeface="Segoe UI "/>
              </a:rPr>
              <a:t>Introduction </a:t>
            </a:r>
          </a:p>
          <a:p>
            <a:pPr marL="342900" indent="-342900">
              <a:spcBef>
                <a:spcPts val="1200"/>
              </a:spcBef>
              <a:buFont typeface="Arial" panose="020B0604020202020204" pitchFamily="34" charset="0"/>
              <a:buChar char="•"/>
            </a:pPr>
            <a:r>
              <a:rPr lang="en-US" dirty="0">
                <a:latin typeface="Segoe UI "/>
              </a:rPr>
              <a:t>Problem Statement </a:t>
            </a:r>
          </a:p>
          <a:p>
            <a:pPr marL="342900" indent="-342900">
              <a:spcBef>
                <a:spcPts val="1200"/>
              </a:spcBef>
              <a:buFont typeface="Arial" panose="020B0604020202020204" pitchFamily="34" charset="0"/>
              <a:buChar char="•"/>
            </a:pPr>
            <a:r>
              <a:rPr lang="en-US" dirty="0">
                <a:latin typeface="Segoe UI "/>
              </a:rPr>
              <a:t>Solution </a:t>
            </a:r>
          </a:p>
          <a:p>
            <a:pPr marL="800100" lvl="1" indent="-342900">
              <a:spcBef>
                <a:spcPts val="1200"/>
              </a:spcBef>
              <a:buFont typeface="Arial" panose="020B0604020202020204" pitchFamily="34" charset="0"/>
              <a:buChar char="•"/>
            </a:pPr>
            <a:r>
              <a:rPr lang="en-US" sz="1600" dirty="0">
                <a:solidFill>
                  <a:srgbClr val="FF8FFA"/>
                </a:solidFill>
                <a:latin typeface="Segoe UI "/>
                <a:cs typeface="+mn-cs"/>
              </a:rPr>
              <a:t>Components </a:t>
            </a:r>
          </a:p>
          <a:p>
            <a:pPr marL="800100" lvl="1" indent="-342900">
              <a:spcBef>
                <a:spcPts val="1200"/>
              </a:spcBef>
              <a:buFont typeface="Arial" panose="020B0604020202020204" pitchFamily="34" charset="0"/>
              <a:buChar char="•"/>
            </a:pPr>
            <a:r>
              <a:rPr lang="en-US" sz="1600" dirty="0">
                <a:solidFill>
                  <a:srgbClr val="FF8FFA"/>
                </a:solidFill>
                <a:latin typeface="Segoe UI "/>
                <a:cs typeface="+mn-cs"/>
              </a:rPr>
              <a:t>Implementation </a:t>
            </a:r>
          </a:p>
          <a:p>
            <a:pPr marL="342900" indent="-342900">
              <a:spcBef>
                <a:spcPts val="1200"/>
              </a:spcBef>
              <a:buFont typeface="Arial" panose="020B0604020202020204" pitchFamily="34" charset="0"/>
              <a:buChar char="•"/>
            </a:pPr>
            <a:r>
              <a:rPr lang="en-US" dirty="0">
                <a:latin typeface="Segoe UI "/>
              </a:rPr>
              <a:t>Hands-On Exercises </a:t>
            </a:r>
          </a:p>
          <a:p>
            <a:pPr marL="342900" indent="-342900">
              <a:spcBef>
                <a:spcPts val="1200"/>
              </a:spcBef>
              <a:buFont typeface="Arial" panose="020B0604020202020204" pitchFamily="34" charset="0"/>
              <a:buChar char="•"/>
            </a:pPr>
            <a:r>
              <a:rPr lang="en-US" dirty="0">
                <a:latin typeface="Segoe UI "/>
              </a:rPr>
              <a:t>Discussion</a:t>
            </a:r>
          </a:p>
        </p:txBody>
      </p:sp>
      <p:pic>
        <p:nvPicPr>
          <p:cNvPr id="6" name="Picture 5" descr="A person with his hand on his chin&#10;&#10;Description automatically generated with low confidence">
            <a:extLst>
              <a:ext uri="{FF2B5EF4-FFF2-40B4-BE49-F238E27FC236}">
                <a16:creationId xmlns:a16="http://schemas.microsoft.com/office/drawing/2014/main" id="{A6065E32-A446-F858-F46C-1AB014650F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5854" y="1346199"/>
            <a:ext cx="6002944" cy="4001963"/>
          </a:xfrm>
          <a:prstGeom prst="rect">
            <a:avLst/>
          </a:prstGeom>
          <a:effectLst>
            <a:glow rad="101600">
              <a:srgbClr val="7030A0">
                <a:alpha val="40000"/>
              </a:srgbClr>
            </a:glow>
          </a:effectLst>
          <a:scene3d>
            <a:camera prst="perspectiveLeft">
              <a:rot lat="0" lon="1800000" rev="0"/>
            </a:camera>
            <a:lightRig rig="threePt" dir="t"/>
          </a:scene3d>
        </p:spPr>
      </p:pic>
    </p:spTree>
    <p:extLst>
      <p:ext uri="{BB962C8B-B14F-4D97-AF65-F5344CB8AC3E}">
        <p14:creationId xmlns:p14="http://schemas.microsoft.com/office/powerpoint/2010/main" val="4732878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0EC007E-D483-2EB8-FD4C-28781FF8A0AC}"/>
              </a:ext>
            </a:extLst>
          </p:cNvPr>
          <p:cNvSpPr>
            <a:spLocks noGrp="1"/>
          </p:cNvSpPr>
          <p:nvPr>
            <p:ph type="title"/>
          </p:nvPr>
        </p:nvSpPr>
        <p:spPr/>
        <p:txBody>
          <a:bodyPr/>
          <a:lstStyle/>
          <a:p>
            <a:r>
              <a:rPr lang="en-CA"/>
              <a:t>Solution Implementation</a:t>
            </a:r>
          </a:p>
        </p:txBody>
      </p:sp>
    </p:spTree>
    <p:extLst>
      <p:ext uri="{BB962C8B-B14F-4D97-AF65-F5344CB8AC3E}">
        <p14:creationId xmlns:p14="http://schemas.microsoft.com/office/powerpoint/2010/main" val="37994758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pic>
        <p:nvPicPr>
          <p:cNvPr id="3074" name="Picture 2" descr="thumbnail image 5 of blog post titled &#10; &#10; &#10;  &#10; &#10; &#10; &#10;    &#10;  &#10;   &#10;    &#10;      &#10;       Performance considerations for large scale deep learning training on Azure NDv4 (A100) series&#10;       &#10;      &#10;     &#10;   &#10;  &#10; &#10;   &#10; &#10; &#10; &#10; &#10; &#10;">
            <a:extLst>
              <a:ext uri="{FF2B5EF4-FFF2-40B4-BE49-F238E27FC236}">
                <a16:creationId xmlns:a16="http://schemas.microsoft.com/office/drawing/2014/main" id="{88A3CC3E-81F3-3231-AF42-3D93FEC984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71701" y="954872"/>
            <a:ext cx="7607299" cy="561620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C22D04A3-8CAF-2D42-234C-BF1B1E346D1D}"/>
              </a:ext>
            </a:extLst>
          </p:cNvPr>
          <p:cNvSpPr>
            <a:spLocks noGrp="1"/>
          </p:cNvSpPr>
          <p:nvPr>
            <p:ph type="title"/>
          </p:nvPr>
        </p:nvSpPr>
        <p:spPr/>
        <p:txBody>
          <a:bodyPr/>
          <a:lstStyle/>
          <a:p>
            <a:r>
              <a:rPr lang="en-US" dirty="0"/>
              <a:t>Simplified architectural schematic </a:t>
            </a:r>
            <a:endParaRPr lang="en-IN" dirty="0"/>
          </a:p>
        </p:txBody>
      </p:sp>
      <p:grpSp>
        <p:nvGrpSpPr>
          <p:cNvPr id="5" name="code samples" descr="code samples">
            <a:extLst>
              <a:ext uri="{FF2B5EF4-FFF2-40B4-BE49-F238E27FC236}">
                <a16:creationId xmlns:a16="http://schemas.microsoft.com/office/drawing/2014/main" id="{8ABE18EA-14F2-1F31-C05D-13E1CD8F6F90}"/>
              </a:ext>
            </a:extLst>
          </p:cNvPr>
          <p:cNvGrpSpPr/>
          <p:nvPr/>
        </p:nvGrpSpPr>
        <p:grpSpPr>
          <a:xfrm>
            <a:off x="3487102" y="1645920"/>
            <a:ext cx="444818" cy="339090"/>
            <a:chOff x="2548477" y="4015530"/>
            <a:chExt cx="500554" cy="253214"/>
          </a:xfrm>
        </p:grpSpPr>
        <p:sp>
          <p:nvSpPr>
            <p:cNvPr id="6" name="Freeform: Shape 5">
              <a:extLst>
                <a:ext uri="{FF2B5EF4-FFF2-40B4-BE49-F238E27FC236}">
                  <a16:creationId xmlns:a16="http://schemas.microsoft.com/office/drawing/2014/main" id="{CBBBD716-59B0-04A9-75D6-3F6830E708CE}"/>
                </a:ext>
              </a:extLst>
            </p:cNvPr>
            <p:cNvSpPr/>
            <p:nvPr/>
          </p:nvSpPr>
          <p:spPr>
            <a:xfrm>
              <a:off x="2548477" y="4015912"/>
              <a:ext cx="143871" cy="247459"/>
            </a:xfrm>
            <a:custGeom>
              <a:avLst/>
              <a:gdLst>
                <a:gd name="connsiteX0" fmla="*/ 146150 w 143871"/>
                <a:gd name="connsiteY0" fmla="*/ 22842 h 247458"/>
                <a:gd name="connsiteX1" fmla="*/ 125890 w 143871"/>
                <a:gd name="connsiteY1" fmla="*/ 2581 h 247458"/>
                <a:gd name="connsiteX2" fmla="*/ 2581 w 143871"/>
                <a:gd name="connsiteY2" fmla="*/ 125890 h 247458"/>
                <a:gd name="connsiteX3" fmla="*/ 125986 w 143871"/>
                <a:gd name="connsiteY3" fmla="*/ 249296 h 247458"/>
                <a:gd name="connsiteX4" fmla="*/ 146344 w 143871"/>
                <a:gd name="connsiteY4" fmla="*/ 228938 h 247458"/>
                <a:gd name="connsiteX5" fmla="*/ 43199 w 143871"/>
                <a:gd name="connsiteY5" fmla="*/ 125793 h 247458"/>
                <a:gd name="connsiteX6" fmla="*/ 146150 w 143871"/>
                <a:gd name="connsiteY6" fmla="*/ 22842 h 24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871" h="247458">
                  <a:moveTo>
                    <a:pt x="146150" y="22842"/>
                  </a:moveTo>
                  <a:lnTo>
                    <a:pt x="125890" y="2581"/>
                  </a:lnTo>
                  <a:lnTo>
                    <a:pt x="2581" y="125890"/>
                  </a:lnTo>
                  <a:lnTo>
                    <a:pt x="125986" y="249296"/>
                  </a:lnTo>
                  <a:lnTo>
                    <a:pt x="146344" y="228938"/>
                  </a:lnTo>
                  <a:lnTo>
                    <a:pt x="43199" y="125793"/>
                  </a:lnTo>
                  <a:lnTo>
                    <a:pt x="146150" y="22842"/>
                  </a:lnTo>
                  <a:close/>
                </a:path>
              </a:pathLst>
            </a:custGeom>
            <a:solidFill>
              <a:srgbClr val="0078D4"/>
            </a:solidFill>
            <a:ln w="56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reeform: Shape 6">
              <a:extLst>
                <a:ext uri="{FF2B5EF4-FFF2-40B4-BE49-F238E27FC236}">
                  <a16:creationId xmlns:a16="http://schemas.microsoft.com/office/drawing/2014/main" id="{D0E51C58-17DD-9E84-2BF2-495F58CD5E47}"/>
                </a:ext>
              </a:extLst>
            </p:cNvPr>
            <p:cNvSpPr/>
            <p:nvPr/>
          </p:nvSpPr>
          <p:spPr>
            <a:xfrm>
              <a:off x="2899405" y="4015530"/>
              <a:ext cx="149626" cy="253214"/>
            </a:xfrm>
            <a:custGeom>
              <a:avLst/>
              <a:gdLst>
                <a:gd name="connsiteX0" fmla="*/ 3259 w 149626"/>
                <a:gd name="connsiteY0" fmla="*/ 230780 h 253213"/>
                <a:gd name="connsiteX1" fmla="*/ 23520 w 149626"/>
                <a:gd name="connsiteY1" fmla="*/ 251040 h 253213"/>
                <a:gd name="connsiteX2" fmla="*/ 147410 w 149626"/>
                <a:gd name="connsiteY2" fmla="*/ 127150 h 253213"/>
                <a:gd name="connsiteX3" fmla="*/ 22841 w 149626"/>
                <a:gd name="connsiteY3" fmla="*/ 2581 h 253213"/>
                <a:gd name="connsiteX4" fmla="*/ 2581 w 149626"/>
                <a:gd name="connsiteY4" fmla="*/ 22939 h 253213"/>
                <a:gd name="connsiteX5" fmla="*/ 106792 w 149626"/>
                <a:gd name="connsiteY5" fmla="*/ 127150 h 253213"/>
                <a:gd name="connsiteX6" fmla="*/ 3259 w 149626"/>
                <a:gd name="connsiteY6" fmla="*/ 230780 h 253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626" h="253213">
                  <a:moveTo>
                    <a:pt x="3259" y="230780"/>
                  </a:moveTo>
                  <a:lnTo>
                    <a:pt x="23520" y="251040"/>
                  </a:lnTo>
                  <a:lnTo>
                    <a:pt x="147410" y="127150"/>
                  </a:lnTo>
                  <a:lnTo>
                    <a:pt x="22841" y="2581"/>
                  </a:lnTo>
                  <a:lnTo>
                    <a:pt x="2581" y="22939"/>
                  </a:lnTo>
                  <a:lnTo>
                    <a:pt x="106792" y="127150"/>
                  </a:lnTo>
                  <a:lnTo>
                    <a:pt x="3259" y="230780"/>
                  </a:lnTo>
                  <a:close/>
                </a:path>
              </a:pathLst>
            </a:custGeom>
            <a:solidFill>
              <a:srgbClr val="0078D4"/>
            </a:solidFill>
            <a:ln w="56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Shape 7">
              <a:extLst>
                <a:ext uri="{FF2B5EF4-FFF2-40B4-BE49-F238E27FC236}">
                  <a16:creationId xmlns:a16="http://schemas.microsoft.com/office/drawing/2014/main" id="{7EB062C1-8F55-EBE1-C905-8840A923C1E9}"/>
                </a:ext>
              </a:extLst>
            </p:cNvPr>
            <p:cNvSpPr/>
            <p:nvPr/>
          </p:nvSpPr>
          <p:spPr>
            <a:xfrm>
              <a:off x="2679933" y="4109361"/>
              <a:ext cx="57549" cy="57549"/>
            </a:xfrm>
            <a:custGeom>
              <a:avLst/>
              <a:gdLst>
                <a:gd name="connsiteX0" fmla="*/ 31566 w 57548"/>
                <a:gd name="connsiteY0" fmla="*/ 60552 h 57548"/>
                <a:gd name="connsiteX1" fmla="*/ 60552 w 57548"/>
                <a:gd name="connsiteY1" fmla="*/ 31566 h 57548"/>
                <a:gd name="connsiteX2" fmla="*/ 31566 w 57548"/>
                <a:gd name="connsiteY2" fmla="*/ 2581 h 57548"/>
                <a:gd name="connsiteX3" fmla="*/ 2581 w 57548"/>
                <a:gd name="connsiteY3" fmla="*/ 31566 h 57548"/>
                <a:gd name="connsiteX4" fmla="*/ 31566 w 57548"/>
                <a:gd name="connsiteY4" fmla="*/ 60552 h 5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8" h="57548">
                  <a:moveTo>
                    <a:pt x="31566" y="60552"/>
                  </a:moveTo>
                  <a:cubicBezTo>
                    <a:pt x="47575" y="60552"/>
                    <a:pt x="60552" y="47575"/>
                    <a:pt x="60552" y="31566"/>
                  </a:cubicBezTo>
                  <a:cubicBezTo>
                    <a:pt x="60552" y="15558"/>
                    <a:pt x="47575" y="2581"/>
                    <a:pt x="31566" y="2581"/>
                  </a:cubicBezTo>
                  <a:cubicBezTo>
                    <a:pt x="15558" y="2581"/>
                    <a:pt x="2581" y="15558"/>
                    <a:pt x="2581" y="31566"/>
                  </a:cubicBezTo>
                  <a:cubicBezTo>
                    <a:pt x="2581" y="47575"/>
                    <a:pt x="15558" y="60552"/>
                    <a:pt x="31566" y="60552"/>
                  </a:cubicBezTo>
                  <a:close/>
                </a:path>
              </a:pathLst>
            </a:custGeom>
            <a:solidFill>
              <a:srgbClr val="50E6FF"/>
            </a:solidFill>
            <a:ln w="56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Shape 8">
              <a:extLst>
                <a:ext uri="{FF2B5EF4-FFF2-40B4-BE49-F238E27FC236}">
                  <a16:creationId xmlns:a16="http://schemas.microsoft.com/office/drawing/2014/main" id="{8DAA3B14-13BA-1B79-5357-59AB47FE8FD4}"/>
                </a:ext>
              </a:extLst>
            </p:cNvPr>
            <p:cNvSpPr/>
            <p:nvPr/>
          </p:nvSpPr>
          <p:spPr>
            <a:xfrm>
              <a:off x="2766790" y="4109361"/>
              <a:ext cx="57549" cy="57549"/>
            </a:xfrm>
            <a:custGeom>
              <a:avLst/>
              <a:gdLst>
                <a:gd name="connsiteX0" fmla="*/ 31566 w 57548"/>
                <a:gd name="connsiteY0" fmla="*/ 60552 h 57548"/>
                <a:gd name="connsiteX1" fmla="*/ 60552 w 57548"/>
                <a:gd name="connsiteY1" fmla="*/ 31566 h 57548"/>
                <a:gd name="connsiteX2" fmla="*/ 31566 w 57548"/>
                <a:gd name="connsiteY2" fmla="*/ 2581 h 57548"/>
                <a:gd name="connsiteX3" fmla="*/ 2581 w 57548"/>
                <a:gd name="connsiteY3" fmla="*/ 31566 h 57548"/>
                <a:gd name="connsiteX4" fmla="*/ 31566 w 57548"/>
                <a:gd name="connsiteY4" fmla="*/ 60552 h 5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8" h="57548">
                  <a:moveTo>
                    <a:pt x="31566" y="60552"/>
                  </a:moveTo>
                  <a:cubicBezTo>
                    <a:pt x="47575" y="60552"/>
                    <a:pt x="60552" y="47575"/>
                    <a:pt x="60552" y="31566"/>
                  </a:cubicBezTo>
                  <a:cubicBezTo>
                    <a:pt x="60552" y="15558"/>
                    <a:pt x="47575" y="2581"/>
                    <a:pt x="31566" y="2581"/>
                  </a:cubicBezTo>
                  <a:cubicBezTo>
                    <a:pt x="15558" y="2581"/>
                    <a:pt x="2581" y="15558"/>
                    <a:pt x="2581" y="31566"/>
                  </a:cubicBezTo>
                  <a:cubicBezTo>
                    <a:pt x="2581" y="47575"/>
                    <a:pt x="15558" y="60552"/>
                    <a:pt x="31566" y="60552"/>
                  </a:cubicBezTo>
                  <a:close/>
                </a:path>
              </a:pathLst>
            </a:custGeom>
            <a:solidFill>
              <a:srgbClr val="50E6FF"/>
            </a:solidFill>
            <a:ln w="56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Shape 9">
              <a:extLst>
                <a:ext uri="{FF2B5EF4-FFF2-40B4-BE49-F238E27FC236}">
                  <a16:creationId xmlns:a16="http://schemas.microsoft.com/office/drawing/2014/main" id="{0ECC94E1-5955-8D4D-01DF-8DBAA4F3F3D1}"/>
                </a:ext>
              </a:extLst>
            </p:cNvPr>
            <p:cNvSpPr/>
            <p:nvPr/>
          </p:nvSpPr>
          <p:spPr>
            <a:xfrm>
              <a:off x="2854226" y="4109361"/>
              <a:ext cx="57549" cy="57549"/>
            </a:xfrm>
            <a:custGeom>
              <a:avLst/>
              <a:gdLst>
                <a:gd name="connsiteX0" fmla="*/ 31566 w 57548"/>
                <a:gd name="connsiteY0" fmla="*/ 60552 h 57548"/>
                <a:gd name="connsiteX1" fmla="*/ 60551 w 57548"/>
                <a:gd name="connsiteY1" fmla="*/ 31566 h 57548"/>
                <a:gd name="connsiteX2" fmla="*/ 31566 w 57548"/>
                <a:gd name="connsiteY2" fmla="*/ 2581 h 57548"/>
                <a:gd name="connsiteX3" fmla="*/ 2581 w 57548"/>
                <a:gd name="connsiteY3" fmla="*/ 31566 h 57548"/>
                <a:gd name="connsiteX4" fmla="*/ 31566 w 57548"/>
                <a:gd name="connsiteY4" fmla="*/ 60552 h 5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8" h="57548">
                  <a:moveTo>
                    <a:pt x="31566" y="60552"/>
                  </a:moveTo>
                  <a:cubicBezTo>
                    <a:pt x="47574" y="60552"/>
                    <a:pt x="60551" y="47575"/>
                    <a:pt x="60551" y="31566"/>
                  </a:cubicBezTo>
                  <a:cubicBezTo>
                    <a:pt x="60551" y="15558"/>
                    <a:pt x="47574" y="2581"/>
                    <a:pt x="31566" y="2581"/>
                  </a:cubicBezTo>
                  <a:cubicBezTo>
                    <a:pt x="15558" y="2581"/>
                    <a:pt x="2581" y="15558"/>
                    <a:pt x="2581" y="31566"/>
                  </a:cubicBezTo>
                  <a:cubicBezTo>
                    <a:pt x="2581" y="47575"/>
                    <a:pt x="15558" y="60552"/>
                    <a:pt x="31566" y="60552"/>
                  </a:cubicBezTo>
                  <a:close/>
                </a:path>
              </a:pathLst>
            </a:custGeom>
            <a:solidFill>
              <a:srgbClr val="0078D4"/>
            </a:solidFill>
            <a:ln w="56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5520151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0EC007E-D483-2EB8-FD4C-28781FF8A0AC}"/>
              </a:ext>
            </a:extLst>
          </p:cNvPr>
          <p:cNvSpPr>
            <a:spLocks noGrp="1"/>
          </p:cNvSpPr>
          <p:nvPr>
            <p:ph type="title"/>
          </p:nvPr>
        </p:nvSpPr>
        <p:spPr/>
        <p:txBody>
          <a:bodyPr/>
          <a:lstStyle/>
          <a:p>
            <a:r>
              <a:rPr lang="en-CA"/>
              <a:t>Hands-On Exercises</a:t>
            </a:r>
          </a:p>
        </p:txBody>
      </p:sp>
    </p:spTree>
    <p:extLst>
      <p:ext uri="{BB962C8B-B14F-4D97-AF65-F5344CB8AC3E}">
        <p14:creationId xmlns:p14="http://schemas.microsoft.com/office/powerpoint/2010/main" val="25860402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9B142C6-67F5-ADCB-EC38-0C83CAA5ABD1}"/>
              </a:ext>
            </a:extLst>
          </p:cNvPr>
          <p:cNvSpPr>
            <a:spLocks noGrp="1"/>
          </p:cNvSpPr>
          <p:nvPr>
            <p:ph type="title"/>
          </p:nvPr>
        </p:nvSpPr>
        <p:spPr/>
        <p:txBody>
          <a:bodyPr>
            <a:normAutofit/>
          </a:bodyPr>
          <a:lstStyle/>
          <a:p>
            <a:r>
              <a:rPr lang="en-CA"/>
              <a:t>Hands-On Overview </a:t>
            </a:r>
          </a:p>
        </p:txBody>
      </p:sp>
      <p:sp>
        <p:nvSpPr>
          <p:cNvPr id="6" name="Content Placeholder 5">
            <a:extLst>
              <a:ext uri="{FF2B5EF4-FFF2-40B4-BE49-F238E27FC236}">
                <a16:creationId xmlns:a16="http://schemas.microsoft.com/office/drawing/2014/main" id="{57B6340A-10FD-7A54-00C3-B2C15D530C66}"/>
              </a:ext>
            </a:extLst>
          </p:cNvPr>
          <p:cNvSpPr>
            <a:spLocks noGrp="1"/>
          </p:cNvSpPr>
          <p:nvPr>
            <p:ph type="body" sz="quarter" idx="10"/>
          </p:nvPr>
        </p:nvSpPr>
        <p:spPr>
          <a:prstGeom prst="rect">
            <a:avLst/>
          </a:prstGeom>
        </p:spPr>
        <p:txBody>
          <a:bodyPr/>
          <a:lstStyle/>
          <a:p>
            <a:pPr marL="342900" indent="-342900">
              <a:buFont typeface="Arial" panose="020B0604020202020204" pitchFamily="34" charset="0"/>
              <a:buChar char="•"/>
            </a:pPr>
            <a:r>
              <a:rPr lang="en-CA" sz="2000">
                <a:solidFill>
                  <a:schemeClr val="tx1"/>
                </a:solidFill>
                <a:latin typeface="Segoe UI" panose="020B0502040204020203" pitchFamily="34" charset="0"/>
                <a:cs typeface="Segoe UI" panose="020B0502040204020203" pitchFamily="34" charset="0"/>
              </a:rPr>
              <a:t>Deploy the required infrastructure </a:t>
            </a:r>
          </a:p>
          <a:p>
            <a:pPr marL="342900" indent="-342900">
              <a:buFont typeface="Arial" panose="020B0604020202020204" pitchFamily="34" charset="0"/>
              <a:buChar char="•"/>
            </a:pPr>
            <a:r>
              <a:rPr lang="en-CA" sz="2000">
                <a:solidFill>
                  <a:schemeClr val="tx1"/>
                </a:solidFill>
                <a:latin typeface="Segoe UI" panose="020B0502040204020203" pitchFamily="34" charset="0"/>
                <a:cs typeface="Segoe UI" panose="020B0502040204020203" pitchFamily="34" charset="0"/>
              </a:rPr>
              <a:t>Explore the deployed infrastructure </a:t>
            </a:r>
          </a:p>
          <a:p>
            <a:pPr marL="342900" indent="-342900">
              <a:buFont typeface="Arial" panose="020B0604020202020204" pitchFamily="34" charset="0"/>
              <a:buChar char="•"/>
            </a:pPr>
            <a:r>
              <a:rPr lang="en-CA" sz="2000">
                <a:solidFill>
                  <a:schemeClr val="tx1"/>
                </a:solidFill>
                <a:latin typeface="Segoe UI" panose="020B0502040204020203" pitchFamily="34" charset="0"/>
                <a:cs typeface="Segoe UI" panose="020B0502040204020203" pitchFamily="34" charset="0"/>
              </a:rPr>
              <a:t>Tune &amp; health check the deployed infrastructure </a:t>
            </a:r>
          </a:p>
          <a:p>
            <a:pPr marL="342900" indent="-342900">
              <a:buFont typeface="Arial" panose="020B0604020202020204" pitchFamily="34" charset="0"/>
              <a:buChar char="•"/>
            </a:pPr>
            <a:r>
              <a:rPr lang="en-CA" sz="2000">
                <a:solidFill>
                  <a:schemeClr val="tx1"/>
                </a:solidFill>
                <a:latin typeface="Segoe UI" panose="020B0502040204020203" pitchFamily="34" charset="0"/>
                <a:cs typeface="Segoe UI" panose="020B0502040204020203" pitchFamily="34" charset="0"/>
              </a:rPr>
              <a:t>Deploy Deep Learning framework &amp; application </a:t>
            </a:r>
          </a:p>
          <a:p>
            <a:pPr marL="800100" lvl="1" indent="-342900">
              <a:buFont typeface="Arial" panose="020B0604020202020204" pitchFamily="34" charset="0"/>
              <a:buChar char="•"/>
            </a:pPr>
            <a:r>
              <a:rPr lang="en-CA" sz="2000">
                <a:solidFill>
                  <a:schemeClr val="tx1"/>
                </a:solidFill>
                <a:latin typeface="Segoe UI" panose="020B0502040204020203" pitchFamily="34" charset="0"/>
                <a:cs typeface="Segoe UI" panose="020B0502040204020203" pitchFamily="34" charset="0"/>
              </a:rPr>
              <a:t>Left as an exercise … </a:t>
            </a:r>
          </a:p>
          <a:p>
            <a:pPr marL="342900" indent="-342900">
              <a:buFont typeface="Arial" panose="020B0604020202020204" pitchFamily="34" charset="0"/>
              <a:buChar char="•"/>
            </a:pPr>
            <a:r>
              <a:rPr lang="en-CA" sz="2000">
                <a:solidFill>
                  <a:schemeClr val="tx1"/>
                </a:solidFill>
                <a:latin typeface="Segoe UI" panose="020B0502040204020203" pitchFamily="34" charset="0"/>
                <a:cs typeface="Segoe UI" panose="020B0502040204020203" pitchFamily="34" charset="0"/>
              </a:rPr>
              <a:t>Decommission the infrastructure </a:t>
            </a:r>
          </a:p>
          <a:p>
            <a:endParaRPr lang="en-CA" sz="200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29434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6">
                                            <p:txEl>
                                              <p:pRg st="1" end="1"/>
                                            </p:txEl>
                                          </p:spTgt>
                                        </p:tgtEl>
                                        <p:attrNameLst>
                                          <p:attrName>style.visibility</p:attrName>
                                        </p:attrNameLst>
                                      </p:cBhvr>
                                      <p:to>
                                        <p:strVal val="visible"/>
                                      </p:to>
                                    </p:set>
                                    <p:animEffect transition="in" filter="fade">
                                      <p:cBhvr>
                                        <p:cTn id="14" dur="500"/>
                                        <p:tgtEl>
                                          <p:spTgt spid="6">
                                            <p:txEl>
                                              <p:pRg st="1" end="1"/>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6">
                                            <p:txEl>
                                              <p:pRg st="3" end="3"/>
                                            </p:txEl>
                                          </p:spTgt>
                                        </p:tgtEl>
                                        <p:attrNameLst>
                                          <p:attrName>style.visibility</p:attrName>
                                        </p:attrNameLst>
                                      </p:cBhvr>
                                      <p:to>
                                        <p:strVal val="visible"/>
                                      </p:to>
                                    </p:set>
                                    <p:animEffect transition="in" filter="fade">
                                      <p:cBhvr>
                                        <p:cTn id="20" dur="500"/>
                                        <p:tgtEl>
                                          <p:spTgt spid="6">
                                            <p:txEl>
                                              <p:pRg st="3" end="3"/>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animEffect transition="in" filter="fade">
                                      <p:cBhvr>
                                        <p:cTn id="23" dur="500"/>
                                        <p:tgtEl>
                                          <p:spTgt spid="6">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6">
                                            <p:txEl>
                                              <p:pRg st="5" end="5"/>
                                            </p:txEl>
                                          </p:spTgt>
                                        </p:tgtEl>
                                        <p:attrNameLst>
                                          <p:attrName>style.visibility</p:attrName>
                                        </p:attrNameLst>
                                      </p:cBhvr>
                                      <p:to>
                                        <p:strVal val="visible"/>
                                      </p:to>
                                    </p:set>
                                    <p:animEffect transition="in" filter="fade">
                                      <p:cBhvr>
                                        <p:cTn id="26"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uiExpand="1" build="p"/>
    </p:bld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AA307-FFB4-61C0-9625-C40AD7AE3A44}"/>
              </a:ext>
            </a:extLst>
          </p:cNvPr>
          <p:cNvSpPr>
            <a:spLocks noGrp="1"/>
          </p:cNvSpPr>
          <p:nvPr>
            <p:ph type="title"/>
          </p:nvPr>
        </p:nvSpPr>
        <p:spPr/>
        <p:txBody>
          <a:bodyPr>
            <a:normAutofit/>
          </a:bodyPr>
          <a:lstStyle/>
          <a:p>
            <a:r>
              <a:rPr lang="en-CA"/>
              <a:t>1-Click Deployment </a:t>
            </a:r>
          </a:p>
        </p:txBody>
      </p:sp>
      <p:sp>
        <p:nvSpPr>
          <p:cNvPr id="3" name="Content Placeholder 2">
            <a:extLst>
              <a:ext uri="{FF2B5EF4-FFF2-40B4-BE49-F238E27FC236}">
                <a16:creationId xmlns:a16="http://schemas.microsoft.com/office/drawing/2014/main" id="{5813D571-3500-471D-92AD-1D09387D5B23}"/>
              </a:ext>
            </a:extLst>
          </p:cNvPr>
          <p:cNvSpPr>
            <a:spLocks noGrp="1"/>
          </p:cNvSpPr>
          <p:nvPr>
            <p:ph type="body" sz="quarter" idx="10"/>
          </p:nvPr>
        </p:nvSpPr>
        <p:spPr>
          <a:prstGeom prst="rect">
            <a:avLst/>
          </a:prstGeom>
        </p:spPr>
        <p:txBody>
          <a:bodyPr/>
          <a:lstStyle/>
          <a:p>
            <a:pPr marL="342900" indent="-342900">
              <a:buFont typeface="Arial" panose="020B0604020202020204" pitchFamily="34" charset="0"/>
              <a:buChar char="•"/>
            </a:pPr>
            <a:r>
              <a:rPr lang="en-CA" sz="2000">
                <a:latin typeface="Segoe UI" panose="020B0502040204020203" pitchFamily="34" charset="0"/>
                <a:cs typeface="Segoe UI" panose="020B0502040204020203" pitchFamily="34" charset="0"/>
              </a:rPr>
              <a:t>Facilitated via </a:t>
            </a:r>
            <a:r>
              <a:rPr lang="en-CA" sz="2000">
                <a:solidFill>
                  <a:srgbClr val="F89AF4"/>
                </a:solidFill>
                <a:latin typeface="Segoe UI" panose="020B0502040204020203" pitchFamily="34" charset="0"/>
                <a:cs typeface="Segoe UI" panose="020B0502040204020203" pitchFamily="34" charset="0"/>
                <a:hlinkClick r:id="rId2">
                  <a:extLst>
                    <a:ext uri="{A12FA001-AC4F-418D-AE19-62706E023703}">
                      <ahyp:hlinkClr xmlns:ahyp="http://schemas.microsoft.com/office/drawing/2018/hyperlinkcolor" val="tx"/>
                    </a:ext>
                  </a:extLst>
                </a:hlinkClick>
              </a:rPr>
              <a:t>HashiCorp Terraform </a:t>
            </a:r>
            <a:endParaRPr lang="en-CA" sz="2000">
              <a:solidFill>
                <a:srgbClr val="F89AF4"/>
              </a:solidFill>
              <a:latin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en-CA" sz="2000">
                <a:latin typeface="Segoe UI" panose="020B0502040204020203" pitchFamily="34" charset="0"/>
                <a:cs typeface="Segoe UI" panose="020B0502040204020203" pitchFamily="34" charset="0"/>
              </a:rPr>
              <a:t>Deploys the entire Azure </a:t>
            </a:r>
            <a:r>
              <a:rPr lang="en-CA" sz="2000" err="1">
                <a:latin typeface="Segoe UI" panose="020B0502040204020203" pitchFamily="34" charset="0"/>
                <a:cs typeface="Segoe UI" panose="020B0502040204020203" pitchFamily="34" charset="0"/>
              </a:rPr>
              <a:t>CycleCloud</a:t>
            </a:r>
            <a:r>
              <a:rPr lang="en-CA" sz="2000">
                <a:latin typeface="Segoe UI" panose="020B0502040204020203" pitchFamily="34" charset="0"/>
                <a:cs typeface="Segoe UI" panose="020B0502040204020203" pitchFamily="34" charset="0"/>
              </a:rPr>
              <a:t> infrastructure </a:t>
            </a:r>
          </a:p>
          <a:p>
            <a:pPr marL="800100" lvl="1" indent="-342900">
              <a:buFont typeface="Arial" panose="020B0604020202020204" pitchFamily="34" charset="0"/>
              <a:buChar char="•"/>
            </a:pPr>
            <a:r>
              <a:rPr lang="en-CA" sz="2000">
                <a:solidFill>
                  <a:schemeClr val="tx1"/>
                </a:solidFill>
                <a:latin typeface="Segoe UI" panose="020B0502040204020203" pitchFamily="34" charset="0"/>
                <a:cs typeface="Segoe UI" panose="020B0502040204020203" pitchFamily="34" charset="0"/>
              </a:rPr>
              <a:t>Includes components plus required scripting </a:t>
            </a:r>
          </a:p>
          <a:p>
            <a:pPr lvl="2"/>
            <a:r>
              <a:rPr lang="en-CA" sz="1800" err="1">
                <a:latin typeface="Segoe UI" panose="020B0502040204020203" pitchFamily="34" charset="0"/>
                <a:cs typeface="Segoe UI" panose="020B0502040204020203" pitchFamily="34" charset="0"/>
              </a:rPr>
              <a:t>Slurm</a:t>
            </a:r>
            <a:r>
              <a:rPr lang="en-CA" sz="1800">
                <a:latin typeface="Segoe UI" panose="020B0502040204020203" pitchFamily="34" charset="0"/>
                <a:cs typeface="Segoe UI" panose="020B0502040204020203" pitchFamily="34" charset="0"/>
              </a:rPr>
              <a:t> workload manager </a:t>
            </a:r>
          </a:p>
          <a:p>
            <a:pPr lvl="2"/>
            <a:r>
              <a:rPr lang="en-CA" sz="1800">
                <a:latin typeface="Segoe UI" panose="020B0502040204020203" pitchFamily="34" charset="0"/>
                <a:cs typeface="Segoe UI" panose="020B0502040204020203" pitchFamily="34" charset="0"/>
              </a:rPr>
              <a:t>NDv4 VMs with a custom software image</a:t>
            </a:r>
          </a:p>
          <a:p>
            <a:pPr marL="342900" indent="-342900">
              <a:buFont typeface="Arial" panose="020B0604020202020204" pitchFamily="34" charset="0"/>
              <a:buChar char="•"/>
            </a:pPr>
            <a:r>
              <a:rPr lang="en-CA" sz="2000">
                <a:latin typeface="Segoe UI" panose="020B0502040204020203" pitchFamily="34" charset="0"/>
                <a:cs typeface="Segoe UI" panose="020B0502040204020203" pitchFamily="34" charset="0"/>
              </a:rPr>
              <a:t>Curated via GitHub </a:t>
            </a:r>
          </a:p>
        </p:txBody>
      </p:sp>
    </p:spTree>
    <p:extLst>
      <p:ext uri="{BB962C8B-B14F-4D97-AF65-F5344CB8AC3E}">
        <p14:creationId xmlns:p14="http://schemas.microsoft.com/office/powerpoint/2010/main" val="11170147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500"/>
                                        <p:tgtEl>
                                          <p:spTgt spid="3">
                                            <p:txEl>
                                              <p:pRg st="1" end="1"/>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BE0E10-DC8B-2E87-115C-16CAB558BB86}"/>
              </a:ext>
            </a:extLst>
          </p:cNvPr>
          <p:cNvSpPr>
            <a:spLocks noGrp="1"/>
          </p:cNvSpPr>
          <p:nvPr>
            <p:ph type="title"/>
          </p:nvPr>
        </p:nvSpPr>
        <p:spPr/>
        <p:txBody>
          <a:bodyPr>
            <a:normAutofit/>
          </a:bodyPr>
          <a:lstStyle/>
          <a:p>
            <a:r>
              <a:rPr lang="en-CA"/>
              <a:t>Explore the deployed environment  </a:t>
            </a:r>
          </a:p>
        </p:txBody>
      </p:sp>
      <p:sp>
        <p:nvSpPr>
          <p:cNvPr id="3" name="Content Placeholder 2">
            <a:extLst>
              <a:ext uri="{FF2B5EF4-FFF2-40B4-BE49-F238E27FC236}">
                <a16:creationId xmlns:a16="http://schemas.microsoft.com/office/drawing/2014/main" id="{BA6CAD71-2B13-63B5-1C6F-EA6CF19183F5}"/>
              </a:ext>
            </a:extLst>
          </p:cNvPr>
          <p:cNvSpPr>
            <a:spLocks noGrp="1"/>
          </p:cNvSpPr>
          <p:nvPr>
            <p:ph idx="4294967295"/>
          </p:nvPr>
        </p:nvSpPr>
        <p:spPr>
          <a:xfrm>
            <a:off x="2171700" y="1519959"/>
            <a:ext cx="4019550" cy="1489942"/>
          </a:xfrm>
          <a:prstGeom prst="rect">
            <a:avLst/>
          </a:prstGeom>
        </p:spPr>
        <p:txBody>
          <a:bodyPr/>
          <a:lstStyle/>
          <a:p>
            <a:r>
              <a:rPr lang="en-CA">
                <a:solidFill>
                  <a:schemeClr val="tx1"/>
                </a:solidFill>
                <a:latin typeface="Segoe UI" panose="020B0502040204020203" pitchFamily="34" charset="0"/>
                <a:cs typeface="Segoe UI" panose="020B0502040204020203" pitchFamily="34" charset="0"/>
              </a:rPr>
              <a:t>Image BoM</a:t>
            </a:r>
          </a:p>
          <a:p>
            <a:r>
              <a:rPr lang="en-CA">
                <a:solidFill>
                  <a:schemeClr val="tx1"/>
                </a:solidFill>
                <a:latin typeface="Segoe UI" panose="020B0502040204020203" pitchFamily="34" charset="0"/>
                <a:cs typeface="Segoe UI" panose="020B0502040204020203" pitchFamily="34" charset="0"/>
              </a:rPr>
              <a:t>GPU status  </a:t>
            </a:r>
          </a:p>
        </p:txBody>
      </p:sp>
      <p:pic>
        <p:nvPicPr>
          <p:cNvPr id="5" name="Picture 4" descr="A picture containing text&#10;&#10;Description automatically generated">
            <a:extLst>
              <a:ext uri="{FF2B5EF4-FFF2-40B4-BE49-F238E27FC236}">
                <a16:creationId xmlns:a16="http://schemas.microsoft.com/office/drawing/2014/main" id="{D124D0CE-1E43-203D-A5BD-9ADD54E0BD4F}"/>
              </a:ext>
            </a:extLst>
          </p:cNvPr>
          <p:cNvPicPr>
            <a:picLocks noChangeAspect="1"/>
          </p:cNvPicPr>
          <p:nvPr/>
        </p:nvPicPr>
        <p:blipFill>
          <a:blip r:embed="rId2"/>
          <a:stretch>
            <a:fillRect/>
          </a:stretch>
        </p:blipFill>
        <p:spPr>
          <a:xfrm>
            <a:off x="7026111" y="1038225"/>
            <a:ext cx="4127664" cy="5234989"/>
          </a:xfrm>
          <a:prstGeom prst="rect">
            <a:avLst/>
          </a:prstGeom>
        </p:spPr>
      </p:pic>
      <p:pic>
        <p:nvPicPr>
          <p:cNvPr id="6" name="Picture 5" descr="Text&#10;&#10;Description automatically generated">
            <a:extLst>
              <a:ext uri="{FF2B5EF4-FFF2-40B4-BE49-F238E27FC236}">
                <a16:creationId xmlns:a16="http://schemas.microsoft.com/office/drawing/2014/main" id="{C0DE31AE-CD97-012E-F29D-9D8B69DFBE4B}"/>
              </a:ext>
            </a:extLst>
          </p:cNvPr>
          <p:cNvPicPr>
            <a:picLocks noChangeAspect="1"/>
          </p:cNvPicPr>
          <p:nvPr/>
        </p:nvPicPr>
        <p:blipFill>
          <a:blip r:embed="rId3"/>
          <a:stretch>
            <a:fillRect/>
          </a:stretch>
        </p:blipFill>
        <p:spPr>
          <a:xfrm>
            <a:off x="400051" y="3291154"/>
            <a:ext cx="6362700" cy="1778973"/>
          </a:xfrm>
          <a:prstGeom prst="rect">
            <a:avLst/>
          </a:prstGeom>
        </p:spPr>
      </p:pic>
    </p:spTree>
    <p:extLst>
      <p:ext uri="{BB962C8B-B14F-4D97-AF65-F5344CB8AC3E}">
        <p14:creationId xmlns:p14="http://schemas.microsoft.com/office/powerpoint/2010/main" val="1151731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500"/>
                                        <p:tgtEl>
                                          <p:spTgt spid="3">
                                            <p:txEl>
                                              <p:pRg st="1" end="1"/>
                                            </p:txEl>
                                          </p:spTgt>
                                        </p:tgtEl>
                                      </p:cBhvr>
                                    </p:animEffect>
                                  </p:childTnLst>
                                </p:cTn>
                              </p:par>
                              <p:par>
                                <p:cTn id="15" presetID="16" presetClass="entr" presetSubtype="42"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barn(outHorizontal)">
                                      <p:cBhvr>
                                        <p:cTn id="17" dur="250"/>
                                        <p:tgtEl>
                                          <p:spTgt spid="5"/>
                                        </p:tgtEl>
                                      </p:cBhvr>
                                    </p:animEffect>
                                  </p:childTnLst>
                                </p:cTn>
                              </p:par>
                              <p:par>
                                <p:cTn id="18" presetID="16" presetClass="entr" presetSubtype="37" fill="hold" nodeType="with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barn(outVertical)">
                                      <p:cBhvr>
                                        <p:cTn id="20"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Rectangle: Rounded Corners 109">
            <a:extLst>
              <a:ext uri="{FF2B5EF4-FFF2-40B4-BE49-F238E27FC236}">
                <a16:creationId xmlns:a16="http://schemas.microsoft.com/office/drawing/2014/main" id="{EC5EF106-F3F4-9841-38FC-14D26D633F6E}"/>
              </a:ext>
              <a:ext uri="{C183D7F6-B498-43B3-948B-1728B52AA6E4}">
                <adec:decorative xmlns:adec="http://schemas.microsoft.com/office/drawing/2017/decorative" val="1"/>
              </a:ext>
            </a:extLst>
          </p:cNvPr>
          <p:cNvSpPr/>
          <p:nvPr/>
        </p:nvSpPr>
        <p:spPr>
          <a:xfrm>
            <a:off x="810171" y="3749713"/>
            <a:ext cx="10619829" cy="2048449"/>
          </a:xfrm>
          <a:prstGeom prst="roundRect">
            <a:avLst>
              <a:gd name="adj" fmla="val 50000"/>
            </a:avLst>
          </a:prstGeom>
          <a:solidFill>
            <a:srgbClr val="282655"/>
          </a:solidFill>
          <a:ln w="19050">
            <a:solidFill>
              <a:schemeClr val="tx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15990" rtl="0" eaLnBrk="1" fontAlgn="auto" latinLnBrk="0" hangingPunct="1">
              <a:lnSpc>
                <a:spcPct val="100000"/>
              </a:lnSpc>
              <a:spcBef>
                <a:spcPts val="0"/>
              </a:spcBef>
              <a:spcAft>
                <a:spcPts val="0"/>
              </a:spcAft>
              <a:buClr>
                <a:srgbClr val="000000"/>
              </a:buClr>
              <a:buSzTx/>
              <a:buFontTx/>
              <a:buNone/>
              <a:tabLst/>
              <a:defRPr/>
            </a:pPr>
            <a:endParaRPr kumimoji="0" lang="en-US" sz="1556" b="0" i="0" u="none" strike="noStrike" kern="0" cap="none" spc="0" normalizeH="0" baseline="0" noProof="0">
              <a:ln>
                <a:noFill/>
              </a:ln>
              <a:solidFill>
                <a:srgbClr val="FFFFFF"/>
              </a:solidFill>
              <a:effectLst/>
              <a:uLnTx/>
              <a:uFillTx/>
              <a:latin typeface="Trebuchet MS"/>
              <a:ea typeface="+mn-ea"/>
              <a:cs typeface="+mn-cs"/>
              <a:sym typeface="Arial"/>
            </a:endParaRPr>
          </a:p>
        </p:txBody>
      </p:sp>
      <p:sp>
        <p:nvSpPr>
          <p:cNvPr id="3" name="Title 2">
            <a:extLst>
              <a:ext uri="{FF2B5EF4-FFF2-40B4-BE49-F238E27FC236}">
                <a16:creationId xmlns:a16="http://schemas.microsoft.com/office/drawing/2014/main" id="{AF1A0433-B89A-5F95-8CF8-CA7B1E91C391}"/>
              </a:ext>
            </a:extLst>
          </p:cNvPr>
          <p:cNvSpPr>
            <a:spLocks noGrp="1"/>
          </p:cNvSpPr>
          <p:nvPr>
            <p:ph type="title"/>
          </p:nvPr>
        </p:nvSpPr>
        <p:spPr/>
        <p:txBody>
          <a:bodyPr/>
          <a:lstStyle/>
          <a:p>
            <a:r>
              <a:rPr lang="en-IN"/>
              <a:t>GPU-optimized Software on Azure</a:t>
            </a:r>
          </a:p>
        </p:txBody>
      </p:sp>
      <p:sp>
        <p:nvSpPr>
          <p:cNvPr id="4" name="Content Placeholder 2">
            <a:extLst>
              <a:ext uri="{FF2B5EF4-FFF2-40B4-BE49-F238E27FC236}">
                <a16:creationId xmlns:a16="http://schemas.microsoft.com/office/drawing/2014/main" id="{CBA6559B-C5A5-6CE4-EDB9-85D2D52E8248}"/>
              </a:ext>
            </a:extLst>
          </p:cNvPr>
          <p:cNvSpPr txBox="1">
            <a:spLocks/>
          </p:cNvSpPr>
          <p:nvPr/>
        </p:nvSpPr>
        <p:spPr>
          <a:xfrm>
            <a:off x="762000" y="1348705"/>
            <a:ext cx="10668000" cy="415218"/>
          </a:xfrm>
          <a:prstGeom prst="rect">
            <a:avLst/>
          </a:prstGeom>
        </p:spPr>
        <p:txBody>
          <a:bodyPr/>
          <a:lstStyle>
            <a:lvl1pPr marL="228600" indent="-228600" algn="l" defTabSz="914400" rtl="0" eaLnBrk="1" latinLnBrk="0" hangingPunct="1">
              <a:lnSpc>
                <a:spcPct val="125000"/>
              </a:lnSpc>
              <a:spcBef>
                <a:spcPts val="1000"/>
              </a:spcBef>
              <a:buFont typeface="Arial" panose="020B0604020202020204" pitchFamily="34" charset="0"/>
              <a:buChar char="•"/>
              <a:defRPr sz="2800" kern="1200">
                <a:solidFill>
                  <a:schemeClr val="tx1">
                    <a:alpha val="70000"/>
                  </a:schemeClr>
                </a:solidFill>
                <a:latin typeface="+mn-lt"/>
                <a:ea typeface="+mn-ea"/>
                <a:cs typeface="+mn-cs"/>
              </a:defRPr>
            </a:lvl1pPr>
            <a:lvl2pPr marL="685800" indent="-228600" algn="l" defTabSz="914400" rtl="0" eaLnBrk="1" latinLnBrk="0" hangingPunct="1">
              <a:lnSpc>
                <a:spcPct val="125000"/>
              </a:lnSpc>
              <a:spcBef>
                <a:spcPts val="500"/>
              </a:spcBef>
              <a:buFont typeface="Arial" panose="020B0604020202020204" pitchFamily="34" charset="0"/>
              <a:buChar char="•"/>
              <a:defRPr sz="2400" kern="1200">
                <a:solidFill>
                  <a:schemeClr val="tx1">
                    <a:alpha val="70000"/>
                  </a:schemeClr>
                </a:solidFill>
                <a:latin typeface="+mn-lt"/>
                <a:ea typeface="+mn-ea"/>
                <a:cs typeface="+mn-cs"/>
              </a:defRPr>
            </a:lvl2pPr>
            <a:lvl3pPr marL="1143000" indent="-228600" algn="l" defTabSz="914400" rtl="0" eaLnBrk="1" latinLnBrk="0" hangingPunct="1">
              <a:lnSpc>
                <a:spcPct val="125000"/>
              </a:lnSpc>
              <a:spcBef>
                <a:spcPts val="500"/>
              </a:spcBef>
              <a:buFont typeface="Arial" panose="020B0604020202020204" pitchFamily="34" charset="0"/>
              <a:buChar char="•"/>
              <a:defRPr sz="2000" kern="1200">
                <a:solidFill>
                  <a:schemeClr val="tx1">
                    <a:alpha val="70000"/>
                  </a:schemeClr>
                </a:solidFill>
                <a:latin typeface="+mn-lt"/>
                <a:ea typeface="+mn-ea"/>
                <a:cs typeface="+mn-cs"/>
              </a:defRPr>
            </a:lvl3pPr>
            <a:lvl4pPr marL="1600200" indent="-228600" algn="l" defTabSz="914400" rtl="0" eaLnBrk="1" latinLnBrk="0" hangingPunct="1">
              <a:lnSpc>
                <a:spcPct val="125000"/>
              </a:lnSpc>
              <a:spcBef>
                <a:spcPts val="500"/>
              </a:spcBef>
              <a:buFont typeface="Arial" panose="020B0604020202020204" pitchFamily="34" charset="0"/>
              <a:buChar char="•"/>
              <a:defRPr sz="1800" kern="1200">
                <a:solidFill>
                  <a:schemeClr val="tx1">
                    <a:alpha val="70000"/>
                  </a:schemeClr>
                </a:solidFill>
                <a:latin typeface="+mn-lt"/>
                <a:ea typeface="+mn-ea"/>
                <a:cs typeface="+mn-cs"/>
              </a:defRPr>
            </a:lvl4pPr>
            <a:lvl5pPr marL="2057400" indent="-228600" algn="l" defTabSz="914400" rtl="0" eaLnBrk="1" latinLnBrk="0" hangingPunct="1">
              <a:lnSpc>
                <a:spcPct val="125000"/>
              </a:lnSpc>
              <a:spcBef>
                <a:spcPts val="500"/>
              </a:spcBef>
              <a:buFont typeface="Arial" panose="020B0604020202020204" pitchFamily="34" charset="0"/>
              <a:buChar char="•"/>
              <a:defRPr sz="1800" kern="1200">
                <a:solidFill>
                  <a:schemeClr val="tx1">
                    <a:alpha val="7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a:solidFill>
                  <a:srgbClr val="F89AF4"/>
                </a:solidFill>
                <a:latin typeface="Segoe UI" panose="020B0502040204020203" pitchFamily="34" charset="0"/>
                <a:cs typeface="Segoe UI" panose="020B0502040204020203" pitchFamily="34" charset="0"/>
              </a:rPr>
              <a:t>Enterprise ready software </a:t>
            </a:r>
            <a:r>
              <a:rPr lang="en-US" sz="1600" b="1">
                <a:solidFill>
                  <a:schemeClr val="tx1"/>
                </a:solidFill>
                <a:latin typeface="Segoe UI" panose="020B0502040204020203" pitchFamily="34" charset="0"/>
                <a:cs typeface="Segoe UI" panose="020B0502040204020203" pitchFamily="34" charset="0"/>
              </a:rPr>
              <a:t> |  </a:t>
            </a:r>
            <a:r>
              <a:rPr lang="en-US" sz="1600">
                <a:solidFill>
                  <a:srgbClr val="F89AF4"/>
                </a:solidFill>
                <a:latin typeface="Segoe UI" panose="020B0502040204020203" pitchFamily="34" charset="0"/>
                <a:cs typeface="Segoe UI" panose="020B0502040204020203" pitchFamily="34" charset="0"/>
              </a:rPr>
              <a:t>Performance optimized </a:t>
            </a:r>
            <a:r>
              <a:rPr lang="en-US" sz="1600" b="1">
                <a:solidFill>
                  <a:schemeClr val="tx1"/>
                </a:solidFill>
                <a:latin typeface="Segoe UI" panose="020B0502040204020203" pitchFamily="34" charset="0"/>
                <a:cs typeface="Segoe UI" panose="020B0502040204020203" pitchFamily="34" charset="0"/>
              </a:rPr>
              <a:t> |  </a:t>
            </a:r>
            <a:r>
              <a:rPr lang="en-US" sz="1600">
                <a:solidFill>
                  <a:srgbClr val="F89AF4"/>
                </a:solidFill>
                <a:latin typeface="Segoe UI" panose="020B0502040204020203" pitchFamily="34" charset="0"/>
                <a:cs typeface="Segoe UI" panose="020B0502040204020203" pitchFamily="34" charset="0"/>
              </a:rPr>
              <a:t>Secure</a:t>
            </a:r>
          </a:p>
        </p:txBody>
      </p:sp>
      <p:sp>
        <p:nvSpPr>
          <p:cNvPr id="5" name="Rectangle 4">
            <a:extLst>
              <a:ext uri="{FF2B5EF4-FFF2-40B4-BE49-F238E27FC236}">
                <a16:creationId xmlns:a16="http://schemas.microsoft.com/office/drawing/2014/main" id="{5138D2FB-DD1F-2EC0-F7D5-3FAC8A263B08}"/>
              </a:ext>
              <a:ext uri="{C183D7F6-B498-43B3-948B-1728B52AA6E4}">
                <adec:decorative xmlns:adec="http://schemas.microsoft.com/office/drawing/2017/decorative" val="1"/>
              </a:ext>
            </a:extLst>
          </p:cNvPr>
          <p:cNvSpPr/>
          <p:nvPr/>
        </p:nvSpPr>
        <p:spPr>
          <a:xfrm>
            <a:off x="410884" y="1294434"/>
            <a:ext cx="11370232" cy="2048449"/>
          </a:xfrm>
          <a:prstGeom prst="rect">
            <a:avLst/>
          </a:prstGeom>
          <a:ln w="19050">
            <a:solidFill>
              <a:schemeClr val="tx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15990" rtl="0" eaLnBrk="1" fontAlgn="auto" latinLnBrk="0" hangingPunct="1">
              <a:lnSpc>
                <a:spcPct val="100000"/>
              </a:lnSpc>
              <a:spcBef>
                <a:spcPts val="0"/>
              </a:spcBef>
              <a:spcAft>
                <a:spcPts val="0"/>
              </a:spcAft>
              <a:buClr>
                <a:srgbClr val="000000"/>
              </a:buClr>
              <a:buSzTx/>
              <a:buFontTx/>
              <a:buNone/>
              <a:tabLst/>
              <a:defRPr/>
            </a:pPr>
            <a:endParaRPr kumimoji="0" lang="en-US" sz="1556" b="0" i="0" u="none" strike="noStrike" kern="0" cap="none" spc="0" normalizeH="0" baseline="0" noProof="0">
              <a:ln>
                <a:noFill/>
              </a:ln>
              <a:solidFill>
                <a:srgbClr val="FFFFFF"/>
              </a:solidFill>
              <a:effectLst/>
              <a:uLnTx/>
              <a:uFillTx/>
              <a:latin typeface="Trebuchet MS"/>
              <a:ea typeface="+mn-ea"/>
              <a:cs typeface="+mn-cs"/>
              <a:sym typeface="Arial"/>
            </a:endParaRPr>
          </a:p>
        </p:txBody>
      </p:sp>
      <p:sp>
        <p:nvSpPr>
          <p:cNvPr id="27" name="Arrow: Up 59">
            <a:extLst>
              <a:ext uri="{FF2B5EF4-FFF2-40B4-BE49-F238E27FC236}">
                <a16:creationId xmlns:a16="http://schemas.microsoft.com/office/drawing/2014/main" id="{2A8C00B3-D9A9-A5C2-2F68-FD6943F05A26}"/>
              </a:ext>
              <a:ext uri="{C183D7F6-B498-43B3-948B-1728B52AA6E4}">
                <adec:decorative xmlns:adec="http://schemas.microsoft.com/office/drawing/2017/decorative" val="1"/>
              </a:ext>
            </a:extLst>
          </p:cNvPr>
          <p:cNvSpPr/>
          <p:nvPr/>
        </p:nvSpPr>
        <p:spPr>
          <a:xfrm rot="10800000">
            <a:off x="5899822" y="3375629"/>
            <a:ext cx="392356" cy="341839"/>
          </a:xfrm>
          <a:prstGeom prst="upArrow">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07995"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Trebuchet MS"/>
              <a:ea typeface="+mn-ea"/>
              <a:cs typeface="+mn-cs"/>
              <a:sym typeface="Arial"/>
            </a:endParaRPr>
          </a:p>
        </p:txBody>
      </p:sp>
      <p:sp>
        <p:nvSpPr>
          <p:cNvPr id="28" name="TextBox 27">
            <a:extLst>
              <a:ext uri="{FF2B5EF4-FFF2-40B4-BE49-F238E27FC236}">
                <a16:creationId xmlns:a16="http://schemas.microsoft.com/office/drawing/2014/main" id="{2988D4D3-E0DC-6A62-0172-BC9474C11025}"/>
              </a:ext>
            </a:extLst>
          </p:cNvPr>
          <p:cNvSpPr txBox="1"/>
          <p:nvPr/>
        </p:nvSpPr>
        <p:spPr>
          <a:xfrm>
            <a:off x="810172" y="3868932"/>
            <a:ext cx="10553154" cy="400110"/>
          </a:xfrm>
          <a:prstGeom prst="rect">
            <a:avLst/>
          </a:prstGeom>
          <a:noFill/>
        </p:spPr>
        <p:txBody>
          <a:bodyPr wrap="square" rtlCol="0">
            <a:spAutoFit/>
          </a:bodyPr>
          <a:lstStyle/>
          <a:p>
            <a:pPr marL="0" marR="0" lvl="0" indent="0" algn="ctr" defTabSz="508005"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89AF4"/>
                </a:solidFill>
                <a:effectLst/>
                <a:uLnTx/>
                <a:uFillTx/>
                <a:latin typeface="Trebuchet MS" panose="020B0603020202020204" pitchFamily="34" charset="0"/>
                <a:ea typeface="MS PGothic" pitchFamily="34" charset="-128"/>
                <a:cs typeface="+mn-cs"/>
              </a:rPr>
              <a:t>NGC Catalog</a:t>
            </a:r>
          </a:p>
        </p:txBody>
      </p:sp>
      <p:grpSp>
        <p:nvGrpSpPr>
          <p:cNvPr id="19" name="Group 18">
            <a:extLst>
              <a:ext uri="{FF2B5EF4-FFF2-40B4-BE49-F238E27FC236}">
                <a16:creationId xmlns:a16="http://schemas.microsoft.com/office/drawing/2014/main" id="{6AFCD429-0897-9846-95E8-D5C2756192E2}"/>
              </a:ext>
            </a:extLst>
          </p:cNvPr>
          <p:cNvGrpSpPr/>
          <p:nvPr/>
        </p:nvGrpSpPr>
        <p:grpSpPr>
          <a:xfrm>
            <a:off x="1384532" y="4299501"/>
            <a:ext cx="1023536" cy="1457541"/>
            <a:chOff x="1384532" y="4299501"/>
            <a:chExt cx="1023536" cy="1457541"/>
          </a:xfrm>
        </p:grpSpPr>
        <p:grpSp>
          <p:nvGrpSpPr>
            <p:cNvPr id="78" name="Group 77">
              <a:extLst>
                <a:ext uri="{FF2B5EF4-FFF2-40B4-BE49-F238E27FC236}">
                  <a16:creationId xmlns:a16="http://schemas.microsoft.com/office/drawing/2014/main" id="{A68B6EE4-4212-A1A3-F049-C432CEDB09E6}"/>
                </a:ext>
              </a:extLst>
            </p:cNvPr>
            <p:cNvGrpSpPr/>
            <p:nvPr/>
          </p:nvGrpSpPr>
          <p:grpSpPr>
            <a:xfrm>
              <a:off x="1384532" y="4299501"/>
              <a:ext cx="1023536" cy="998467"/>
              <a:chOff x="661646" y="4055577"/>
              <a:chExt cx="1023536" cy="998467"/>
            </a:xfrm>
          </p:grpSpPr>
          <p:pic>
            <p:nvPicPr>
              <p:cNvPr id="75" name="Graphic 74" descr="Monitor with solid fill">
                <a:extLst>
                  <a:ext uri="{FF2B5EF4-FFF2-40B4-BE49-F238E27FC236}">
                    <a16:creationId xmlns:a16="http://schemas.microsoft.com/office/drawing/2014/main" id="{F8F322F5-6919-D1AD-5843-97A7D2D2FFC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1646" y="4055577"/>
                <a:ext cx="1023536" cy="998467"/>
              </a:xfrm>
              <a:prstGeom prst="rect">
                <a:avLst/>
              </a:prstGeom>
            </p:spPr>
          </p:pic>
          <p:sp>
            <p:nvSpPr>
              <p:cNvPr id="32" name="Rectangle 31">
                <a:extLst>
                  <a:ext uri="{FF2B5EF4-FFF2-40B4-BE49-F238E27FC236}">
                    <a16:creationId xmlns:a16="http://schemas.microsoft.com/office/drawing/2014/main" id="{81044BAA-C50C-E826-EEDB-4A25C755D636}"/>
                  </a:ext>
                </a:extLst>
              </p:cNvPr>
              <p:cNvSpPr/>
              <p:nvPr/>
            </p:nvSpPr>
            <p:spPr bwMode="auto">
              <a:xfrm>
                <a:off x="785319" y="4262104"/>
                <a:ext cx="769514" cy="459827"/>
              </a:xfrm>
              <a:prstGeom prst="rect">
                <a:avLst/>
              </a:prstGeom>
              <a:solidFill>
                <a:srgbClr val="461E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ND</a:t>
                </a:r>
              </a:p>
            </p:txBody>
          </p:sp>
        </p:grpSp>
        <p:sp>
          <p:nvSpPr>
            <p:cNvPr id="60" name="TextBox 59">
              <a:extLst>
                <a:ext uri="{FF2B5EF4-FFF2-40B4-BE49-F238E27FC236}">
                  <a16:creationId xmlns:a16="http://schemas.microsoft.com/office/drawing/2014/main" id="{789E4BB0-850E-24AA-09F1-FBCC20AC7FA9}"/>
                </a:ext>
              </a:extLst>
            </p:cNvPr>
            <p:cNvSpPr txBox="1"/>
            <p:nvPr/>
          </p:nvSpPr>
          <p:spPr>
            <a:xfrm>
              <a:off x="1474823" y="5233822"/>
              <a:ext cx="87278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
                </a:rPr>
                <a:t>NVIDIA P40</a:t>
              </a:r>
            </a:p>
          </p:txBody>
        </p:sp>
      </p:grpSp>
      <p:grpSp>
        <p:nvGrpSpPr>
          <p:cNvPr id="14" name="Group 13">
            <a:extLst>
              <a:ext uri="{FF2B5EF4-FFF2-40B4-BE49-F238E27FC236}">
                <a16:creationId xmlns:a16="http://schemas.microsoft.com/office/drawing/2014/main" id="{27440FE6-4928-6BD2-7245-74C1C3304F9C}"/>
              </a:ext>
            </a:extLst>
          </p:cNvPr>
          <p:cNvGrpSpPr/>
          <p:nvPr/>
        </p:nvGrpSpPr>
        <p:grpSpPr>
          <a:xfrm>
            <a:off x="708454" y="1886320"/>
            <a:ext cx="1559830" cy="1314726"/>
            <a:chOff x="709664" y="1886320"/>
            <a:chExt cx="1559830" cy="1314726"/>
          </a:xfrm>
        </p:grpSpPr>
        <p:sp>
          <p:nvSpPr>
            <p:cNvPr id="6" name="TextBox 5">
              <a:extLst>
                <a:ext uri="{FF2B5EF4-FFF2-40B4-BE49-F238E27FC236}">
                  <a16:creationId xmlns:a16="http://schemas.microsoft.com/office/drawing/2014/main" id="{B004511F-D05E-36F2-C55D-CE69491FCE7F}"/>
                </a:ext>
              </a:extLst>
            </p:cNvPr>
            <p:cNvSpPr txBox="1"/>
            <p:nvPr/>
          </p:nvSpPr>
          <p:spPr>
            <a:xfrm>
              <a:off x="709664" y="1886320"/>
              <a:ext cx="1559830" cy="268792"/>
            </a:xfrm>
            <a:prstGeom prst="rect">
              <a:avLst/>
            </a:prstGeom>
            <a:no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00" tIns="50800" rIns="101600" bIns="50800" numCol="1" spcCol="0" rtlCol="0" fromWordArt="0" anchor="ctr" anchorCtr="0" forceAA="0" compatLnSpc="1">
              <a:prstTxWarp prst="textNoShape">
                <a:avLst/>
              </a:prstTxWarp>
              <a:spAutoFit/>
            </a:bodyPr>
            <a:lstStyle/>
            <a:p>
              <a:pPr marL="0" marR="0" lvl="0" indent="0" algn="ctr" defTabSz="1015990" rtl="0" eaLnBrk="1" fontAlgn="auto" latinLnBrk="0" hangingPunct="1">
                <a:lnSpc>
                  <a:spcPct val="9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sym typeface="Arial"/>
                </a:rPr>
                <a:t>100 + containers</a:t>
              </a:r>
            </a:p>
          </p:txBody>
        </p:sp>
        <p:sp>
          <p:nvSpPr>
            <p:cNvPr id="21" name="TextBox 20">
              <a:extLst>
                <a:ext uri="{FF2B5EF4-FFF2-40B4-BE49-F238E27FC236}">
                  <a16:creationId xmlns:a16="http://schemas.microsoft.com/office/drawing/2014/main" id="{8ACC687B-803A-BB64-0FB0-943D9247C2EC}"/>
                </a:ext>
              </a:extLst>
            </p:cNvPr>
            <p:cNvSpPr txBox="1"/>
            <p:nvPr/>
          </p:nvSpPr>
          <p:spPr>
            <a:xfrm>
              <a:off x="991147" y="2970214"/>
              <a:ext cx="1094982" cy="23083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1015990" rtl="0" eaLnBrk="1" fontAlgn="auto" latinLnBrk="0" hangingPunct="1">
                <a:lnSpc>
                  <a:spcPct val="90000"/>
                </a:lnSpc>
                <a:spcBef>
                  <a:spcPts val="0"/>
                </a:spcBef>
                <a:spcAft>
                  <a:spcPts val="0"/>
                </a:spcAft>
                <a:buClr>
                  <a:srgbClr val="000000"/>
                </a:buClr>
                <a:buSzTx/>
                <a:buFontTx/>
                <a:buNone/>
                <a:tabLst/>
                <a:defRPr/>
              </a:pPr>
              <a:r>
                <a:rPr kumimoji="0" lang="en-US" sz="1000" b="0" i="0" u="none" strike="noStrike" kern="0" cap="none" spc="0" normalizeH="0" baseline="0" noProof="0">
                  <a:ln>
                    <a:noFill/>
                  </a:ln>
                  <a:solidFill>
                    <a:srgbClr val="F89AF4"/>
                  </a:solidFill>
                  <a:effectLst/>
                  <a:uLnTx/>
                  <a:uFillTx/>
                  <a:latin typeface="Segoe UI "/>
                  <a:sym typeface="Arial"/>
                </a:rPr>
                <a:t>HPC | DL | ML</a:t>
              </a:r>
            </a:p>
          </p:txBody>
        </p:sp>
        <p:pic>
          <p:nvPicPr>
            <p:cNvPr id="13" name="Graphic 12" descr="Box with solid fill">
              <a:extLst>
                <a:ext uri="{FF2B5EF4-FFF2-40B4-BE49-F238E27FC236}">
                  <a16:creationId xmlns:a16="http://schemas.microsoft.com/office/drawing/2014/main" id="{3A6FB30C-70E7-41A9-B25D-B302D850241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679" y="2173707"/>
              <a:ext cx="786977" cy="786977"/>
            </a:xfrm>
            <a:prstGeom prst="rect">
              <a:avLst/>
            </a:prstGeom>
          </p:spPr>
        </p:pic>
      </p:grpSp>
      <p:grpSp>
        <p:nvGrpSpPr>
          <p:cNvPr id="15" name="Group 14">
            <a:extLst>
              <a:ext uri="{FF2B5EF4-FFF2-40B4-BE49-F238E27FC236}">
                <a16:creationId xmlns:a16="http://schemas.microsoft.com/office/drawing/2014/main" id="{3B1E151A-8B8A-F4E7-32FC-61E34DA407EA}"/>
              </a:ext>
            </a:extLst>
          </p:cNvPr>
          <p:cNvGrpSpPr/>
          <p:nvPr/>
        </p:nvGrpSpPr>
        <p:grpSpPr>
          <a:xfrm>
            <a:off x="2590061" y="1886319"/>
            <a:ext cx="2213620" cy="1314727"/>
            <a:chOff x="2614028" y="1886319"/>
            <a:chExt cx="2213620" cy="1314727"/>
          </a:xfrm>
        </p:grpSpPr>
        <p:sp>
          <p:nvSpPr>
            <p:cNvPr id="7" name="TextBox 6">
              <a:extLst>
                <a:ext uri="{FF2B5EF4-FFF2-40B4-BE49-F238E27FC236}">
                  <a16:creationId xmlns:a16="http://schemas.microsoft.com/office/drawing/2014/main" id="{23D916EF-0313-C7CD-8418-FF3262B8B750}"/>
                </a:ext>
              </a:extLst>
            </p:cNvPr>
            <p:cNvSpPr txBox="1"/>
            <p:nvPr/>
          </p:nvSpPr>
          <p:spPr>
            <a:xfrm>
              <a:off x="2614028" y="1886319"/>
              <a:ext cx="2213620" cy="268792"/>
            </a:xfrm>
            <a:prstGeom prst="rect">
              <a:avLst/>
            </a:prstGeom>
            <a:no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00" tIns="50800" rIns="101600" bIns="50800" numCol="1" spcCol="0" rtlCol="0" fromWordArt="0" anchor="ctr" anchorCtr="0" forceAA="0" compatLnSpc="1">
              <a:prstTxWarp prst="textNoShape">
                <a:avLst/>
              </a:prstTxWarp>
              <a:spAutoFit/>
            </a:bodyPr>
            <a:lstStyle/>
            <a:p>
              <a:pPr marL="0" marR="0" lvl="0" indent="0" algn="ctr" defTabSz="1015990" rtl="0" eaLnBrk="1" fontAlgn="auto" latinLnBrk="0" hangingPunct="1">
                <a:lnSpc>
                  <a:spcPct val="9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sym typeface="Arial"/>
                </a:rPr>
                <a:t>100+ pre-trained models</a:t>
              </a:r>
            </a:p>
          </p:txBody>
        </p:sp>
        <p:sp>
          <p:nvSpPr>
            <p:cNvPr id="22" name="TextBox 21">
              <a:extLst>
                <a:ext uri="{FF2B5EF4-FFF2-40B4-BE49-F238E27FC236}">
                  <a16:creationId xmlns:a16="http://schemas.microsoft.com/office/drawing/2014/main" id="{2BF392F7-7BFF-7F90-AE6E-2AEFB1C7D666}"/>
                </a:ext>
              </a:extLst>
            </p:cNvPr>
            <p:cNvSpPr txBox="1"/>
            <p:nvPr/>
          </p:nvSpPr>
          <p:spPr>
            <a:xfrm>
              <a:off x="2943413" y="2970214"/>
              <a:ext cx="1578602" cy="23083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1015990" rtl="0" eaLnBrk="1" fontAlgn="auto" latinLnBrk="0" hangingPunct="1">
                <a:lnSpc>
                  <a:spcPct val="90000"/>
                </a:lnSpc>
                <a:spcBef>
                  <a:spcPts val="0"/>
                </a:spcBef>
                <a:spcAft>
                  <a:spcPts val="0"/>
                </a:spcAft>
                <a:buClr>
                  <a:srgbClr val="000000"/>
                </a:buClr>
                <a:buSzTx/>
                <a:buFontTx/>
                <a:buNone/>
                <a:tabLst/>
                <a:defRPr/>
              </a:pPr>
              <a:r>
                <a:rPr kumimoji="0" lang="en-US" sz="1000" b="0" i="0" u="none" strike="noStrike" kern="1200" cap="none" spc="0" normalizeH="0" baseline="0" noProof="0">
                  <a:ln>
                    <a:noFill/>
                  </a:ln>
                  <a:solidFill>
                    <a:srgbClr val="F89AF4"/>
                  </a:solidFill>
                  <a:effectLst/>
                  <a:uLnTx/>
                  <a:uFillTx/>
                  <a:latin typeface="Segoe UI "/>
                  <a:sym typeface="Arial"/>
                </a:rPr>
                <a:t>Computer vision | NLP</a:t>
              </a:r>
              <a:endParaRPr kumimoji="0" lang="en-US" sz="1000" b="0" i="0" u="none" strike="noStrike" kern="0" cap="none" spc="0" normalizeH="0" baseline="0" noProof="0">
                <a:ln>
                  <a:noFill/>
                </a:ln>
                <a:solidFill>
                  <a:srgbClr val="F89AF4"/>
                </a:solidFill>
                <a:effectLst/>
                <a:uLnTx/>
                <a:uFillTx/>
                <a:latin typeface="Segoe UI "/>
                <a:sym typeface="Arial"/>
              </a:endParaRPr>
            </a:p>
          </p:txBody>
        </p:sp>
        <p:pic>
          <p:nvPicPr>
            <p:cNvPr id="35" name="Graphic 34" descr="Puzzle pieces with solid fill">
              <a:extLst>
                <a:ext uri="{FF2B5EF4-FFF2-40B4-BE49-F238E27FC236}">
                  <a16:creationId xmlns:a16="http://schemas.microsoft.com/office/drawing/2014/main" id="{624561BB-5113-4353-5A37-A54308AC539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425991" y="2147658"/>
              <a:ext cx="786977" cy="786977"/>
            </a:xfrm>
            <a:prstGeom prst="rect">
              <a:avLst/>
            </a:prstGeom>
          </p:spPr>
        </p:pic>
      </p:grpSp>
      <p:grpSp>
        <p:nvGrpSpPr>
          <p:cNvPr id="16" name="Group 15">
            <a:extLst>
              <a:ext uri="{FF2B5EF4-FFF2-40B4-BE49-F238E27FC236}">
                <a16:creationId xmlns:a16="http://schemas.microsoft.com/office/drawing/2014/main" id="{5BCDC5A9-235C-2B0A-A424-A9ED412ABC5C}"/>
              </a:ext>
            </a:extLst>
          </p:cNvPr>
          <p:cNvGrpSpPr/>
          <p:nvPr/>
        </p:nvGrpSpPr>
        <p:grpSpPr>
          <a:xfrm>
            <a:off x="5052115" y="1886320"/>
            <a:ext cx="2282159" cy="1305357"/>
            <a:chOff x="5052115" y="1886320"/>
            <a:chExt cx="2282159" cy="1305357"/>
          </a:xfrm>
        </p:grpSpPr>
        <p:sp>
          <p:nvSpPr>
            <p:cNvPr id="9" name="TextBox 8">
              <a:extLst>
                <a:ext uri="{FF2B5EF4-FFF2-40B4-BE49-F238E27FC236}">
                  <a16:creationId xmlns:a16="http://schemas.microsoft.com/office/drawing/2014/main" id="{F0470C19-3F86-BAC0-AEA8-B69B977DE836}"/>
                </a:ext>
              </a:extLst>
            </p:cNvPr>
            <p:cNvSpPr txBox="1"/>
            <p:nvPr/>
          </p:nvSpPr>
          <p:spPr>
            <a:xfrm>
              <a:off x="5052115" y="1886320"/>
              <a:ext cx="2246413" cy="268792"/>
            </a:xfrm>
            <a:prstGeom prst="rect">
              <a:avLst/>
            </a:prstGeom>
            <a:no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00" tIns="50800" rIns="101600" bIns="50800" numCol="1" spcCol="0" rtlCol="0" fromWordArt="0" anchor="ctr" anchorCtr="0" forceAA="0" compatLnSpc="1">
              <a:prstTxWarp prst="textNoShape">
                <a:avLst/>
              </a:prstTxWarp>
              <a:spAutoFit/>
            </a:bodyPr>
            <a:lstStyle/>
            <a:p>
              <a:pPr marL="0" marR="0" lvl="0" indent="0" algn="ctr" defTabSz="1015990" rtl="0" eaLnBrk="1" fontAlgn="auto" latinLnBrk="0" hangingPunct="1">
                <a:lnSpc>
                  <a:spcPct val="9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sym typeface="Arial"/>
                </a:rPr>
                <a:t>Industry frameworks</a:t>
              </a:r>
            </a:p>
          </p:txBody>
        </p:sp>
        <p:sp>
          <p:nvSpPr>
            <p:cNvPr id="24" name="TextBox 23">
              <a:extLst>
                <a:ext uri="{FF2B5EF4-FFF2-40B4-BE49-F238E27FC236}">
                  <a16:creationId xmlns:a16="http://schemas.microsoft.com/office/drawing/2014/main" id="{9642E5BB-C305-C291-F2AE-0CFAE8096A03}"/>
                </a:ext>
              </a:extLst>
            </p:cNvPr>
            <p:cNvSpPr txBox="1"/>
            <p:nvPr/>
          </p:nvSpPr>
          <p:spPr>
            <a:xfrm>
              <a:off x="5141602" y="2960845"/>
              <a:ext cx="2192672" cy="23083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1015990" rtl="0" eaLnBrk="1" fontAlgn="auto" latinLnBrk="0" hangingPunct="1">
                <a:lnSpc>
                  <a:spcPct val="90000"/>
                </a:lnSpc>
                <a:spcBef>
                  <a:spcPts val="0"/>
                </a:spcBef>
                <a:spcAft>
                  <a:spcPts val="0"/>
                </a:spcAft>
                <a:buClr>
                  <a:srgbClr val="000000"/>
                </a:buClr>
                <a:buSzTx/>
                <a:buFontTx/>
                <a:buNone/>
                <a:tabLst/>
                <a:defRPr/>
              </a:pPr>
              <a:r>
                <a:rPr kumimoji="0" lang="en-US" sz="1000" b="0" i="0" u="none" strike="noStrike" kern="0" cap="none" spc="0" normalizeH="0" baseline="0" noProof="0">
                  <a:ln>
                    <a:noFill/>
                  </a:ln>
                  <a:solidFill>
                    <a:srgbClr val="F89AF4"/>
                  </a:solidFill>
                  <a:effectLst/>
                  <a:uLnTx/>
                  <a:uFillTx/>
                  <a:latin typeface="Segoe UI "/>
                  <a:sym typeface="Arial"/>
                </a:rPr>
                <a:t>CLARA | JARVIS | ISAAC</a:t>
              </a:r>
            </a:p>
          </p:txBody>
        </p:sp>
        <p:pic>
          <p:nvPicPr>
            <p:cNvPr id="69" name="Graphic 68" descr="Mining tools with solid fill">
              <a:extLst>
                <a:ext uri="{FF2B5EF4-FFF2-40B4-BE49-F238E27FC236}">
                  <a16:creationId xmlns:a16="http://schemas.microsoft.com/office/drawing/2014/main" id="{EAC76FD1-1768-81E0-CA59-5AB5DF7EEE2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90100" y="2222060"/>
              <a:ext cx="712551" cy="712551"/>
            </a:xfrm>
            <a:prstGeom prst="rect">
              <a:avLst/>
            </a:prstGeom>
          </p:spPr>
        </p:pic>
      </p:grpSp>
      <p:grpSp>
        <p:nvGrpSpPr>
          <p:cNvPr id="17" name="Group 16">
            <a:extLst>
              <a:ext uri="{FF2B5EF4-FFF2-40B4-BE49-F238E27FC236}">
                <a16:creationId xmlns:a16="http://schemas.microsoft.com/office/drawing/2014/main" id="{4C44FE36-155A-75B2-38D0-ED5881F715AF}"/>
              </a:ext>
            </a:extLst>
          </p:cNvPr>
          <p:cNvGrpSpPr/>
          <p:nvPr/>
        </p:nvGrpSpPr>
        <p:grpSpPr>
          <a:xfrm>
            <a:off x="7671835" y="1886319"/>
            <a:ext cx="1707613" cy="1314727"/>
            <a:chOff x="7671835" y="1886319"/>
            <a:chExt cx="1707613" cy="1314727"/>
          </a:xfrm>
        </p:grpSpPr>
        <p:sp>
          <p:nvSpPr>
            <p:cNvPr id="8" name="TextBox 7">
              <a:extLst>
                <a:ext uri="{FF2B5EF4-FFF2-40B4-BE49-F238E27FC236}">
                  <a16:creationId xmlns:a16="http://schemas.microsoft.com/office/drawing/2014/main" id="{E50FCDD5-6C66-C31B-5273-C7AD2C4EEADC}"/>
                </a:ext>
              </a:extLst>
            </p:cNvPr>
            <p:cNvSpPr txBox="1"/>
            <p:nvPr/>
          </p:nvSpPr>
          <p:spPr>
            <a:xfrm>
              <a:off x="7877468" y="1886319"/>
              <a:ext cx="1296346" cy="268792"/>
            </a:xfrm>
            <a:prstGeom prst="rect">
              <a:avLst/>
            </a:prstGeom>
            <a:no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00" tIns="50800" rIns="101600" bIns="50800" numCol="1" spcCol="0" rtlCol="0" fromWordArt="0" anchor="ctr" anchorCtr="0" forceAA="0" compatLnSpc="1">
              <a:prstTxWarp prst="textNoShape">
                <a:avLst/>
              </a:prstTxWarp>
              <a:spAutoFit/>
            </a:bodyPr>
            <a:lstStyle/>
            <a:p>
              <a:pPr marL="0" marR="0" lvl="0" indent="0" algn="ctr" defTabSz="1015990" rtl="0" eaLnBrk="1" fontAlgn="auto" latinLnBrk="0" hangingPunct="1">
                <a:lnSpc>
                  <a:spcPct val="9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sym typeface="Arial"/>
                </a:rPr>
                <a:t>Helm charts</a:t>
              </a:r>
            </a:p>
          </p:txBody>
        </p:sp>
        <p:sp>
          <p:nvSpPr>
            <p:cNvPr id="23" name="TextBox 22">
              <a:extLst>
                <a:ext uri="{FF2B5EF4-FFF2-40B4-BE49-F238E27FC236}">
                  <a16:creationId xmlns:a16="http://schemas.microsoft.com/office/drawing/2014/main" id="{D09F0440-DD30-7E99-8FF3-763ADD58D62A}"/>
                </a:ext>
              </a:extLst>
            </p:cNvPr>
            <p:cNvSpPr txBox="1"/>
            <p:nvPr/>
          </p:nvSpPr>
          <p:spPr>
            <a:xfrm>
              <a:off x="7671835" y="2970214"/>
              <a:ext cx="1707613" cy="23083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1015990" rtl="0" eaLnBrk="1" fontAlgn="auto" latinLnBrk="0" hangingPunct="1">
                <a:lnSpc>
                  <a:spcPct val="90000"/>
                </a:lnSpc>
                <a:spcBef>
                  <a:spcPts val="0"/>
                </a:spcBef>
                <a:spcAft>
                  <a:spcPts val="0"/>
                </a:spcAft>
                <a:buClr>
                  <a:srgbClr val="000000"/>
                </a:buClr>
                <a:buSzTx/>
                <a:buFontTx/>
                <a:buNone/>
                <a:tabLst/>
                <a:defRPr/>
              </a:pPr>
              <a:r>
                <a:rPr kumimoji="0" lang="en-US" sz="1000" b="0" i="0" u="none" strike="noStrike" kern="0" cap="none" spc="0" normalizeH="0" baseline="0" noProof="0">
                  <a:ln>
                    <a:noFill/>
                  </a:ln>
                  <a:solidFill>
                    <a:srgbClr val="F89AF4"/>
                  </a:solidFill>
                  <a:effectLst/>
                  <a:uLnTx/>
                  <a:uFillTx/>
                  <a:latin typeface="Segoe UI "/>
                  <a:sym typeface="Arial"/>
                </a:rPr>
                <a:t>TRITON | GPU operator</a:t>
              </a:r>
            </a:p>
          </p:txBody>
        </p:sp>
        <p:pic>
          <p:nvPicPr>
            <p:cNvPr id="71" name="Graphic 70" descr="Steering Wheel with solid fill">
              <a:extLst>
                <a:ext uri="{FF2B5EF4-FFF2-40B4-BE49-F238E27FC236}">
                  <a16:creationId xmlns:a16="http://schemas.microsoft.com/office/drawing/2014/main" id="{0DCF24D3-1766-8DD6-1EEF-B0338CCFCF3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217369" y="2187514"/>
              <a:ext cx="727372" cy="727372"/>
            </a:xfrm>
            <a:prstGeom prst="rect">
              <a:avLst/>
            </a:prstGeom>
          </p:spPr>
        </p:pic>
      </p:grpSp>
      <p:grpSp>
        <p:nvGrpSpPr>
          <p:cNvPr id="18" name="Group 17">
            <a:extLst>
              <a:ext uri="{FF2B5EF4-FFF2-40B4-BE49-F238E27FC236}">
                <a16:creationId xmlns:a16="http://schemas.microsoft.com/office/drawing/2014/main" id="{AE456894-6F5F-3CEB-B9CA-12BF56DCE42A}"/>
              </a:ext>
            </a:extLst>
          </p:cNvPr>
          <p:cNvGrpSpPr/>
          <p:nvPr/>
        </p:nvGrpSpPr>
        <p:grpSpPr>
          <a:xfrm>
            <a:off x="9171021" y="1886319"/>
            <a:ext cx="2818522" cy="1301592"/>
            <a:chOff x="9171021" y="1886319"/>
            <a:chExt cx="2818522" cy="1301592"/>
          </a:xfrm>
        </p:grpSpPr>
        <p:sp>
          <p:nvSpPr>
            <p:cNvPr id="10" name="TextBox 9">
              <a:extLst>
                <a:ext uri="{FF2B5EF4-FFF2-40B4-BE49-F238E27FC236}">
                  <a16:creationId xmlns:a16="http://schemas.microsoft.com/office/drawing/2014/main" id="{C9BB3919-E4A7-A246-3D24-5C89DBC4CBEF}"/>
                </a:ext>
              </a:extLst>
            </p:cNvPr>
            <p:cNvSpPr txBox="1"/>
            <p:nvPr/>
          </p:nvSpPr>
          <p:spPr>
            <a:xfrm>
              <a:off x="9835081" y="1886319"/>
              <a:ext cx="1318694" cy="268792"/>
            </a:xfrm>
            <a:prstGeom prst="rect">
              <a:avLst/>
            </a:prstGeom>
            <a:no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600" tIns="50800" rIns="101600" bIns="50800" numCol="1" spcCol="0" rtlCol="0" fromWordArt="0" anchor="ctr" anchorCtr="0" forceAA="0" compatLnSpc="1">
              <a:prstTxWarp prst="textNoShape">
                <a:avLst/>
              </a:prstTxWarp>
              <a:spAutoFit/>
            </a:bodyPr>
            <a:lstStyle/>
            <a:p>
              <a:pPr marL="0" marR="0" lvl="0" indent="0" algn="ctr" defTabSz="1015990" rtl="0" eaLnBrk="1" fontAlgn="auto" latinLnBrk="0" hangingPunct="1">
                <a:lnSpc>
                  <a:spcPct val="9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sym typeface="Arial"/>
                </a:rPr>
                <a:t>Collections</a:t>
              </a:r>
            </a:p>
          </p:txBody>
        </p:sp>
        <p:sp>
          <p:nvSpPr>
            <p:cNvPr id="25" name="TextBox 24">
              <a:extLst>
                <a:ext uri="{FF2B5EF4-FFF2-40B4-BE49-F238E27FC236}">
                  <a16:creationId xmlns:a16="http://schemas.microsoft.com/office/drawing/2014/main" id="{38D80056-DACA-B4C5-6119-7E18147513D0}"/>
                </a:ext>
              </a:extLst>
            </p:cNvPr>
            <p:cNvSpPr txBox="1"/>
            <p:nvPr/>
          </p:nvSpPr>
          <p:spPr>
            <a:xfrm>
              <a:off x="9171021" y="2970929"/>
              <a:ext cx="2818522" cy="21698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1015990" rtl="0" eaLnBrk="1" fontAlgn="auto" latinLnBrk="0" hangingPunct="1">
                <a:lnSpc>
                  <a:spcPct val="90000"/>
                </a:lnSpc>
                <a:spcBef>
                  <a:spcPts val="0"/>
                </a:spcBef>
                <a:spcAft>
                  <a:spcPts val="0"/>
                </a:spcAft>
                <a:buClr>
                  <a:srgbClr val="000000"/>
                </a:buClr>
                <a:buSzTx/>
                <a:buFontTx/>
                <a:buNone/>
                <a:tabLst/>
                <a:defRPr/>
              </a:pPr>
              <a:r>
                <a:rPr kumimoji="0" lang="en-US" sz="900" b="0" i="0" u="none" strike="noStrike" kern="0" cap="none" spc="0" normalizeH="0" baseline="0" noProof="0">
                  <a:ln>
                    <a:noFill/>
                  </a:ln>
                  <a:solidFill>
                    <a:srgbClr val="F89AF4"/>
                  </a:solidFill>
                  <a:effectLst/>
                  <a:uLnTx/>
                  <a:uFillTx/>
                  <a:latin typeface="Segoe UI "/>
                  <a:sym typeface="Arial"/>
                </a:rPr>
                <a:t>CLARA DISCOVERY | TLT-JARVIS | RECSYS</a:t>
              </a:r>
            </a:p>
          </p:txBody>
        </p:sp>
        <p:pic>
          <p:nvPicPr>
            <p:cNvPr id="73" name="Graphic 72" descr="Layers Design with solid fill">
              <a:extLst>
                <a:ext uri="{FF2B5EF4-FFF2-40B4-BE49-F238E27FC236}">
                  <a16:creationId xmlns:a16="http://schemas.microsoft.com/office/drawing/2014/main" id="{3C8272A0-B211-41F3-A8ED-ADC707F94B0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155343" y="2132251"/>
              <a:ext cx="786977" cy="786977"/>
            </a:xfrm>
            <a:prstGeom prst="rect">
              <a:avLst/>
            </a:prstGeom>
          </p:spPr>
        </p:pic>
      </p:grpSp>
      <p:grpSp>
        <p:nvGrpSpPr>
          <p:cNvPr id="20" name="Group 19">
            <a:extLst>
              <a:ext uri="{FF2B5EF4-FFF2-40B4-BE49-F238E27FC236}">
                <a16:creationId xmlns:a16="http://schemas.microsoft.com/office/drawing/2014/main" id="{CD9211BD-D803-7705-109E-B37102FF6700}"/>
              </a:ext>
            </a:extLst>
          </p:cNvPr>
          <p:cNvGrpSpPr/>
          <p:nvPr/>
        </p:nvGrpSpPr>
        <p:grpSpPr>
          <a:xfrm>
            <a:off x="2800601" y="4299501"/>
            <a:ext cx="1023536" cy="1457541"/>
            <a:chOff x="2800601" y="4299501"/>
            <a:chExt cx="1023536" cy="1457541"/>
          </a:xfrm>
        </p:grpSpPr>
        <p:sp>
          <p:nvSpPr>
            <p:cNvPr id="76" name="TextBox 75">
              <a:extLst>
                <a:ext uri="{FF2B5EF4-FFF2-40B4-BE49-F238E27FC236}">
                  <a16:creationId xmlns:a16="http://schemas.microsoft.com/office/drawing/2014/main" id="{B71A5CB6-EE54-C153-F782-51F178A26960}"/>
                </a:ext>
              </a:extLst>
            </p:cNvPr>
            <p:cNvSpPr txBox="1"/>
            <p:nvPr/>
          </p:nvSpPr>
          <p:spPr>
            <a:xfrm>
              <a:off x="2895211" y="5233822"/>
              <a:ext cx="87278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
                </a:rPr>
                <a:t>NVIDIA V100</a:t>
              </a:r>
            </a:p>
          </p:txBody>
        </p:sp>
        <p:grpSp>
          <p:nvGrpSpPr>
            <p:cNvPr id="79" name="Group 78">
              <a:extLst>
                <a:ext uri="{FF2B5EF4-FFF2-40B4-BE49-F238E27FC236}">
                  <a16:creationId xmlns:a16="http://schemas.microsoft.com/office/drawing/2014/main" id="{CBAFF60F-EB81-8A10-31F3-5187C394A407}"/>
                </a:ext>
              </a:extLst>
            </p:cNvPr>
            <p:cNvGrpSpPr/>
            <p:nvPr/>
          </p:nvGrpSpPr>
          <p:grpSpPr>
            <a:xfrm>
              <a:off x="2800601" y="4299501"/>
              <a:ext cx="1023536" cy="998467"/>
              <a:chOff x="661646" y="4055577"/>
              <a:chExt cx="1023536" cy="998467"/>
            </a:xfrm>
          </p:grpSpPr>
          <p:pic>
            <p:nvPicPr>
              <p:cNvPr id="80" name="Graphic 79" descr="Monitor with solid fill">
                <a:extLst>
                  <a:ext uri="{FF2B5EF4-FFF2-40B4-BE49-F238E27FC236}">
                    <a16:creationId xmlns:a16="http://schemas.microsoft.com/office/drawing/2014/main" id="{55A234CB-3A88-ADA7-B459-F17C20511C4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1646" y="4055577"/>
                <a:ext cx="1023536" cy="998467"/>
              </a:xfrm>
              <a:prstGeom prst="rect">
                <a:avLst/>
              </a:prstGeom>
            </p:spPr>
          </p:pic>
          <p:sp>
            <p:nvSpPr>
              <p:cNvPr id="81" name="Rectangle 80">
                <a:extLst>
                  <a:ext uri="{FF2B5EF4-FFF2-40B4-BE49-F238E27FC236}">
                    <a16:creationId xmlns:a16="http://schemas.microsoft.com/office/drawing/2014/main" id="{C0B02C7C-F026-C171-6F27-4E9499E20786}"/>
                  </a:ext>
                </a:extLst>
              </p:cNvPr>
              <p:cNvSpPr/>
              <p:nvPr/>
            </p:nvSpPr>
            <p:spPr bwMode="auto">
              <a:xfrm>
                <a:off x="785319" y="4262104"/>
                <a:ext cx="769514" cy="459827"/>
              </a:xfrm>
              <a:prstGeom prst="rect">
                <a:avLst/>
              </a:prstGeom>
              <a:solidFill>
                <a:srgbClr val="461E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NDv2</a:t>
                </a:r>
              </a:p>
            </p:txBody>
          </p:sp>
        </p:grpSp>
      </p:grpSp>
      <p:grpSp>
        <p:nvGrpSpPr>
          <p:cNvPr id="26" name="Group 25">
            <a:extLst>
              <a:ext uri="{FF2B5EF4-FFF2-40B4-BE49-F238E27FC236}">
                <a16:creationId xmlns:a16="http://schemas.microsoft.com/office/drawing/2014/main" id="{605DC825-A358-587F-4680-7D4241591BF8}"/>
              </a:ext>
            </a:extLst>
          </p:cNvPr>
          <p:cNvGrpSpPr/>
          <p:nvPr/>
        </p:nvGrpSpPr>
        <p:grpSpPr>
          <a:xfrm>
            <a:off x="4206201" y="4299501"/>
            <a:ext cx="1023536" cy="1457541"/>
            <a:chOff x="4206201" y="4299501"/>
            <a:chExt cx="1023536" cy="1457541"/>
          </a:xfrm>
        </p:grpSpPr>
        <p:sp>
          <p:nvSpPr>
            <p:cNvPr id="82" name="TextBox 81">
              <a:extLst>
                <a:ext uri="{FF2B5EF4-FFF2-40B4-BE49-F238E27FC236}">
                  <a16:creationId xmlns:a16="http://schemas.microsoft.com/office/drawing/2014/main" id="{72910F75-3AA4-3B6C-29E0-CEE1FD6E9ED7}"/>
                </a:ext>
              </a:extLst>
            </p:cNvPr>
            <p:cNvSpPr txBox="1"/>
            <p:nvPr/>
          </p:nvSpPr>
          <p:spPr>
            <a:xfrm>
              <a:off x="4300811" y="5233822"/>
              <a:ext cx="87278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
                </a:rPr>
                <a:t>NVIDIA </a:t>
              </a:r>
              <a:r>
                <a:rPr lang="en-US" sz="1400">
                  <a:solidFill>
                    <a:srgbClr val="FFFFFF"/>
                  </a:solidFill>
                  <a:latin typeface="Segoe UI "/>
                </a:rPr>
                <a:t>A</a:t>
              </a:r>
              <a:r>
                <a:rPr kumimoji="0" lang="en-US" sz="1400" b="0" i="0" u="none" strike="noStrike" kern="1200" cap="none" spc="0" normalizeH="0" baseline="0" noProof="0">
                  <a:ln>
                    <a:noFill/>
                  </a:ln>
                  <a:solidFill>
                    <a:srgbClr val="FFFFFF"/>
                  </a:solidFill>
                  <a:effectLst/>
                  <a:uLnTx/>
                  <a:uFillTx/>
                  <a:latin typeface="Segoe UI "/>
                </a:rPr>
                <a:t>100</a:t>
              </a:r>
            </a:p>
          </p:txBody>
        </p:sp>
        <p:grpSp>
          <p:nvGrpSpPr>
            <p:cNvPr id="83" name="Group 82">
              <a:extLst>
                <a:ext uri="{FF2B5EF4-FFF2-40B4-BE49-F238E27FC236}">
                  <a16:creationId xmlns:a16="http://schemas.microsoft.com/office/drawing/2014/main" id="{5081C3C9-32A4-B96C-487D-E5BD656D4C68}"/>
                </a:ext>
              </a:extLst>
            </p:cNvPr>
            <p:cNvGrpSpPr/>
            <p:nvPr/>
          </p:nvGrpSpPr>
          <p:grpSpPr>
            <a:xfrm>
              <a:off x="4206201" y="4299501"/>
              <a:ext cx="1023536" cy="998467"/>
              <a:chOff x="661646" y="4055577"/>
              <a:chExt cx="1023536" cy="998467"/>
            </a:xfrm>
          </p:grpSpPr>
          <p:pic>
            <p:nvPicPr>
              <p:cNvPr id="84" name="Graphic 83" descr="Monitor with solid fill">
                <a:extLst>
                  <a:ext uri="{FF2B5EF4-FFF2-40B4-BE49-F238E27FC236}">
                    <a16:creationId xmlns:a16="http://schemas.microsoft.com/office/drawing/2014/main" id="{86F51C9E-0BAC-B71D-2294-6F978D01F94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1646" y="4055577"/>
                <a:ext cx="1023536" cy="998467"/>
              </a:xfrm>
              <a:prstGeom prst="rect">
                <a:avLst/>
              </a:prstGeom>
            </p:spPr>
          </p:pic>
          <p:sp>
            <p:nvSpPr>
              <p:cNvPr id="85" name="Rectangle 84">
                <a:extLst>
                  <a:ext uri="{FF2B5EF4-FFF2-40B4-BE49-F238E27FC236}">
                    <a16:creationId xmlns:a16="http://schemas.microsoft.com/office/drawing/2014/main" id="{9D120BAC-BD9F-5DFB-2CC3-59564C88C625}"/>
                  </a:ext>
                </a:extLst>
              </p:cNvPr>
              <p:cNvSpPr/>
              <p:nvPr/>
            </p:nvSpPr>
            <p:spPr bwMode="auto">
              <a:xfrm>
                <a:off x="785319" y="4262104"/>
                <a:ext cx="769514" cy="459827"/>
              </a:xfrm>
              <a:prstGeom prst="rect">
                <a:avLst/>
              </a:prstGeom>
              <a:solidFill>
                <a:srgbClr val="461E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ND A100 v4</a:t>
                </a:r>
              </a:p>
            </p:txBody>
          </p:sp>
        </p:grpSp>
      </p:grpSp>
      <p:grpSp>
        <p:nvGrpSpPr>
          <p:cNvPr id="30" name="Group 29">
            <a:extLst>
              <a:ext uri="{FF2B5EF4-FFF2-40B4-BE49-F238E27FC236}">
                <a16:creationId xmlns:a16="http://schemas.microsoft.com/office/drawing/2014/main" id="{D6DCD62D-140E-F206-A875-B8C52CE51F64}"/>
              </a:ext>
            </a:extLst>
          </p:cNvPr>
          <p:cNvGrpSpPr/>
          <p:nvPr/>
        </p:nvGrpSpPr>
        <p:grpSpPr>
          <a:xfrm>
            <a:off x="5591311" y="4299501"/>
            <a:ext cx="1023536" cy="1457541"/>
            <a:chOff x="5591311" y="4299501"/>
            <a:chExt cx="1023536" cy="1457541"/>
          </a:xfrm>
        </p:grpSpPr>
        <p:sp>
          <p:nvSpPr>
            <p:cNvPr id="90" name="TextBox 89">
              <a:extLst>
                <a:ext uri="{FF2B5EF4-FFF2-40B4-BE49-F238E27FC236}">
                  <a16:creationId xmlns:a16="http://schemas.microsoft.com/office/drawing/2014/main" id="{63148D8A-49AB-17D3-4C36-F7AFDBF9090F}"/>
                </a:ext>
              </a:extLst>
            </p:cNvPr>
            <p:cNvSpPr txBox="1"/>
            <p:nvPr/>
          </p:nvSpPr>
          <p:spPr>
            <a:xfrm>
              <a:off x="5685921" y="5233822"/>
              <a:ext cx="87278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
                </a:rPr>
                <a:t>NVIDI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
                </a:rPr>
                <a:t>K80</a:t>
              </a:r>
            </a:p>
          </p:txBody>
        </p:sp>
        <p:grpSp>
          <p:nvGrpSpPr>
            <p:cNvPr id="91" name="Group 90">
              <a:extLst>
                <a:ext uri="{FF2B5EF4-FFF2-40B4-BE49-F238E27FC236}">
                  <a16:creationId xmlns:a16="http://schemas.microsoft.com/office/drawing/2014/main" id="{E62553BA-D8C7-28E7-3CF0-964FE0673901}"/>
                </a:ext>
              </a:extLst>
            </p:cNvPr>
            <p:cNvGrpSpPr/>
            <p:nvPr/>
          </p:nvGrpSpPr>
          <p:grpSpPr>
            <a:xfrm>
              <a:off x="5591311" y="4299501"/>
              <a:ext cx="1023536" cy="998467"/>
              <a:chOff x="661646" y="4055577"/>
              <a:chExt cx="1023536" cy="998467"/>
            </a:xfrm>
          </p:grpSpPr>
          <p:pic>
            <p:nvPicPr>
              <p:cNvPr id="92" name="Graphic 91" descr="Monitor with solid fill">
                <a:extLst>
                  <a:ext uri="{FF2B5EF4-FFF2-40B4-BE49-F238E27FC236}">
                    <a16:creationId xmlns:a16="http://schemas.microsoft.com/office/drawing/2014/main" id="{00AC4135-56B9-76D9-0C48-93F236CA299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1646" y="4055577"/>
                <a:ext cx="1023536" cy="998467"/>
              </a:xfrm>
              <a:prstGeom prst="rect">
                <a:avLst/>
              </a:prstGeom>
            </p:spPr>
          </p:pic>
          <p:sp>
            <p:nvSpPr>
              <p:cNvPr id="93" name="Rectangle 92">
                <a:extLst>
                  <a:ext uri="{FF2B5EF4-FFF2-40B4-BE49-F238E27FC236}">
                    <a16:creationId xmlns:a16="http://schemas.microsoft.com/office/drawing/2014/main" id="{1FF2DDD1-5063-2D46-C532-71C4A8D3FC89}"/>
                  </a:ext>
                </a:extLst>
              </p:cNvPr>
              <p:cNvSpPr/>
              <p:nvPr/>
            </p:nvSpPr>
            <p:spPr bwMode="auto">
              <a:xfrm>
                <a:off x="785319" y="4262104"/>
                <a:ext cx="769514" cy="459827"/>
              </a:xfrm>
              <a:prstGeom prst="rect">
                <a:avLst/>
              </a:prstGeom>
              <a:solidFill>
                <a:srgbClr val="461E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NC</a:t>
                </a:r>
              </a:p>
            </p:txBody>
          </p:sp>
        </p:grpSp>
      </p:grpSp>
      <p:grpSp>
        <p:nvGrpSpPr>
          <p:cNvPr id="67" name="Group 66">
            <a:extLst>
              <a:ext uri="{FF2B5EF4-FFF2-40B4-BE49-F238E27FC236}">
                <a16:creationId xmlns:a16="http://schemas.microsoft.com/office/drawing/2014/main" id="{E5C6AA17-5668-1B25-D22F-63C316DCE59B}"/>
              </a:ext>
            </a:extLst>
          </p:cNvPr>
          <p:cNvGrpSpPr/>
          <p:nvPr/>
        </p:nvGrpSpPr>
        <p:grpSpPr>
          <a:xfrm>
            <a:off x="6981493" y="4299501"/>
            <a:ext cx="1023536" cy="1457541"/>
            <a:chOff x="6981493" y="4299501"/>
            <a:chExt cx="1023536" cy="1457541"/>
          </a:xfrm>
        </p:grpSpPr>
        <p:grpSp>
          <p:nvGrpSpPr>
            <p:cNvPr id="94" name="Group 93">
              <a:extLst>
                <a:ext uri="{FF2B5EF4-FFF2-40B4-BE49-F238E27FC236}">
                  <a16:creationId xmlns:a16="http://schemas.microsoft.com/office/drawing/2014/main" id="{713E38EB-4A2F-3A59-5B29-09770630C101}"/>
                </a:ext>
              </a:extLst>
            </p:cNvPr>
            <p:cNvGrpSpPr/>
            <p:nvPr/>
          </p:nvGrpSpPr>
          <p:grpSpPr>
            <a:xfrm>
              <a:off x="6981493" y="4299501"/>
              <a:ext cx="1023536" cy="998467"/>
              <a:chOff x="661646" y="4055577"/>
              <a:chExt cx="1023536" cy="998467"/>
            </a:xfrm>
          </p:grpSpPr>
          <p:pic>
            <p:nvPicPr>
              <p:cNvPr id="95" name="Graphic 94" descr="Monitor with solid fill">
                <a:extLst>
                  <a:ext uri="{FF2B5EF4-FFF2-40B4-BE49-F238E27FC236}">
                    <a16:creationId xmlns:a16="http://schemas.microsoft.com/office/drawing/2014/main" id="{2E33BC3A-C1DC-9E04-21DC-9F35FC62AE9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1646" y="4055577"/>
                <a:ext cx="1023536" cy="998467"/>
              </a:xfrm>
              <a:prstGeom prst="rect">
                <a:avLst/>
              </a:prstGeom>
            </p:spPr>
          </p:pic>
          <p:sp>
            <p:nvSpPr>
              <p:cNvPr id="96" name="Rectangle 95">
                <a:extLst>
                  <a:ext uri="{FF2B5EF4-FFF2-40B4-BE49-F238E27FC236}">
                    <a16:creationId xmlns:a16="http://schemas.microsoft.com/office/drawing/2014/main" id="{8862B268-9CCE-B0C2-E5CE-43DD5F650ECE}"/>
                  </a:ext>
                </a:extLst>
              </p:cNvPr>
              <p:cNvSpPr/>
              <p:nvPr/>
            </p:nvSpPr>
            <p:spPr bwMode="auto">
              <a:xfrm>
                <a:off x="785319" y="4262104"/>
                <a:ext cx="769514" cy="459827"/>
              </a:xfrm>
              <a:prstGeom prst="rect">
                <a:avLst/>
              </a:prstGeom>
              <a:solidFill>
                <a:srgbClr val="461E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NCsv2</a:t>
                </a:r>
              </a:p>
            </p:txBody>
          </p:sp>
        </p:grpSp>
        <p:sp>
          <p:nvSpPr>
            <p:cNvPr id="97" name="TextBox 96">
              <a:extLst>
                <a:ext uri="{FF2B5EF4-FFF2-40B4-BE49-F238E27FC236}">
                  <a16:creationId xmlns:a16="http://schemas.microsoft.com/office/drawing/2014/main" id="{4D623D7B-44EA-9138-54D5-780DC2C3283E}"/>
                </a:ext>
              </a:extLst>
            </p:cNvPr>
            <p:cNvSpPr txBox="1"/>
            <p:nvPr/>
          </p:nvSpPr>
          <p:spPr>
            <a:xfrm>
              <a:off x="7063031" y="5233822"/>
              <a:ext cx="87278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
                </a:rPr>
                <a:t>NVIDI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srgbClr val="FFFFFF"/>
                  </a:solidFill>
                  <a:latin typeface="Segoe UI "/>
                </a:rPr>
                <a:t>P10</a:t>
              </a:r>
              <a:r>
                <a:rPr kumimoji="0" lang="en-US" sz="1400" b="0" i="0" u="none" strike="noStrike" kern="1200" cap="none" spc="0" normalizeH="0" baseline="0" noProof="0">
                  <a:ln>
                    <a:noFill/>
                  </a:ln>
                  <a:solidFill>
                    <a:srgbClr val="FFFFFF"/>
                  </a:solidFill>
                  <a:effectLst/>
                  <a:uLnTx/>
                  <a:uFillTx/>
                  <a:latin typeface="Segoe UI "/>
                </a:rPr>
                <a:t>0</a:t>
              </a:r>
            </a:p>
          </p:txBody>
        </p:sp>
      </p:grpSp>
      <p:grpSp>
        <p:nvGrpSpPr>
          <p:cNvPr id="68" name="Group 67">
            <a:extLst>
              <a:ext uri="{FF2B5EF4-FFF2-40B4-BE49-F238E27FC236}">
                <a16:creationId xmlns:a16="http://schemas.microsoft.com/office/drawing/2014/main" id="{D8D2F18C-9D55-BDE3-B915-6DCCC4FF1C4E}"/>
              </a:ext>
            </a:extLst>
          </p:cNvPr>
          <p:cNvGrpSpPr/>
          <p:nvPr/>
        </p:nvGrpSpPr>
        <p:grpSpPr>
          <a:xfrm>
            <a:off x="8383999" y="4299501"/>
            <a:ext cx="1023536" cy="1457541"/>
            <a:chOff x="8383999" y="4299501"/>
            <a:chExt cx="1023536" cy="1457541"/>
          </a:xfrm>
        </p:grpSpPr>
        <p:grpSp>
          <p:nvGrpSpPr>
            <p:cNvPr id="98" name="Group 97">
              <a:extLst>
                <a:ext uri="{FF2B5EF4-FFF2-40B4-BE49-F238E27FC236}">
                  <a16:creationId xmlns:a16="http://schemas.microsoft.com/office/drawing/2014/main" id="{804A50E1-4D21-5F86-4EA8-5053B1579929}"/>
                </a:ext>
              </a:extLst>
            </p:cNvPr>
            <p:cNvGrpSpPr/>
            <p:nvPr/>
          </p:nvGrpSpPr>
          <p:grpSpPr>
            <a:xfrm>
              <a:off x="8383999" y="4299501"/>
              <a:ext cx="1023536" cy="998467"/>
              <a:chOff x="661646" y="4055577"/>
              <a:chExt cx="1023536" cy="998467"/>
            </a:xfrm>
          </p:grpSpPr>
          <p:pic>
            <p:nvPicPr>
              <p:cNvPr id="99" name="Graphic 98" descr="Monitor with solid fill">
                <a:extLst>
                  <a:ext uri="{FF2B5EF4-FFF2-40B4-BE49-F238E27FC236}">
                    <a16:creationId xmlns:a16="http://schemas.microsoft.com/office/drawing/2014/main" id="{BA4941B4-4968-BDD2-836E-9B3C6B64442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1646" y="4055577"/>
                <a:ext cx="1023536" cy="998467"/>
              </a:xfrm>
              <a:prstGeom prst="rect">
                <a:avLst/>
              </a:prstGeom>
            </p:spPr>
          </p:pic>
          <p:sp>
            <p:nvSpPr>
              <p:cNvPr id="100" name="Rectangle 99">
                <a:extLst>
                  <a:ext uri="{FF2B5EF4-FFF2-40B4-BE49-F238E27FC236}">
                    <a16:creationId xmlns:a16="http://schemas.microsoft.com/office/drawing/2014/main" id="{7A8A05EC-4CBF-A62B-CC93-09FF462E3562}"/>
                  </a:ext>
                </a:extLst>
              </p:cNvPr>
              <p:cNvSpPr/>
              <p:nvPr/>
            </p:nvSpPr>
            <p:spPr bwMode="auto">
              <a:xfrm>
                <a:off x="785319" y="4262104"/>
                <a:ext cx="769514" cy="459827"/>
              </a:xfrm>
              <a:prstGeom prst="rect">
                <a:avLst/>
              </a:prstGeom>
              <a:solidFill>
                <a:srgbClr val="461E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NCsv3</a:t>
                </a:r>
              </a:p>
            </p:txBody>
          </p:sp>
        </p:grpSp>
        <p:sp>
          <p:nvSpPr>
            <p:cNvPr id="105" name="TextBox 104">
              <a:extLst>
                <a:ext uri="{FF2B5EF4-FFF2-40B4-BE49-F238E27FC236}">
                  <a16:creationId xmlns:a16="http://schemas.microsoft.com/office/drawing/2014/main" id="{BF664329-A492-EF92-68B7-521539AE8DB3}"/>
                </a:ext>
              </a:extLst>
            </p:cNvPr>
            <p:cNvSpPr txBox="1"/>
            <p:nvPr/>
          </p:nvSpPr>
          <p:spPr>
            <a:xfrm>
              <a:off x="8480910" y="5233822"/>
              <a:ext cx="87278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
                </a:rPr>
                <a:t>NVIDIA V100</a:t>
              </a:r>
            </a:p>
          </p:txBody>
        </p:sp>
      </p:grpSp>
      <p:grpSp>
        <p:nvGrpSpPr>
          <p:cNvPr id="70" name="Group 69">
            <a:extLst>
              <a:ext uri="{FF2B5EF4-FFF2-40B4-BE49-F238E27FC236}">
                <a16:creationId xmlns:a16="http://schemas.microsoft.com/office/drawing/2014/main" id="{17C95F74-526C-6D83-356F-B5A8F49E2B51}"/>
              </a:ext>
            </a:extLst>
          </p:cNvPr>
          <p:cNvGrpSpPr/>
          <p:nvPr/>
        </p:nvGrpSpPr>
        <p:grpSpPr>
          <a:xfrm>
            <a:off x="9829575" y="4299501"/>
            <a:ext cx="1023536" cy="1457541"/>
            <a:chOff x="9829575" y="4299501"/>
            <a:chExt cx="1023536" cy="1457541"/>
          </a:xfrm>
        </p:grpSpPr>
        <p:sp>
          <p:nvSpPr>
            <p:cNvPr id="106" name="TextBox 105">
              <a:extLst>
                <a:ext uri="{FF2B5EF4-FFF2-40B4-BE49-F238E27FC236}">
                  <a16:creationId xmlns:a16="http://schemas.microsoft.com/office/drawing/2014/main" id="{C435498F-F66B-0A5C-2D83-951B6F8CF6DC}"/>
                </a:ext>
              </a:extLst>
            </p:cNvPr>
            <p:cNvSpPr txBox="1"/>
            <p:nvPr/>
          </p:nvSpPr>
          <p:spPr>
            <a:xfrm>
              <a:off x="9979994" y="5233822"/>
              <a:ext cx="87278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
                </a:rPr>
                <a:t>NVIDIA T4</a:t>
              </a:r>
            </a:p>
          </p:txBody>
        </p:sp>
        <p:grpSp>
          <p:nvGrpSpPr>
            <p:cNvPr id="107" name="Group 106">
              <a:extLst>
                <a:ext uri="{FF2B5EF4-FFF2-40B4-BE49-F238E27FC236}">
                  <a16:creationId xmlns:a16="http://schemas.microsoft.com/office/drawing/2014/main" id="{8E7B2847-95D0-7517-1ADD-81ADD241C311}"/>
                </a:ext>
              </a:extLst>
            </p:cNvPr>
            <p:cNvGrpSpPr/>
            <p:nvPr/>
          </p:nvGrpSpPr>
          <p:grpSpPr>
            <a:xfrm>
              <a:off x="9829575" y="4299501"/>
              <a:ext cx="1023536" cy="998467"/>
              <a:chOff x="661646" y="4055577"/>
              <a:chExt cx="1023536" cy="998467"/>
            </a:xfrm>
          </p:grpSpPr>
          <p:pic>
            <p:nvPicPr>
              <p:cNvPr id="108" name="Graphic 107" descr="Monitor with solid fill">
                <a:extLst>
                  <a:ext uri="{FF2B5EF4-FFF2-40B4-BE49-F238E27FC236}">
                    <a16:creationId xmlns:a16="http://schemas.microsoft.com/office/drawing/2014/main" id="{9C897EAA-3498-B09D-F513-F0DD7D122A9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1646" y="4055577"/>
                <a:ext cx="1023536" cy="998467"/>
              </a:xfrm>
              <a:prstGeom prst="rect">
                <a:avLst/>
              </a:prstGeom>
            </p:spPr>
          </p:pic>
          <p:sp>
            <p:nvSpPr>
              <p:cNvPr id="109" name="Rectangle 108">
                <a:extLst>
                  <a:ext uri="{FF2B5EF4-FFF2-40B4-BE49-F238E27FC236}">
                    <a16:creationId xmlns:a16="http://schemas.microsoft.com/office/drawing/2014/main" id="{2B59BFC9-C395-2B87-5591-F6390E849C80}"/>
                  </a:ext>
                </a:extLst>
              </p:cNvPr>
              <p:cNvSpPr/>
              <p:nvPr/>
            </p:nvSpPr>
            <p:spPr bwMode="auto">
              <a:xfrm>
                <a:off x="785319" y="4262104"/>
                <a:ext cx="769514" cy="459827"/>
              </a:xfrm>
              <a:prstGeom prst="rect">
                <a:avLst/>
              </a:prstGeom>
              <a:solidFill>
                <a:srgbClr val="461E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err="1">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NCas</a:t>
                </a: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 T4 v3</a:t>
                </a:r>
              </a:p>
            </p:txBody>
          </p:sp>
        </p:grpSp>
      </p:grpSp>
    </p:spTree>
    <p:extLst>
      <p:ext uri="{BB962C8B-B14F-4D97-AF65-F5344CB8AC3E}">
        <p14:creationId xmlns:p14="http://schemas.microsoft.com/office/powerpoint/2010/main" val="374825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childTnLst>
                          </p:cTn>
                        </p:par>
                        <p:par>
                          <p:cTn id="8" fill="hold">
                            <p:stCondLst>
                              <p:cond delay="250"/>
                            </p:stCondLst>
                            <p:childTnLst>
                              <p:par>
                                <p:cTn id="9" presetID="16" presetClass="entr" presetSubtype="37"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barn(outVertical)">
                                      <p:cBhvr>
                                        <p:cTn id="11" dur="500"/>
                                        <p:tgtEl>
                                          <p:spTgt spid="5"/>
                                        </p:tgtEl>
                                      </p:cBhvr>
                                    </p:animEffect>
                                  </p:childTnLst>
                                </p:cTn>
                              </p:par>
                            </p:childTnLst>
                          </p:cTn>
                        </p:par>
                        <p:par>
                          <p:cTn id="12" fill="hold">
                            <p:stCondLst>
                              <p:cond delay="750"/>
                            </p:stCondLst>
                            <p:childTnLst>
                              <p:par>
                                <p:cTn id="13" presetID="10" presetClass="entr" presetSubtype="0" fill="hold" grpId="0"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42" presetClass="entr" presetSubtype="0" fill="hold"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anim calcmode="lin" valueType="num">
                                      <p:cBhvr>
                                        <p:cTn id="19" dur="500" fill="hold"/>
                                        <p:tgtEl>
                                          <p:spTgt spid="14"/>
                                        </p:tgtEl>
                                        <p:attrNameLst>
                                          <p:attrName>ppt_x</p:attrName>
                                        </p:attrNameLst>
                                      </p:cBhvr>
                                      <p:tavLst>
                                        <p:tav tm="0">
                                          <p:val>
                                            <p:strVal val="#ppt_x"/>
                                          </p:val>
                                        </p:tav>
                                        <p:tav tm="100000">
                                          <p:val>
                                            <p:strVal val="#ppt_x"/>
                                          </p:val>
                                        </p:tav>
                                      </p:tavLst>
                                    </p:anim>
                                    <p:anim calcmode="lin" valueType="num">
                                      <p:cBhvr>
                                        <p:cTn id="20" dur="500" fill="hold"/>
                                        <p:tgtEl>
                                          <p:spTgt spid="14"/>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anim calcmode="lin" valueType="num">
                                      <p:cBhvr>
                                        <p:cTn id="24" dur="500" fill="hold"/>
                                        <p:tgtEl>
                                          <p:spTgt spid="15"/>
                                        </p:tgtEl>
                                        <p:attrNameLst>
                                          <p:attrName>ppt_x</p:attrName>
                                        </p:attrNameLst>
                                      </p:cBhvr>
                                      <p:tavLst>
                                        <p:tav tm="0">
                                          <p:val>
                                            <p:strVal val="#ppt_x"/>
                                          </p:val>
                                        </p:tav>
                                        <p:tav tm="100000">
                                          <p:val>
                                            <p:strVal val="#ppt_x"/>
                                          </p:val>
                                        </p:tav>
                                      </p:tavLst>
                                    </p:anim>
                                    <p:anim calcmode="lin" valueType="num">
                                      <p:cBhvr>
                                        <p:cTn id="25" dur="500" fill="hold"/>
                                        <p:tgtEl>
                                          <p:spTgt spid="15"/>
                                        </p:tgtEl>
                                        <p:attrNameLst>
                                          <p:attrName>ppt_y</p:attrName>
                                        </p:attrNameLst>
                                      </p:cBhvr>
                                      <p:tavLst>
                                        <p:tav tm="0">
                                          <p:val>
                                            <p:strVal val="#ppt_y+.1"/>
                                          </p:val>
                                        </p:tav>
                                        <p:tav tm="100000">
                                          <p:val>
                                            <p:strVal val="#ppt_y"/>
                                          </p:val>
                                        </p:tav>
                                      </p:tavLst>
                                    </p:anim>
                                  </p:childTnLst>
                                </p:cTn>
                              </p:par>
                              <p:par>
                                <p:cTn id="26" presetID="42" presetClass="entr" presetSubtype="0" fill="hold" nodeType="with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500"/>
                                        <p:tgtEl>
                                          <p:spTgt spid="16"/>
                                        </p:tgtEl>
                                      </p:cBhvr>
                                    </p:animEffect>
                                    <p:anim calcmode="lin" valueType="num">
                                      <p:cBhvr>
                                        <p:cTn id="29" dur="500" fill="hold"/>
                                        <p:tgtEl>
                                          <p:spTgt spid="16"/>
                                        </p:tgtEl>
                                        <p:attrNameLst>
                                          <p:attrName>ppt_x</p:attrName>
                                        </p:attrNameLst>
                                      </p:cBhvr>
                                      <p:tavLst>
                                        <p:tav tm="0">
                                          <p:val>
                                            <p:strVal val="#ppt_x"/>
                                          </p:val>
                                        </p:tav>
                                        <p:tav tm="100000">
                                          <p:val>
                                            <p:strVal val="#ppt_x"/>
                                          </p:val>
                                        </p:tav>
                                      </p:tavLst>
                                    </p:anim>
                                    <p:anim calcmode="lin" valueType="num">
                                      <p:cBhvr>
                                        <p:cTn id="30" dur="500" fill="hold"/>
                                        <p:tgtEl>
                                          <p:spTgt spid="16"/>
                                        </p:tgtEl>
                                        <p:attrNameLst>
                                          <p:attrName>ppt_y</p:attrName>
                                        </p:attrNameLst>
                                      </p:cBhvr>
                                      <p:tavLst>
                                        <p:tav tm="0">
                                          <p:val>
                                            <p:strVal val="#ppt_y+.1"/>
                                          </p:val>
                                        </p:tav>
                                        <p:tav tm="100000">
                                          <p:val>
                                            <p:strVal val="#ppt_y"/>
                                          </p:val>
                                        </p:tav>
                                      </p:tavLst>
                                    </p:anim>
                                  </p:childTnLst>
                                </p:cTn>
                              </p:par>
                              <p:par>
                                <p:cTn id="31" presetID="42" presetClass="entr" presetSubtype="0" fill="hold" nodeType="with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anim calcmode="lin" valueType="num">
                                      <p:cBhvr>
                                        <p:cTn id="34" dur="500" fill="hold"/>
                                        <p:tgtEl>
                                          <p:spTgt spid="17"/>
                                        </p:tgtEl>
                                        <p:attrNameLst>
                                          <p:attrName>ppt_x</p:attrName>
                                        </p:attrNameLst>
                                      </p:cBhvr>
                                      <p:tavLst>
                                        <p:tav tm="0">
                                          <p:val>
                                            <p:strVal val="#ppt_x"/>
                                          </p:val>
                                        </p:tav>
                                        <p:tav tm="100000">
                                          <p:val>
                                            <p:strVal val="#ppt_x"/>
                                          </p:val>
                                        </p:tav>
                                      </p:tavLst>
                                    </p:anim>
                                    <p:anim calcmode="lin" valueType="num">
                                      <p:cBhvr>
                                        <p:cTn id="35" dur="500" fill="hold"/>
                                        <p:tgtEl>
                                          <p:spTgt spid="17"/>
                                        </p:tgtEl>
                                        <p:attrNameLst>
                                          <p:attrName>ppt_y</p:attrName>
                                        </p:attrNameLst>
                                      </p:cBhvr>
                                      <p:tavLst>
                                        <p:tav tm="0">
                                          <p:val>
                                            <p:strVal val="#ppt_y+.1"/>
                                          </p:val>
                                        </p:tav>
                                        <p:tav tm="100000">
                                          <p:val>
                                            <p:strVal val="#ppt_y"/>
                                          </p:val>
                                        </p:tav>
                                      </p:tavLst>
                                    </p:anim>
                                  </p:childTnLst>
                                </p:cTn>
                              </p:par>
                              <p:par>
                                <p:cTn id="36" presetID="42" presetClass="entr" presetSubtype="0" fill="hold" nodeType="withEffect">
                                  <p:stCondLst>
                                    <p:cond delay="0"/>
                                  </p:stCondLst>
                                  <p:childTnLst>
                                    <p:set>
                                      <p:cBhvr>
                                        <p:cTn id="37" dur="1" fill="hold">
                                          <p:stCondLst>
                                            <p:cond delay="0"/>
                                          </p:stCondLst>
                                        </p:cTn>
                                        <p:tgtEl>
                                          <p:spTgt spid="18"/>
                                        </p:tgtEl>
                                        <p:attrNameLst>
                                          <p:attrName>style.visibility</p:attrName>
                                        </p:attrNameLst>
                                      </p:cBhvr>
                                      <p:to>
                                        <p:strVal val="visible"/>
                                      </p:to>
                                    </p:set>
                                    <p:animEffect transition="in" filter="fade">
                                      <p:cBhvr>
                                        <p:cTn id="38" dur="500"/>
                                        <p:tgtEl>
                                          <p:spTgt spid="18"/>
                                        </p:tgtEl>
                                      </p:cBhvr>
                                    </p:animEffect>
                                    <p:anim calcmode="lin" valueType="num">
                                      <p:cBhvr>
                                        <p:cTn id="39" dur="500" fill="hold"/>
                                        <p:tgtEl>
                                          <p:spTgt spid="18"/>
                                        </p:tgtEl>
                                        <p:attrNameLst>
                                          <p:attrName>ppt_x</p:attrName>
                                        </p:attrNameLst>
                                      </p:cBhvr>
                                      <p:tavLst>
                                        <p:tav tm="0">
                                          <p:val>
                                            <p:strVal val="#ppt_x"/>
                                          </p:val>
                                        </p:tav>
                                        <p:tav tm="100000">
                                          <p:val>
                                            <p:strVal val="#ppt_x"/>
                                          </p:val>
                                        </p:tav>
                                      </p:tavLst>
                                    </p:anim>
                                    <p:anim calcmode="lin" valueType="num">
                                      <p:cBhvr>
                                        <p:cTn id="40" dur="500" fill="hold"/>
                                        <p:tgtEl>
                                          <p:spTgt spid="18"/>
                                        </p:tgtEl>
                                        <p:attrNameLst>
                                          <p:attrName>ppt_y</p:attrName>
                                        </p:attrNameLst>
                                      </p:cBhvr>
                                      <p:tavLst>
                                        <p:tav tm="0">
                                          <p:val>
                                            <p:strVal val="#ppt_y+.1"/>
                                          </p:val>
                                        </p:tav>
                                        <p:tav tm="100000">
                                          <p:val>
                                            <p:strVal val="#ppt_y"/>
                                          </p:val>
                                        </p:tav>
                                      </p:tavLst>
                                    </p:anim>
                                  </p:childTnLst>
                                </p:cTn>
                              </p:par>
                            </p:childTnLst>
                          </p:cTn>
                        </p:par>
                        <p:par>
                          <p:cTn id="41" fill="hold">
                            <p:stCondLst>
                              <p:cond delay="1250"/>
                            </p:stCondLst>
                            <p:childTnLst>
                              <p:par>
                                <p:cTn id="42" presetID="22" presetClass="entr" presetSubtype="1" fill="hold" grpId="0" nodeType="after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wipe(up)">
                                      <p:cBhvr>
                                        <p:cTn id="44" dur="500"/>
                                        <p:tgtEl>
                                          <p:spTgt spid="27"/>
                                        </p:tgtEl>
                                      </p:cBhvr>
                                    </p:animEffect>
                                  </p:childTnLst>
                                </p:cTn>
                              </p:par>
                            </p:childTnLst>
                          </p:cTn>
                        </p:par>
                        <p:par>
                          <p:cTn id="45" fill="hold">
                            <p:stCondLst>
                              <p:cond delay="1750"/>
                            </p:stCondLst>
                            <p:childTnLst>
                              <p:par>
                                <p:cTn id="46" presetID="16" presetClass="entr" presetSubtype="37" fill="hold" grpId="0" nodeType="afterEffect">
                                  <p:stCondLst>
                                    <p:cond delay="0"/>
                                  </p:stCondLst>
                                  <p:childTnLst>
                                    <p:set>
                                      <p:cBhvr>
                                        <p:cTn id="47" dur="1" fill="hold">
                                          <p:stCondLst>
                                            <p:cond delay="0"/>
                                          </p:stCondLst>
                                        </p:cTn>
                                        <p:tgtEl>
                                          <p:spTgt spid="110"/>
                                        </p:tgtEl>
                                        <p:attrNameLst>
                                          <p:attrName>style.visibility</p:attrName>
                                        </p:attrNameLst>
                                      </p:cBhvr>
                                      <p:to>
                                        <p:strVal val="visible"/>
                                      </p:to>
                                    </p:set>
                                    <p:animEffect transition="in" filter="barn(outVertical)">
                                      <p:cBhvr>
                                        <p:cTn id="48" dur="500"/>
                                        <p:tgtEl>
                                          <p:spTgt spid="110"/>
                                        </p:tgtEl>
                                      </p:cBhvr>
                                    </p:animEffect>
                                  </p:childTnLst>
                                </p:cTn>
                              </p:par>
                            </p:childTnLst>
                          </p:cTn>
                        </p:par>
                        <p:par>
                          <p:cTn id="49" fill="hold">
                            <p:stCondLst>
                              <p:cond delay="2250"/>
                            </p:stCondLst>
                            <p:childTnLst>
                              <p:par>
                                <p:cTn id="50" presetID="10" presetClass="entr" presetSubtype="0" fill="hold" grpId="0" nodeType="afterEffect">
                                  <p:stCondLst>
                                    <p:cond delay="0"/>
                                  </p:stCondLst>
                                  <p:childTnLst>
                                    <p:set>
                                      <p:cBhvr>
                                        <p:cTn id="51" dur="1" fill="hold">
                                          <p:stCondLst>
                                            <p:cond delay="0"/>
                                          </p:stCondLst>
                                        </p:cTn>
                                        <p:tgtEl>
                                          <p:spTgt spid="28"/>
                                        </p:tgtEl>
                                        <p:attrNameLst>
                                          <p:attrName>style.visibility</p:attrName>
                                        </p:attrNameLst>
                                      </p:cBhvr>
                                      <p:to>
                                        <p:strVal val="visible"/>
                                      </p:to>
                                    </p:set>
                                    <p:animEffect transition="in" filter="fade">
                                      <p:cBhvr>
                                        <p:cTn id="52" dur="500"/>
                                        <p:tgtEl>
                                          <p:spTgt spid="28"/>
                                        </p:tgtEl>
                                      </p:cBhvr>
                                    </p:animEffect>
                                  </p:childTnLst>
                                </p:cTn>
                              </p:par>
                              <p:par>
                                <p:cTn id="53" presetID="42" presetClass="entr" presetSubtype="0" fill="hold"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anim calcmode="lin" valueType="num">
                                      <p:cBhvr>
                                        <p:cTn id="56" dur="500" fill="hold"/>
                                        <p:tgtEl>
                                          <p:spTgt spid="19"/>
                                        </p:tgtEl>
                                        <p:attrNameLst>
                                          <p:attrName>ppt_x</p:attrName>
                                        </p:attrNameLst>
                                      </p:cBhvr>
                                      <p:tavLst>
                                        <p:tav tm="0">
                                          <p:val>
                                            <p:strVal val="#ppt_x"/>
                                          </p:val>
                                        </p:tav>
                                        <p:tav tm="100000">
                                          <p:val>
                                            <p:strVal val="#ppt_x"/>
                                          </p:val>
                                        </p:tav>
                                      </p:tavLst>
                                    </p:anim>
                                    <p:anim calcmode="lin" valueType="num">
                                      <p:cBhvr>
                                        <p:cTn id="57" dur="500" fill="hold"/>
                                        <p:tgtEl>
                                          <p:spTgt spid="19"/>
                                        </p:tgtEl>
                                        <p:attrNameLst>
                                          <p:attrName>ppt_y</p:attrName>
                                        </p:attrNameLst>
                                      </p:cBhvr>
                                      <p:tavLst>
                                        <p:tav tm="0">
                                          <p:val>
                                            <p:strVal val="#ppt_y+.1"/>
                                          </p:val>
                                        </p:tav>
                                        <p:tav tm="100000">
                                          <p:val>
                                            <p:strVal val="#ppt_y"/>
                                          </p:val>
                                        </p:tav>
                                      </p:tavLst>
                                    </p:anim>
                                  </p:childTnLst>
                                </p:cTn>
                              </p:par>
                              <p:par>
                                <p:cTn id="58" presetID="42" presetClass="entr" presetSubtype="0" fill="hold" nodeType="withEffect">
                                  <p:stCondLst>
                                    <p:cond delay="0"/>
                                  </p:stCondLst>
                                  <p:childTnLst>
                                    <p:set>
                                      <p:cBhvr>
                                        <p:cTn id="59" dur="1" fill="hold">
                                          <p:stCondLst>
                                            <p:cond delay="0"/>
                                          </p:stCondLst>
                                        </p:cTn>
                                        <p:tgtEl>
                                          <p:spTgt spid="20"/>
                                        </p:tgtEl>
                                        <p:attrNameLst>
                                          <p:attrName>style.visibility</p:attrName>
                                        </p:attrNameLst>
                                      </p:cBhvr>
                                      <p:to>
                                        <p:strVal val="visible"/>
                                      </p:to>
                                    </p:set>
                                    <p:animEffect transition="in" filter="fade">
                                      <p:cBhvr>
                                        <p:cTn id="60" dur="500"/>
                                        <p:tgtEl>
                                          <p:spTgt spid="20"/>
                                        </p:tgtEl>
                                      </p:cBhvr>
                                    </p:animEffect>
                                    <p:anim calcmode="lin" valueType="num">
                                      <p:cBhvr>
                                        <p:cTn id="61" dur="500" fill="hold"/>
                                        <p:tgtEl>
                                          <p:spTgt spid="20"/>
                                        </p:tgtEl>
                                        <p:attrNameLst>
                                          <p:attrName>ppt_x</p:attrName>
                                        </p:attrNameLst>
                                      </p:cBhvr>
                                      <p:tavLst>
                                        <p:tav tm="0">
                                          <p:val>
                                            <p:strVal val="#ppt_x"/>
                                          </p:val>
                                        </p:tav>
                                        <p:tav tm="100000">
                                          <p:val>
                                            <p:strVal val="#ppt_x"/>
                                          </p:val>
                                        </p:tav>
                                      </p:tavLst>
                                    </p:anim>
                                    <p:anim calcmode="lin" valueType="num">
                                      <p:cBhvr>
                                        <p:cTn id="62" dur="500" fill="hold"/>
                                        <p:tgtEl>
                                          <p:spTgt spid="20"/>
                                        </p:tgtEl>
                                        <p:attrNameLst>
                                          <p:attrName>ppt_y</p:attrName>
                                        </p:attrNameLst>
                                      </p:cBhvr>
                                      <p:tavLst>
                                        <p:tav tm="0">
                                          <p:val>
                                            <p:strVal val="#ppt_y+.1"/>
                                          </p:val>
                                        </p:tav>
                                        <p:tav tm="100000">
                                          <p:val>
                                            <p:strVal val="#ppt_y"/>
                                          </p:val>
                                        </p:tav>
                                      </p:tavLst>
                                    </p:anim>
                                  </p:childTnLst>
                                </p:cTn>
                              </p:par>
                              <p:par>
                                <p:cTn id="63" presetID="42" presetClass="entr" presetSubtype="0" fill="hold" nodeType="withEffect">
                                  <p:stCondLst>
                                    <p:cond delay="0"/>
                                  </p:stCondLst>
                                  <p:childTnLst>
                                    <p:set>
                                      <p:cBhvr>
                                        <p:cTn id="64" dur="1" fill="hold">
                                          <p:stCondLst>
                                            <p:cond delay="0"/>
                                          </p:stCondLst>
                                        </p:cTn>
                                        <p:tgtEl>
                                          <p:spTgt spid="26"/>
                                        </p:tgtEl>
                                        <p:attrNameLst>
                                          <p:attrName>style.visibility</p:attrName>
                                        </p:attrNameLst>
                                      </p:cBhvr>
                                      <p:to>
                                        <p:strVal val="visible"/>
                                      </p:to>
                                    </p:set>
                                    <p:animEffect transition="in" filter="fade">
                                      <p:cBhvr>
                                        <p:cTn id="65" dur="500"/>
                                        <p:tgtEl>
                                          <p:spTgt spid="26"/>
                                        </p:tgtEl>
                                      </p:cBhvr>
                                    </p:animEffect>
                                    <p:anim calcmode="lin" valueType="num">
                                      <p:cBhvr>
                                        <p:cTn id="66" dur="500" fill="hold"/>
                                        <p:tgtEl>
                                          <p:spTgt spid="26"/>
                                        </p:tgtEl>
                                        <p:attrNameLst>
                                          <p:attrName>ppt_x</p:attrName>
                                        </p:attrNameLst>
                                      </p:cBhvr>
                                      <p:tavLst>
                                        <p:tav tm="0">
                                          <p:val>
                                            <p:strVal val="#ppt_x"/>
                                          </p:val>
                                        </p:tav>
                                        <p:tav tm="100000">
                                          <p:val>
                                            <p:strVal val="#ppt_x"/>
                                          </p:val>
                                        </p:tav>
                                      </p:tavLst>
                                    </p:anim>
                                    <p:anim calcmode="lin" valueType="num">
                                      <p:cBhvr>
                                        <p:cTn id="67" dur="500" fill="hold"/>
                                        <p:tgtEl>
                                          <p:spTgt spid="26"/>
                                        </p:tgtEl>
                                        <p:attrNameLst>
                                          <p:attrName>ppt_y</p:attrName>
                                        </p:attrNameLst>
                                      </p:cBhvr>
                                      <p:tavLst>
                                        <p:tav tm="0">
                                          <p:val>
                                            <p:strVal val="#ppt_y+.1"/>
                                          </p:val>
                                        </p:tav>
                                        <p:tav tm="100000">
                                          <p:val>
                                            <p:strVal val="#ppt_y"/>
                                          </p:val>
                                        </p:tav>
                                      </p:tavLst>
                                    </p:anim>
                                  </p:childTnLst>
                                </p:cTn>
                              </p:par>
                              <p:par>
                                <p:cTn id="68" presetID="42" presetClass="entr" presetSubtype="0" fill="hold" nodeType="withEffect">
                                  <p:stCondLst>
                                    <p:cond delay="0"/>
                                  </p:stCondLst>
                                  <p:childTnLst>
                                    <p:set>
                                      <p:cBhvr>
                                        <p:cTn id="69" dur="1" fill="hold">
                                          <p:stCondLst>
                                            <p:cond delay="0"/>
                                          </p:stCondLst>
                                        </p:cTn>
                                        <p:tgtEl>
                                          <p:spTgt spid="30"/>
                                        </p:tgtEl>
                                        <p:attrNameLst>
                                          <p:attrName>style.visibility</p:attrName>
                                        </p:attrNameLst>
                                      </p:cBhvr>
                                      <p:to>
                                        <p:strVal val="visible"/>
                                      </p:to>
                                    </p:set>
                                    <p:animEffect transition="in" filter="fade">
                                      <p:cBhvr>
                                        <p:cTn id="70" dur="500"/>
                                        <p:tgtEl>
                                          <p:spTgt spid="30"/>
                                        </p:tgtEl>
                                      </p:cBhvr>
                                    </p:animEffect>
                                    <p:anim calcmode="lin" valueType="num">
                                      <p:cBhvr>
                                        <p:cTn id="71" dur="500" fill="hold"/>
                                        <p:tgtEl>
                                          <p:spTgt spid="30"/>
                                        </p:tgtEl>
                                        <p:attrNameLst>
                                          <p:attrName>ppt_x</p:attrName>
                                        </p:attrNameLst>
                                      </p:cBhvr>
                                      <p:tavLst>
                                        <p:tav tm="0">
                                          <p:val>
                                            <p:strVal val="#ppt_x"/>
                                          </p:val>
                                        </p:tav>
                                        <p:tav tm="100000">
                                          <p:val>
                                            <p:strVal val="#ppt_x"/>
                                          </p:val>
                                        </p:tav>
                                      </p:tavLst>
                                    </p:anim>
                                    <p:anim calcmode="lin" valueType="num">
                                      <p:cBhvr>
                                        <p:cTn id="72" dur="500" fill="hold"/>
                                        <p:tgtEl>
                                          <p:spTgt spid="30"/>
                                        </p:tgtEl>
                                        <p:attrNameLst>
                                          <p:attrName>ppt_y</p:attrName>
                                        </p:attrNameLst>
                                      </p:cBhvr>
                                      <p:tavLst>
                                        <p:tav tm="0">
                                          <p:val>
                                            <p:strVal val="#ppt_y+.1"/>
                                          </p:val>
                                        </p:tav>
                                        <p:tav tm="100000">
                                          <p:val>
                                            <p:strVal val="#ppt_y"/>
                                          </p:val>
                                        </p:tav>
                                      </p:tavLst>
                                    </p:anim>
                                  </p:childTnLst>
                                </p:cTn>
                              </p:par>
                              <p:par>
                                <p:cTn id="73" presetID="42" presetClass="entr" presetSubtype="0" fill="hold" nodeType="withEffect">
                                  <p:stCondLst>
                                    <p:cond delay="0"/>
                                  </p:stCondLst>
                                  <p:childTnLst>
                                    <p:set>
                                      <p:cBhvr>
                                        <p:cTn id="74" dur="1" fill="hold">
                                          <p:stCondLst>
                                            <p:cond delay="0"/>
                                          </p:stCondLst>
                                        </p:cTn>
                                        <p:tgtEl>
                                          <p:spTgt spid="67"/>
                                        </p:tgtEl>
                                        <p:attrNameLst>
                                          <p:attrName>style.visibility</p:attrName>
                                        </p:attrNameLst>
                                      </p:cBhvr>
                                      <p:to>
                                        <p:strVal val="visible"/>
                                      </p:to>
                                    </p:set>
                                    <p:animEffect transition="in" filter="fade">
                                      <p:cBhvr>
                                        <p:cTn id="75" dur="500"/>
                                        <p:tgtEl>
                                          <p:spTgt spid="67"/>
                                        </p:tgtEl>
                                      </p:cBhvr>
                                    </p:animEffect>
                                    <p:anim calcmode="lin" valueType="num">
                                      <p:cBhvr>
                                        <p:cTn id="76" dur="500" fill="hold"/>
                                        <p:tgtEl>
                                          <p:spTgt spid="67"/>
                                        </p:tgtEl>
                                        <p:attrNameLst>
                                          <p:attrName>ppt_x</p:attrName>
                                        </p:attrNameLst>
                                      </p:cBhvr>
                                      <p:tavLst>
                                        <p:tav tm="0">
                                          <p:val>
                                            <p:strVal val="#ppt_x"/>
                                          </p:val>
                                        </p:tav>
                                        <p:tav tm="100000">
                                          <p:val>
                                            <p:strVal val="#ppt_x"/>
                                          </p:val>
                                        </p:tav>
                                      </p:tavLst>
                                    </p:anim>
                                    <p:anim calcmode="lin" valueType="num">
                                      <p:cBhvr>
                                        <p:cTn id="77" dur="500" fill="hold"/>
                                        <p:tgtEl>
                                          <p:spTgt spid="67"/>
                                        </p:tgtEl>
                                        <p:attrNameLst>
                                          <p:attrName>ppt_y</p:attrName>
                                        </p:attrNameLst>
                                      </p:cBhvr>
                                      <p:tavLst>
                                        <p:tav tm="0">
                                          <p:val>
                                            <p:strVal val="#ppt_y+.1"/>
                                          </p:val>
                                        </p:tav>
                                        <p:tav tm="100000">
                                          <p:val>
                                            <p:strVal val="#ppt_y"/>
                                          </p:val>
                                        </p:tav>
                                      </p:tavLst>
                                    </p:anim>
                                  </p:childTnLst>
                                </p:cTn>
                              </p:par>
                              <p:par>
                                <p:cTn id="78" presetID="42" presetClass="entr" presetSubtype="0" fill="hold" nodeType="withEffect">
                                  <p:stCondLst>
                                    <p:cond delay="0"/>
                                  </p:stCondLst>
                                  <p:childTnLst>
                                    <p:set>
                                      <p:cBhvr>
                                        <p:cTn id="79" dur="1" fill="hold">
                                          <p:stCondLst>
                                            <p:cond delay="0"/>
                                          </p:stCondLst>
                                        </p:cTn>
                                        <p:tgtEl>
                                          <p:spTgt spid="68"/>
                                        </p:tgtEl>
                                        <p:attrNameLst>
                                          <p:attrName>style.visibility</p:attrName>
                                        </p:attrNameLst>
                                      </p:cBhvr>
                                      <p:to>
                                        <p:strVal val="visible"/>
                                      </p:to>
                                    </p:set>
                                    <p:animEffect transition="in" filter="fade">
                                      <p:cBhvr>
                                        <p:cTn id="80" dur="500"/>
                                        <p:tgtEl>
                                          <p:spTgt spid="68"/>
                                        </p:tgtEl>
                                      </p:cBhvr>
                                    </p:animEffect>
                                    <p:anim calcmode="lin" valueType="num">
                                      <p:cBhvr>
                                        <p:cTn id="81" dur="500" fill="hold"/>
                                        <p:tgtEl>
                                          <p:spTgt spid="68"/>
                                        </p:tgtEl>
                                        <p:attrNameLst>
                                          <p:attrName>ppt_x</p:attrName>
                                        </p:attrNameLst>
                                      </p:cBhvr>
                                      <p:tavLst>
                                        <p:tav tm="0">
                                          <p:val>
                                            <p:strVal val="#ppt_x"/>
                                          </p:val>
                                        </p:tav>
                                        <p:tav tm="100000">
                                          <p:val>
                                            <p:strVal val="#ppt_x"/>
                                          </p:val>
                                        </p:tav>
                                      </p:tavLst>
                                    </p:anim>
                                    <p:anim calcmode="lin" valueType="num">
                                      <p:cBhvr>
                                        <p:cTn id="82" dur="500" fill="hold"/>
                                        <p:tgtEl>
                                          <p:spTgt spid="68"/>
                                        </p:tgtEl>
                                        <p:attrNameLst>
                                          <p:attrName>ppt_y</p:attrName>
                                        </p:attrNameLst>
                                      </p:cBhvr>
                                      <p:tavLst>
                                        <p:tav tm="0">
                                          <p:val>
                                            <p:strVal val="#ppt_y+.1"/>
                                          </p:val>
                                        </p:tav>
                                        <p:tav tm="100000">
                                          <p:val>
                                            <p:strVal val="#ppt_y"/>
                                          </p:val>
                                        </p:tav>
                                      </p:tavLst>
                                    </p:anim>
                                  </p:childTnLst>
                                </p:cTn>
                              </p:par>
                              <p:par>
                                <p:cTn id="83" presetID="42" presetClass="entr" presetSubtype="0" fill="hold" nodeType="withEffect">
                                  <p:stCondLst>
                                    <p:cond delay="0"/>
                                  </p:stCondLst>
                                  <p:childTnLst>
                                    <p:set>
                                      <p:cBhvr>
                                        <p:cTn id="84" dur="1" fill="hold">
                                          <p:stCondLst>
                                            <p:cond delay="0"/>
                                          </p:stCondLst>
                                        </p:cTn>
                                        <p:tgtEl>
                                          <p:spTgt spid="70"/>
                                        </p:tgtEl>
                                        <p:attrNameLst>
                                          <p:attrName>style.visibility</p:attrName>
                                        </p:attrNameLst>
                                      </p:cBhvr>
                                      <p:to>
                                        <p:strVal val="visible"/>
                                      </p:to>
                                    </p:set>
                                    <p:animEffect transition="in" filter="fade">
                                      <p:cBhvr>
                                        <p:cTn id="85" dur="500"/>
                                        <p:tgtEl>
                                          <p:spTgt spid="70"/>
                                        </p:tgtEl>
                                      </p:cBhvr>
                                    </p:animEffect>
                                    <p:anim calcmode="lin" valueType="num">
                                      <p:cBhvr>
                                        <p:cTn id="86" dur="500" fill="hold"/>
                                        <p:tgtEl>
                                          <p:spTgt spid="70"/>
                                        </p:tgtEl>
                                        <p:attrNameLst>
                                          <p:attrName>ppt_x</p:attrName>
                                        </p:attrNameLst>
                                      </p:cBhvr>
                                      <p:tavLst>
                                        <p:tav tm="0">
                                          <p:val>
                                            <p:strVal val="#ppt_x"/>
                                          </p:val>
                                        </p:tav>
                                        <p:tav tm="100000">
                                          <p:val>
                                            <p:strVal val="#ppt_x"/>
                                          </p:val>
                                        </p:tav>
                                      </p:tavLst>
                                    </p:anim>
                                    <p:anim calcmode="lin" valueType="num">
                                      <p:cBhvr>
                                        <p:cTn id="87" dur="500" fill="hold"/>
                                        <p:tgtEl>
                                          <p:spTgt spid="7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3" grpId="0"/>
      <p:bldP spid="4" grpId="0"/>
      <p:bldP spid="5" grpId="0" animBg="1"/>
      <p:bldP spid="27" grpId="0" animBg="1"/>
      <p:bldP spid="28" grpId="0"/>
    </p:bld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1346D2C-CCF5-0282-B2CB-239E08CB8765}"/>
              </a:ext>
            </a:extLst>
          </p:cNvPr>
          <p:cNvSpPr/>
          <p:nvPr/>
        </p:nvSpPr>
        <p:spPr bwMode="auto">
          <a:xfrm>
            <a:off x="3463992" y="1019684"/>
            <a:ext cx="6120000" cy="540000"/>
          </a:xfrm>
          <a:prstGeom prst="rect">
            <a:avLst/>
          </a:prstGeom>
          <a:solidFill>
            <a:schemeClr val="bg1">
              <a:alpha val="30000"/>
            </a:schemeClr>
          </a:solidFill>
          <a:ln w="12700">
            <a:solidFill>
              <a:srgbClr val="F89AF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CA"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Training Code</a:t>
            </a:r>
          </a:p>
          <a:p>
            <a:pPr marL="0" marR="0" lvl="0" indent="0" algn="ctr" defTabSz="932472" rtl="0" eaLnBrk="1" fontAlgn="base" latinLnBrk="0" hangingPunct="1">
              <a:lnSpc>
                <a:spcPct val="90000"/>
              </a:lnSpc>
              <a:spcBef>
                <a:spcPct val="0"/>
              </a:spcBef>
              <a:spcAft>
                <a:spcPct val="0"/>
              </a:spcAft>
              <a:buClrTx/>
              <a:buSzTx/>
              <a:buFontTx/>
              <a:buNone/>
              <a:tabLst/>
              <a:defRPr/>
            </a:pPr>
            <a:r>
              <a:rPr lang="en-CA" sz="1200">
                <a:gradFill>
                  <a:gsLst>
                    <a:gs pos="0">
                      <a:srgbClr val="FFFFFF"/>
                    </a:gs>
                    <a:gs pos="100000">
                      <a:srgbClr val="FFFFFF"/>
                    </a:gs>
                  </a:gsLst>
                  <a:lin ang="5400000" scaled="0"/>
                </a:gradFill>
                <a:latin typeface="Segoe UI Semibold"/>
                <a:ea typeface="Segoe UI" pitchFamily="34" charset="0"/>
                <a:cs typeface="Segoe UI" pitchFamily="34" charset="0"/>
              </a:rPr>
              <a:t>Python, C, etc.</a:t>
            </a:r>
            <a:endParaRPr kumimoji="0" lang="en-CA"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7" name="Rectangle 6">
            <a:extLst>
              <a:ext uri="{FF2B5EF4-FFF2-40B4-BE49-F238E27FC236}">
                <a16:creationId xmlns:a16="http://schemas.microsoft.com/office/drawing/2014/main" id="{A57C60B4-6878-88BC-CC59-04DF1CA7130F}"/>
              </a:ext>
              <a:ext uri="{C183D7F6-B498-43B3-948B-1728B52AA6E4}">
                <adec:decorative xmlns:adec="http://schemas.microsoft.com/office/drawing/2017/decorative" val="1"/>
              </a:ext>
            </a:extLst>
          </p:cNvPr>
          <p:cNvSpPr/>
          <p:nvPr/>
        </p:nvSpPr>
        <p:spPr bwMode="auto">
          <a:xfrm>
            <a:off x="3463992" y="1632290"/>
            <a:ext cx="6120000" cy="540000"/>
          </a:xfrm>
          <a:prstGeom prst="rect">
            <a:avLst/>
          </a:prstGeom>
          <a:solidFill>
            <a:sysClr val="windowText" lastClr="000000">
              <a:alpha val="30000"/>
            </a:sysClr>
          </a:solidFill>
          <a:ln w="12700" cap="flat" cmpd="sng" algn="ctr">
            <a:solidFill>
              <a:srgbClr val="FFFB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icrosoft </a:t>
            </a:r>
            <a:r>
              <a:rPr kumimoji="0" lang="en-US" sz="1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eepSeed</a:t>
            </a: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 name="Rectangle 7">
            <a:extLst>
              <a:ext uri="{FF2B5EF4-FFF2-40B4-BE49-F238E27FC236}">
                <a16:creationId xmlns:a16="http://schemas.microsoft.com/office/drawing/2014/main" id="{B49C2715-7B55-4D34-AFB7-0A872C898406}"/>
              </a:ext>
              <a:ext uri="{C183D7F6-B498-43B3-948B-1728B52AA6E4}">
                <adec:decorative xmlns:adec="http://schemas.microsoft.com/office/drawing/2017/decorative" val="1"/>
              </a:ext>
            </a:extLst>
          </p:cNvPr>
          <p:cNvSpPr/>
          <p:nvPr/>
        </p:nvSpPr>
        <p:spPr bwMode="auto">
          <a:xfrm>
            <a:off x="3463992" y="3470108"/>
            <a:ext cx="3816483" cy="540000"/>
          </a:xfrm>
          <a:prstGeom prst="rect">
            <a:avLst/>
          </a:prstGeom>
          <a:solidFill>
            <a:sysClr val="windowText" lastClr="000000">
              <a:alpha val="30000"/>
            </a:sysClr>
          </a:solidFill>
          <a:ln w="12700" cap="flat" cmpd="sng" algn="ctr">
            <a:solidFill>
              <a:srgbClr val="FF006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PI</a:t>
            </a:r>
          </a:p>
          <a:p>
            <a:pPr marL="0" marR="0" lvl="0" indent="0" algn="ctr" defTabSz="932472" eaLnBrk="1" fontAlgn="base" latinLnBrk="0" hangingPunct="1">
              <a:lnSpc>
                <a:spcPct val="90000"/>
              </a:lnSpc>
              <a:spcBef>
                <a:spcPct val="0"/>
              </a:spcBef>
              <a:spcAft>
                <a:spcPct val="0"/>
              </a:spcAft>
              <a:buClrTx/>
              <a:buSzTx/>
              <a:buFontTx/>
              <a:buNone/>
              <a:tabLst/>
              <a:defRPr/>
            </a:pPr>
            <a:r>
              <a:rPr lang="en-US" sz="12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PCX Recommended)</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1" name="Rectangle 10">
            <a:extLst>
              <a:ext uri="{FF2B5EF4-FFF2-40B4-BE49-F238E27FC236}">
                <a16:creationId xmlns:a16="http://schemas.microsoft.com/office/drawing/2014/main" id="{7DAE3899-FE13-5F32-8BF6-5D277C15A2DE}"/>
              </a:ext>
              <a:ext uri="{C183D7F6-B498-43B3-948B-1728B52AA6E4}">
                <adec:decorative xmlns:adec="http://schemas.microsoft.com/office/drawing/2017/decorative" val="1"/>
              </a:ext>
            </a:extLst>
          </p:cNvPr>
          <p:cNvSpPr/>
          <p:nvPr/>
        </p:nvSpPr>
        <p:spPr bwMode="auto">
          <a:xfrm>
            <a:off x="3463992" y="2244896"/>
            <a:ext cx="6120000" cy="540000"/>
          </a:xfrm>
          <a:prstGeom prst="rect">
            <a:avLst/>
          </a:prstGeom>
          <a:solidFill>
            <a:sysClr val="windowText" lastClr="000000">
              <a:alpha val="30000"/>
            </a:sysClr>
          </a:solidFill>
          <a:ln w="12700" cap="flat" cmpd="sng" algn="ctr">
            <a:solidFill>
              <a:srgbClr val="FFFB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Onnx</a:t>
            </a: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 Runtime(ORT)</a:t>
            </a:r>
          </a:p>
        </p:txBody>
      </p:sp>
      <p:sp>
        <p:nvSpPr>
          <p:cNvPr id="12" name="Rectangle 11">
            <a:extLst>
              <a:ext uri="{FF2B5EF4-FFF2-40B4-BE49-F238E27FC236}">
                <a16:creationId xmlns:a16="http://schemas.microsoft.com/office/drawing/2014/main" id="{F36EF986-F31A-EFA0-E535-B416B0526577}"/>
              </a:ext>
              <a:ext uri="{C183D7F6-B498-43B3-948B-1728B52AA6E4}">
                <adec:decorative xmlns:adec="http://schemas.microsoft.com/office/drawing/2017/decorative" val="1"/>
              </a:ext>
            </a:extLst>
          </p:cNvPr>
          <p:cNvSpPr/>
          <p:nvPr/>
        </p:nvSpPr>
        <p:spPr bwMode="auto">
          <a:xfrm>
            <a:off x="3463992" y="2857502"/>
            <a:ext cx="6120000" cy="540000"/>
          </a:xfrm>
          <a:prstGeom prst="rect">
            <a:avLst/>
          </a:prstGeom>
          <a:solidFill>
            <a:sysClr val="windowText" lastClr="000000">
              <a:alpha val="30000"/>
            </a:sysClr>
          </a:solidFill>
          <a:ln w="12700" cap="flat" cmpd="sng" algn="ctr">
            <a:solidFill>
              <a:srgbClr val="F89AF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Training Framework</a:t>
            </a:r>
          </a:p>
          <a:p>
            <a:pPr marL="0" marR="0" lvl="0" indent="0" algn="ctr" defTabSz="932472" eaLnBrk="1" fontAlgn="base" latinLnBrk="0" hangingPunct="1">
              <a:lnSpc>
                <a:spcPct val="90000"/>
              </a:lnSpc>
              <a:spcBef>
                <a:spcPct val="0"/>
              </a:spcBef>
              <a:spcAft>
                <a:spcPct val="0"/>
              </a:spcAft>
              <a:buClrTx/>
              <a:buSzTx/>
              <a:buFontTx/>
              <a:buNone/>
              <a:tabLst/>
              <a:defRPr/>
            </a:pPr>
            <a:r>
              <a:rPr lang="en-US" sz="1200"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Pytorch</a:t>
            </a:r>
            <a:r>
              <a:rPr lang="en-US" sz="12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 </a:t>
            </a:r>
            <a:r>
              <a:rPr lang="en-US" sz="1200"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TensofFlow</a:t>
            </a:r>
            <a:r>
              <a:rPr lang="en-US" sz="12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 Caffe, CNTK, etc.</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3" name="Rectangle 12">
            <a:extLst>
              <a:ext uri="{FF2B5EF4-FFF2-40B4-BE49-F238E27FC236}">
                <a16:creationId xmlns:a16="http://schemas.microsoft.com/office/drawing/2014/main" id="{A97D73A0-7BF0-91BD-636B-6D052C82842E}"/>
              </a:ext>
              <a:ext uri="{C183D7F6-B498-43B3-948B-1728B52AA6E4}">
                <adec:decorative xmlns:adec="http://schemas.microsoft.com/office/drawing/2017/decorative" val="1"/>
              </a:ext>
            </a:extLst>
          </p:cNvPr>
          <p:cNvSpPr/>
          <p:nvPr/>
        </p:nvSpPr>
        <p:spPr bwMode="auto">
          <a:xfrm>
            <a:off x="7373074" y="3470108"/>
            <a:ext cx="2210920" cy="540000"/>
          </a:xfrm>
          <a:prstGeom prst="rect">
            <a:avLst/>
          </a:prstGeom>
          <a:solidFill>
            <a:sysClr val="windowText" lastClr="000000">
              <a:alpha val="30000"/>
            </a:sysClr>
          </a:solidFill>
          <a:ln w="12700" cap="flat" cmpd="sng" algn="ctr">
            <a:solidFill>
              <a:srgbClr val="FFFB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NCCL RDMA</a:t>
            </a:r>
          </a:p>
          <a:p>
            <a:pPr marL="0" marR="0" lvl="0" indent="0" algn="ctr" defTabSz="932472" eaLnBrk="1" fontAlgn="base" latinLnBrk="0" hangingPunct="1">
              <a:lnSpc>
                <a:spcPct val="90000"/>
              </a:lnSpc>
              <a:spcBef>
                <a:spcPct val="0"/>
              </a:spcBef>
              <a:spcAft>
                <a:spcPct val="0"/>
              </a:spcAft>
              <a:buClrTx/>
              <a:buSzTx/>
              <a:buFontTx/>
              <a:buNone/>
              <a:tabLst/>
              <a:defRPr/>
            </a:pPr>
            <a:r>
              <a:rPr lang="en-US" sz="12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HARP Plugins</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5" name="Rectangle 14">
            <a:extLst>
              <a:ext uri="{FF2B5EF4-FFF2-40B4-BE49-F238E27FC236}">
                <a16:creationId xmlns:a16="http://schemas.microsoft.com/office/drawing/2014/main" id="{BECAB1AD-4C25-2E99-F117-9EC6D2814641}"/>
              </a:ext>
              <a:ext uri="{C183D7F6-B498-43B3-948B-1728B52AA6E4}">
                <adec:decorative xmlns:adec="http://schemas.microsoft.com/office/drawing/2017/decorative" val="1"/>
              </a:ext>
            </a:extLst>
          </p:cNvPr>
          <p:cNvSpPr/>
          <p:nvPr/>
        </p:nvSpPr>
        <p:spPr bwMode="auto">
          <a:xfrm>
            <a:off x="3463992" y="4082714"/>
            <a:ext cx="2994681" cy="540000"/>
          </a:xfrm>
          <a:prstGeom prst="rect">
            <a:avLst/>
          </a:prstGeom>
          <a:solidFill>
            <a:sysClr val="windowText" lastClr="000000">
              <a:alpha val="30000"/>
            </a:sysClr>
          </a:solidFill>
          <a:ln w="12700" cap="flat" cmpd="sng" algn="ctr">
            <a:solidFill>
              <a:srgbClr val="FF006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NVML, </a:t>
            </a:r>
            <a:r>
              <a:rPr kumimoji="0" lang="en-US" sz="1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uDNN</a:t>
            </a: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 etc.</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6" name="Rectangle 15">
            <a:extLst>
              <a:ext uri="{FF2B5EF4-FFF2-40B4-BE49-F238E27FC236}">
                <a16:creationId xmlns:a16="http://schemas.microsoft.com/office/drawing/2014/main" id="{5AF76E11-84A6-A31C-7028-08A418EC7ACA}"/>
              </a:ext>
              <a:ext uri="{C183D7F6-B498-43B3-948B-1728B52AA6E4}">
                <adec:decorative xmlns:adec="http://schemas.microsoft.com/office/drawing/2017/decorative" val="1"/>
              </a:ext>
            </a:extLst>
          </p:cNvPr>
          <p:cNvSpPr/>
          <p:nvPr/>
        </p:nvSpPr>
        <p:spPr bwMode="auto">
          <a:xfrm>
            <a:off x="6554587" y="4082714"/>
            <a:ext cx="3029406" cy="540000"/>
          </a:xfrm>
          <a:prstGeom prst="rect">
            <a:avLst/>
          </a:prstGeom>
          <a:solidFill>
            <a:sysClr val="windowText" lastClr="000000">
              <a:alpha val="30000"/>
            </a:sysClr>
          </a:solidFill>
          <a:ln w="12700" cap="flat" cmpd="sng" algn="ctr">
            <a:solidFill>
              <a:srgbClr val="FFFB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NCCL</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7" name="Rectangle 16">
            <a:extLst>
              <a:ext uri="{FF2B5EF4-FFF2-40B4-BE49-F238E27FC236}">
                <a16:creationId xmlns:a16="http://schemas.microsoft.com/office/drawing/2014/main" id="{8C01F416-E22C-6D50-4C24-A8189AC5F436}"/>
              </a:ext>
              <a:ext uri="{C183D7F6-B498-43B3-948B-1728B52AA6E4}">
                <adec:decorative xmlns:adec="http://schemas.microsoft.com/office/drawing/2017/decorative" val="1"/>
              </a:ext>
            </a:extLst>
          </p:cNvPr>
          <p:cNvSpPr/>
          <p:nvPr/>
        </p:nvSpPr>
        <p:spPr bwMode="auto">
          <a:xfrm>
            <a:off x="3463992" y="4695320"/>
            <a:ext cx="6120000" cy="540000"/>
          </a:xfrm>
          <a:prstGeom prst="rect">
            <a:avLst/>
          </a:prstGeom>
          <a:solidFill>
            <a:sysClr val="windowText" lastClr="000000">
              <a:alpha val="30000"/>
            </a:sysClr>
          </a:solidFill>
          <a:ln w="12700" cap="flat" cmpd="sng" algn="ctr">
            <a:solidFill>
              <a:srgbClr val="FF006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UDA (Compliers, Libraries and Tools)</a:t>
            </a:r>
          </a:p>
        </p:txBody>
      </p:sp>
      <p:sp>
        <p:nvSpPr>
          <p:cNvPr id="18" name="Rectangle 17">
            <a:extLst>
              <a:ext uri="{FF2B5EF4-FFF2-40B4-BE49-F238E27FC236}">
                <a16:creationId xmlns:a16="http://schemas.microsoft.com/office/drawing/2014/main" id="{03840AEE-560F-A648-A0EE-B718E73D3849}"/>
              </a:ext>
              <a:ext uri="{C183D7F6-B498-43B3-948B-1728B52AA6E4}">
                <adec:decorative xmlns:adec="http://schemas.microsoft.com/office/drawing/2017/decorative" val="1"/>
              </a:ext>
            </a:extLst>
          </p:cNvPr>
          <p:cNvSpPr/>
          <p:nvPr/>
        </p:nvSpPr>
        <p:spPr bwMode="auto">
          <a:xfrm>
            <a:off x="3463992" y="5307926"/>
            <a:ext cx="6120000" cy="540000"/>
          </a:xfrm>
          <a:prstGeom prst="rect">
            <a:avLst/>
          </a:prstGeom>
          <a:solidFill>
            <a:sysClr val="windowText" lastClr="000000">
              <a:alpha val="30000"/>
            </a:sysClr>
          </a:solidFill>
          <a:ln w="12700" cap="flat" cmpd="sng" algn="ctr">
            <a:solidFill>
              <a:srgbClr val="FF006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epcific</a:t>
            </a: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 Driver (e.g. MLX &amp; Nvidia GPU)</a:t>
            </a:r>
          </a:p>
        </p:txBody>
      </p:sp>
      <p:sp>
        <p:nvSpPr>
          <p:cNvPr id="19" name="Rectangle 18">
            <a:extLst>
              <a:ext uri="{FF2B5EF4-FFF2-40B4-BE49-F238E27FC236}">
                <a16:creationId xmlns:a16="http://schemas.microsoft.com/office/drawing/2014/main" id="{AED3FF73-71BC-6491-D021-8185E42C7A59}"/>
              </a:ext>
              <a:ext uri="{C183D7F6-B498-43B3-948B-1728B52AA6E4}">
                <adec:decorative xmlns:adec="http://schemas.microsoft.com/office/drawing/2017/decorative" val="1"/>
              </a:ext>
            </a:extLst>
          </p:cNvPr>
          <p:cNvSpPr/>
          <p:nvPr/>
        </p:nvSpPr>
        <p:spPr bwMode="auto">
          <a:xfrm>
            <a:off x="3463992" y="5920532"/>
            <a:ext cx="6120000" cy="540000"/>
          </a:xfrm>
          <a:prstGeom prst="rect">
            <a:avLst/>
          </a:prstGeom>
          <a:solidFill>
            <a:sysClr val="windowText" lastClr="000000">
              <a:alpha val="30000"/>
            </a:sysClr>
          </a:solidFill>
          <a:ln w="12700" cap="flat" cmpd="sng" algn="ctr">
            <a:solidFill>
              <a:srgbClr val="FF006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H/W </a:t>
            </a:r>
            <a:r>
              <a:rPr kumimoji="0" lang="en-US" sz="1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nfiniband</a:t>
            </a: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 HCA + PCIe + </a:t>
            </a:r>
            <a:r>
              <a:rPr kumimoji="0" lang="en-US" sz="1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Nvswitch</a:t>
            </a: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t>
            </a:r>
            <a:r>
              <a:rPr kumimoji="0" lang="en-US" sz="1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NVlink</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 name="Title 1">
            <a:extLst>
              <a:ext uri="{FF2B5EF4-FFF2-40B4-BE49-F238E27FC236}">
                <a16:creationId xmlns:a16="http://schemas.microsoft.com/office/drawing/2014/main" id="{5EEF6381-94BC-758E-019B-73659EA30BDE}"/>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36370990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left)">
                                      <p:cBhvr>
                                        <p:cTn id="10" dur="500"/>
                                        <p:tgtEl>
                                          <p:spTgt spid="7"/>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wipe(left)">
                                      <p:cBhvr>
                                        <p:cTn id="13" dur="500"/>
                                        <p:tgtEl>
                                          <p:spTgt spid="11"/>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wipe(left)">
                                      <p:cBhvr>
                                        <p:cTn id="16" dur="500"/>
                                        <p:tgtEl>
                                          <p:spTgt spid="12"/>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left)">
                                      <p:cBhvr>
                                        <p:cTn id="19" dur="500"/>
                                        <p:tgtEl>
                                          <p:spTgt spid="8"/>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wipe(left)">
                                      <p:cBhvr>
                                        <p:cTn id="22" dur="500"/>
                                        <p:tgtEl>
                                          <p:spTgt spid="15"/>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wipe(left)">
                                      <p:cBhvr>
                                        <p:cTn id="25" dur="500"/>
                                        <p:tgtEl>
                                          <p:spTgt spid="17"/>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wipe(left)">
                                      <p:cBhvr>
                                        <p:cTn id="28" dur="500"/>
                                        <p:tgtEl>
                                          <p:spTgt spid="18"/>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wipe(left)">
                                      <p:cBhvr>
                                        <p:cTn id="31" dur="500"/>
                                        <p:tgtEl>
                                          <p:spTgt spid="19"/>
                                        </p:tgtEl>
                                      </p:cBhvr>
                                    </p:animEffect>
                                  </p:childTnLst>
                                </p:cTn>
                              </p:par>
                              <p:par>
                                <p:cTn id="32" presetID="22" presetClass="entr" presetSubtype="2" fill="hold" grpId="0" nodeType="with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wipe(right)">
                                      <p:cBhvr>
                                        <p:cTn id="34" dur="500"/>
                                        <p:tgtEl>
                                          <p:spTgt spid="13"/>
                                        </p:tgtEl>
                                      </p:cBhvr>
                                    </p:animEffect>
                                  </p:childTnLst>
                                </p:cTn>
                              </p:par>
                              <p:par>
                                <p:cTn id="35" presetID="22" presetClass="entr" presetSubtype="2" fill="hold" grpId="0"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wipe(right)">
                                      <p:cBhvr>
                                        <p:cTn id="3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11" grpId="0" animBg="1"/>
      <p:bldP spid="12" grpId="0" animBg="1"/>
      <p:bldP spid="13" grpId="0" animBg="1"/>
      <p:bldP spid="15" grpId="0" animBg="1"/>
      <p:bldP spid="16" grpId="0" animBg="1"/>
      <p:bldP spid="17" grpId="0" animBg="1"/>
      <p:bldP spid="18" grpId="0" animBg="1"/>
      <p:bldP spid="19"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DFE8C56-AB2A-7CB3-3257-F7CAF3AE4EE1}"/>
              </a:ext>
            </a:extLst>
          </p:cNvPr>
          <p:cNvSpPr>
            <a:spLocks noGrp="1"/>
          </p:cNvSpPr>
          <p:nvPr>
            <p:ph type="title"/>
          </p:nvPr>
        </p:nvSpPr>
        <p:spPr/>
        <p:txBody>
          <a:bodyPr>
            <a:normAutofit/>
          </a:bodyPr>
          <a:lstStyle/>
          <a:p>
            <a:r>
              <a:rPr lang="en-CA"/>
              <a:t>NDv4 tuning considerations</a:t>
            </a:r>
          </a:p>
        </p:txBody>
      </p:sp>
      <p:sp>
        <p:nvSpPr>
          <p:cNvPr id="4" name="Content Placeholder 3">
            <a:extLst>
              <a:ext uri="{FF2B5EF4-FFF2-40B4-BE49-F238E27FC236}">
                <a16:creationId xmlns:a16="http://schemas.microsoft.com/office/drawing/2014/main" id="{C6785D96-EE53-D965-8B1D-805001832EA6}"/>
              </a:ext>
            </a:extLst>
          </p:cNvPr>
          <p:cNvSpPr>
            <a:spLocks noGrp="1"/>
          </p:cNvSpPr>
          <p:nvPr>
            <p:ph type="body" sz="quarter" idx="10"/>
          </p:nvPr>
        </p:nvSpPr>
        <p:spPr>
          <a:prstGeom prst="rect">
            <a:avLst/>
          </a:prstGeom>
        </p:spPr>
        <p:txBody>
          <a:bodyPr>
            <a:normAutofit/>
          </a:bodyPr>
          <a:lstStyle/>
          <a:p>
            <a:pPr marL="285750" indent="-285750">
              <a:buFont typeface="Arial" panose="020B0604020202020204" pitchFamily="34" charset="0"/>
              <a:buChar char="•"/>
            </a:pPr>
            <a:r>
              <a:rPr lang="en-CA" sz="1800">
                <a:solidFill>
                  <a:schemeClr val="tx1"/>
                </a:solidFill>
                <a:latin typeface="Segoe UI" panose="020B0502040204020203" pitchFamily="34" charset="0"/>
                <a:cs typeface="Segoe UI" panose="020B0502040204020203" pitchFamily="34" charset="0"/>
              </a:rPr>
              <a:t>GPU tuning </a:t>
            </a:r>
          </a:p>
          <a:p>
            <a:pPr marL="285750" indent="-285750">
              <a:buFont typeface="Arial" panose="020B0604020202020204" pitchFamily="34" charset="0"/>
              <a:buChar char="•"/>
            </a:pPr>
            <a:r>
              <a:rPr lang="en-CA" sz="1800">
                <a:solidFill>
                  <a:schemeClr val="tx1"/>
                </a:solidFill>
                <a:latin typeface="Segoe UI" panose="020B0502040204020203" pitchFamily="34" charset="0"/>
                <a:cs typeface="Segoe UI" panose="020B0502040204020203" pitchFamily="34" charset="0"/>
              </a:rPr>
              <a:t>NCCL tuning </a:t>
            </a:r>
          </a:p>
          <a:p>
            <a:pPr marL="285750" indent="-285750">
              <a:buFont typeface="Arial" panose="020B0604020202020204" pitchFamily="34" charset="0"/>
              <a:buChar char="•"/>
            </a:pPr>
            <a:r>
              <a:rPr lang="en-CA" sz="1800">
                <a:solidFill>
                  <a:schemeClr val="tx1"/>
                </a:solidFill>
                <a:latin typeface="Segoe UI" panose="020B0502040204020203" pitchFamily="34" charset="0"/>
                <a:cs typeface="Segoe UI" panose="020B0502040204020203" pitchFamily="34" charset="0"/>
              </a:rPr>
              <a:t>MPI considerations </a:t>
            </a:r>
          </a:p>
          <a:p>
            <a:pPr marL="285750" indent="-285750">
              <a:buFont typeface="Arial" panose="020B0604020202020204" pitchFamily="34" charset="0"/>
              <a:buChar char="•"/>
            </a:pPr>
            <a:r>
              <a:rPr lang="en-CA" sz="1800">
                <a:solidFill>
                  <a:schemeClr val="tx1"/>
                </a:solidFill>
                <a:latin typeface="Segoe UI" panose="020B0502040204020203" pitchFamily="34" charset="0"/>
                <a:cs typeface="Segoe UI" panose="020B0502040204020203" pitchFamily="34" charset="0"/>
              </a:rPr>
              <a:t>Process pinning optimizations</a:t>
            </a:r>
          </a:p>
          <a:p>
            <a:pPr marL="285750" indent="-285750">
              <a:buFont typeface="Arial" panose="020B0604020202020204" pitchFamily="34" charset="0"/>
              <a:buChar char="•"/>
            </a:pPr>
            <a:r>
              <a:rPr lang="en-CA" sz="1800">
                <a:solidFill>
                  <a:schemeClr val="tx1"/>
                </a:solidFill>
                <a:latin typeface="Segoe UI" panose="020B0502040204020203" pitchFamily="34" charset="0"/>
                <a:cs typeface="Segoe UI" panose="020B0502040204020203" pitchFamily="34" charset="0"/>
              </a:rPr>
              <a:t>Front-end network tuning</a:t>
            </a:r>
          </a:p>
          <a:p>
            <a:pPr marL="285750" indent="-285750">
              <a:buFont typeface="Arial" panose="020B0604020202020204" pitchFamily="34" charset="0"/>
              <a:buChar char="•"/>
            </a:pPr>
            <a:r>
              <a:rPr lang="en-CA" sz="1800">
                <a:solidFill>
                  <a:schemeClr val="tx1"/>
                </a:solidFill>
                <a:latin typeface="Segoe UI" panose="020B0502040204020203" pitchFamily="34" charset="0"/>
                <a:cs typeface="Segoe UI" panose="020B0502040204020203" pitchFamily="34" charset="0"/>
              </a:rPr>
              <a:t>I/O tuning </a:t>
            </a:r>
          </a:p>
          <a:p>
            <a:pPr marL="285750" indent="-285750">
              <a:buFont typeface="Arial" panose="020B0604020202020204" pitchFamily="34" charset="0"/>
              <a:buChar char="•"/>
            </a:pPr>
            <a:r>
              <a:rPr lang="en-CA" sz="1800">
                <a:solidFill>
                  <a:schemeClr val="tx1"/>
                </a:solidFill>
                <a:latin typeface="Segoe UI" panose="020B0502040204020203" pitchFamily="34" charset="0"/>
                <a:cs typeface="Segoe UI" panose="020B0502040204020203" pitchFamily="34" charset="0"/>
              </a:rPr>
              <a:t>Front-end network tuning</a:t>
            </a:r>
          </a:p>
        </p:txBody>
      </p:sp>
      <p:grpSp>
        <p:nvGrpSpPr>
          <p:cNvPr id="8" name="Group 7">
            <a:extLst>
              <a:ext uri="{FF2B5EF4-FFF2-40B4-BE49-F238E27FC236}">
                <a16:creationId xmlns:a16="http://schemas.microsoft.com/office/drawing/2014/main" id="{7D177B98-994E-0B67-3624-108822EEBCEE}"/>
              </a:ext>
            </a:extLst>
          </p:cNvPr>
          <p:cNvGrpSpPr/>
          <p:nvPr/>
        </p:nvGrpSpPr>
        <p:grpSpPr>
          <a:xfrm>
            <a:off x="6534151" y="1794076"/>
            <a:ext cx="5086349" cy="2268638"/>
            <a:chOff x="6534151" y="2314937"/>
            <a:chExt cx="5086349" cy="2268638"/>
          </a:xfrm>
        </p:grpSpPr>
        <p:sp>
          <p:nvSpPr>
            <p:cNvPr id="7" name="Rectangle: Rounded Corners 6">
              <a:extLst>
                <a:ext uri="{FF2B5EF4-FFF2-40B4-BE49-F238E27FC236}">
                  <a16:creationId xmlns:a16="http://schemas.microsoft.com/office/drawing/2014/main" id="{7AE707B4-70D9-64A6-2E1E-CBF6DEB8F691}"/>
                </a:ext>
              </a:extLst>
            </p:cNvPr>
            <p:cNvSpPr/>
            <p:nvPr/>
          </p:nvSpPr>
          <p:spPr>
            <a:xfrm>
              <a:off x="6543677" y="2314937"/>
              <a:ext cx="5076823" cy="2268638"/>
            </a:xfrm>
            <a:prstGeom prst="roundRect">
              <a:avLst>
                <a:gd name="adj" fmla="val 4955"/>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p>
          </p:txBody>
        </p:sp>
        <p:pic>
          <p:nvPicPr>
            <p:cNvPr id="5" name="Picture 4" descr="Text&#10;&#10;Description automatically generated">
              <a:extLst>
                <a:ext uri="{FF2B5EF4-FFF2-40B4-BE49-F238E27FC236}">
                  <a16:creationId xmlns:a16="http://schemas.microsoft.com/office/drawing/2014/main" id="{7696C01F-D89E-7D38-CE5F-280EA43A48E3}"/>
                </a:ext>
              </a:extLst>
            </p:cNvPr>
            <p:cNvPicPr>
              <a:picLocks noChangeAspect="1"/>
            </p:cNvPicPr>
            <p:nvPr/>
          </p:nvPicPr>
          <p:blipFill rotWithShape="1">
            <a:blip r:embed="rId3"/>
            <a:srcRect b="72209"/>
            <a:stretch/>
          </p:blipFill>
          <p:spPr>
            <a:xfrm>
              <a:off x="6534151" y="2550258"/>
              <a:ext cx="5076825" cy="1797997"/>
            </a:xfrm>
            <a:prstGeom prst="rect">
              <a:avLst/>
            </a:prstGeom>
          </p:spPr>
        </p:pic>
      </p:grpSp>
    </p:spTree>
    <p:extLst>
      <p:ext uri="{BB962C8B-B14F-4D97-AF65-F5344CB8AC3E}">
        <p14:creationId xmlns:p14="http://schemas.microsoft.com/office/powerpoint/2010/main" val="3560447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
                                            <p:txEl>
                                              <p:pRg st="1" end="1"/>
                                            </p:txEl>
                                          </p:spTgt>
                                        </p:tgtEl>
                                        <p:attrNameLst>
                                          <p:attrName>style.visibility</p:attrName>
                                        </p:attrNameLst>
                                      </p:cBhvr>
                                      <p:to>
                                        <p:strVal val="visible"/>
                                      </p:to>
                                    </p:set>
                                    <p:animEffect transition="in" filter="fade">
                                      <p:cBhvr>
                                        <p:cTn id="14" dur="500"/>
                                        <p:tgtEl>
                                          <p:spTgt spid="4">
                                            <p:txEl>
                                              <p:pRg st="1" end="1"/>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
                                            <p:txEl>
                                              <p:pRg st="3" end="3"/>
                                            </p:txEl>
                                          </p:spTgt>
                                        </p:tgtEl>
                                        <p:attrNameLst>
                                          <p:attrName>style.visibility</p:attrName>
                                        </p:attrNameLst>
                                      </p:cBhvr>
                                      <p:to>
                                        <p:strVal val="visible"/>
                                      </p:to>
                                    </p:set>
                                    <p:animEffect transition="in" filter="fade">
                                      <p:cBhvr>
                                        <p:cTn id="20" dur="500"/>
                                        <p:tgtEl>
                                          <p:spTgt spid="4">
                                            <p:txEl>
                                              <p:pRg st="3" end="3"/>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animEffect transition="in" filter="fade">
                                      <p:cBhvr>
                                        <p:cTn id="23" dur="500"/>
                                        <p:tgtEl>
                                          <p:spTgt spid="4">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
                                            <p:txEl>
                                              <p:pRg st="5" end="5"/>
                                            </p:txEl>
                                          </p:spTgt>
                                        </p:tgtEl>
                                        <p:attrNameLst>
                                          <p:attrName>style.visibility</p:attrName>
                                        </p:attrNameLst>
                                      </p:cBhvr>
                                      <p:to>
                                        <p:strVal val="visible"/>
                                      </p:to>
                                    </p:set>
                                    <p:animEffect transition="in" filter="fade">
                                      <p:cBhvr>
                                        <p:cTn id="26" dur="500"/>
                                        <p:tgtEl>
                                          <p:spTgt spid="4">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4">
                                            <p:txEl>
                                              <p:pRg st="6" end="6"/>
                                            </p:txEl>
                                          </p:spTgt>
                                        </p:tgtEl>
                                        <p:attrNameLst>
                                          <p:attrName>style.visibility</p:attrName>
                                        </p:attrNameLst>
                                      </p:cBhvr>
                                      <p:to>
                                        <p:strVal val="visible"/>
                                      </p:to>
                                    </p:set>
                                    <p:animEffect transition="in" filter="fade">
                                      <p:cBhvr>
                                        <p:cTn id="29" dur="500"/>
                                        <p:tgtEl>
                                          <p:spTgt spid="4">
                                            <p:txEl>
                                              <p:pRg st="6" end="6"/>
                                            </p:txEl>
                                          </p:spTgt>
                                        </p:tgtEl>
                                      </p:cBhvr>
                                    </p:animEffect>
                                  </p:childTnLst>
                                </p:cTn>
                              </p:par>
                              <p:par>
                                <p:cTn id="30" presetID="22" presetClass="entr" presetSubtype="8" fill="hold" nodeType="with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wipe(left)">
                                      <p:cBhvr>
                                        <p:cTn id="3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uiExpand="1" build="p"/>
    </p:bld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55C0C9-F02B-6F0C-626E-167F030CB2DA}"/>
              </a:ext>
            </a:extLst>
          </p:cNvPr>
          <p:cNvSpPr>
            <a:spLocks noGrp="1"/>
          </p:cNvSpPr>
          <p:nvPr>
            <p:ph type="title"/>
          </p:nvPr>
        </p:nvSpPr>
        <p:spPr/>
        <p:txBody>
          <a:bodyPr>
            <a:normAutofit/>
          </a:bodyPr>
          <a:lstStyle/>
          <a:p>
            <a:r>
              <a:rPr lang="en-CA"/>
              <a:t>Health checks</a:t>
            </a:r>
          </a:p>
        </p:txBody>
      </p:sp>
      <p:sp>
        <p:nvSpPr>
          <p:cNvPr id="6" name="Text Placeholder 5">
            <a:extLst>
              <a:ext uri="{FF2B5EF4-FFF2-40B4-BE49-F238E27FC236}">
                <a16:creationId xmlns:a16="http://schemas.microsoft.com/office/drawing/2014/main" id="{1FD1BC29-4904-AAF9-26C9-CFCA34E1A49B}"/>
              </a:ext>
            </a:extLst>
          </p:cNvPr>
          <p:cNvSpPr>
            <a:spLocks noGrp="1"/>
          </p:cNvSpPr>
          <p:nvPr>
            <p:ph type="body" sz="quarter" idx="10"/>
          </p:nvPr>
        </p:nvSpPr>
        <p:spPr/>
        <p:txBody>
          <a:bodyPr/>
          <a:lstStyle/>
          <a:p>
            <a:pPr marL="342900" indent="-342900">
              <a:buFont typeface="Arial" panose="020B0604020202020204" pitchFamily="34" charset="0"/>
              <a:buChar char="•"/>
            </a:pPr>
            <a:r>
              <a:rPr lang="en-CA" sz="1800">
                <a:solidFill>
                  <a:schemeClr val="tx1"/>
                </a:solidFill>
                <a:latin typeface="Segoe UI" panose="020B0502040204020203" pitchFamily="34" charset="0"/>
                <a:cs typeface="Segoe UI" panose="020B0502040204020203" pitchFamily="34" charset="0"/>
              </a:rPr>
              <a:t>Check GPU floating-point performance</a:t>
            </a:r>
          </a:p>
          <a:p>
            <a:pPr marL="342900" indent="-342900">
              <a:buFont typeface="Arial" panose="020B0604020202020204" pitchFamily="34" charset="0"/>
              <a:buChar char="•"/>
            </a:pPr>
            <a:r>
              <a:rPr lang="en-US" sz="1800">
                <a:solidFill>
                  <a:schemeClr val="tx1"/>
                </a:solidFill>
                <a:latin typeface="Segoe UI" panose="020B0502040204020203" pitchFamily="34" charset="0"/>
                <a:cs typeface="Segoe UI" panose="020B0502040204020203" pitchFamily="34" charset="0"/>
              </a:rPr>
              <a:t>Check host to device and device to host transfer bandwidth</a:t>
            </a:r>
          </a:p>
          <a:p>
            <a:pPr marL="342900" indent="-342900">
              <a:buFont typeface="Arial" panose="020B0604020202020204" pitchFamily="34" charset="0"/>
              <a:buChar char="•"/>
            </a:pPr>
            <a:r>
              <a:rPr lang="en-US" sz="1800">
                <a:solidFill>
                  <a:schemeClr val="tx1"/>
                </a:solidFill>
                <a:latin typeface="Segoe UI" panose="020B0502040204020203" pitchFamily="34" charset="0"/>
                <a:cs typeface="Segoe UI" panose="020B0502040204020203" pitchFamily="34" charset="0"/>
              </a:rPr>
              <a:t>Check the InfiniBand network and NCCL performance</a:t>
            </a:r>
          </a:p>
        </p:txBody>
      </p:sp>
      <p:grpSp>
        <p:nvGrpSpPr>
          <p:cNvPr id="8" name="Group 7">
            <a:extLst>
              <a:ext uri="{FF2B5EF4-FFF2-40B4-BE49-F238E27FC236}">
                <a16:creationId xmlns:a16="http://schemas.microsoft.com/office/drawing/2014/main" id="{9BA6749D-F2E6-8C8A-8C14-784059D49D1A}"/>
              </a:ext>
            </a:extLst>
          </p:cNvPr>
          <p:cNvGrpSpPr/>
          <p:nvPr/>
        </p:nvGrpSpPr>
        <p:grpSpPr>
          <a:xfrm>
            <a:off x="485775" y="3215530"/>
            <a:ext cx="11227805" cy="3115821"/>
            <a:chOff x="485775" y="3215530"/>
            <a:chExt cx="11227805" cy="3115821"/>
          </a:xfrm>
        </p:grpSpPr>
        <p:sp>
          <p:nvSpPr>
            <p:cNvPr id="7" name="Rectangle: Rounded Corners 6">
              <a:extLst>
                <a:ext uri="{FF2B5EF4-FFF2-40B4-BE49-F238E27FC236}">
                  <a16:creationId xmlns:a16="http://schemas.microsoft.com/office/drawing/2014/main" id="{7FD3E181-08F6-673C-C643-CBFF673A3ACF}"/>
                </a:ext>
              </a:extLst>
            </p:cNvPr>
            <p:cNvSpPr/>
            <p:nvPr/>
          </p:nvSpPr>
          <p:spPr>
            <a:xfrm>
              <a:off x="485775" y="3215530"/>
              <a:ext cx="11227805" cy="3115821"/>
            </a:xfrm>
            <a:prstGeom prst="roundRect">
              <a:avLst>
                <a:gd name="adj" fmla="val 4955"/>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p>
          </p:txBody>
        </p:sp>
        <p:pic>
          <p:nvPicPr>
            <p:cNvPr id="5" name="Picture 4" descr="Text&#10;&#10;Description automatically generated">
              <a:extLst>
                <a:ext uri="{FF2B5EF4-FFF2-40B4-BE49-F238E27FC236}">
                  <a16:creationId xmlns:a16="http://schemas.microsoft.com/office/drawing/2014/main" id="{0D46B0FE-57F4-C9C0-2521-451FE7E33DF5}"/>
                </a:ext>
              </a:extLst>
            </p:cNvPr>
            <p:cNvPicPr>
              <a:picLocks noChangeAspect="1"/>
            </p:cNvPicPr>
            <p:nvPr/>
          </p:nvPicPr>
          <p:blipFill rotWithShape="1">
            <a:blip r:embed="rId2"/>
            <a:srcRect b="52343"/>
            <a:stretch/>
          </p:blipFill>
          <p:spPr>
            <a:xfrm>
              <a:off x="577567" y="3322148"/>
              <a:ext cx="11044220" cy="2902585"/>
            </a:xfrm>
            <a:prstGeom prst="rect">
              <a:avLst/>
            </a:prstGeom>
          </p:spPr>
        </p:pic>
      </p:grpSp>
    </p:spTree>
    <p:extLst>
      <p:ext uri="{BB962C8B-B14F-4D97-AF65-F5344CB8AC3E}">
        <p14:creationId xmlns:p14="http://schemas.microsoft.com/office/powerpoint/2010/main" val="1081842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6">
                                            <p:txEl>
                                              <p:pRg st="1" end="1"/>
                                            </p:txEl>
                                          </p:spTgt>
                                        </p:tgtEl>
                                        <p:attrNameLst>
                                          <p:attrName>style.visibility</p:attrName>
                                        </p:attrNameLst>
                                      </p:cBhvr>
                                      <p:to>
                                        <p:strVal val="visible"/>
                                      </p:to>
                                    </p:set>
                                    <p:animEffect transition="in" filter="fade">
                                      <p:cBhvr>
                                        <p:cTn id="14" dur="500"/>
                                        <p:tgtEl>
                                          <p:spTgt spid="6">
                                            <p:txEl>
                                              <p:pRg st="1" end="1"/>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par>
                                <p:cTn id="18" presetID="22" presetClass="entr" presetSubtype="4" fill="hold" nodeType="with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wipe(down)">
                                      <p:cBhvr>
                                        <p:cTn id="20" dur="2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uiExpand="1" build="p"/>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5FE043D-9499-A4F8-E98C-573DF1C5210E}"/>
              </a:ext>
            </a:extLst>
          </p:cNvPr>
          <p:cNvSpPr>
            <a:spLocks noGrp="1"/>
          </p:cNvSpPr>
          <p:nvPr>
            <p:ph type="title"/>
          </p:nvPr>
        </p:nvSpPr>
        <p:spPr/>
        <p:txBody>
          <a:bodyPr>
            <a:normAutofit/>
          </a:bodyPr>
          <a:lstStyle/>
          <a:p>
            <a:r>
              <a:rPr lang="en-CA"/>
              <a:t>Summary outline</a:t>
            </a:r>
          </a:p>
        </p:txBody>
      </p:sp>
      <p:sp>
        <p:nvSpPr>
          <p:cNvPr id="9" name="Content Placeholder 5">
            <a:extLst>
              <a:ext uri="{FF2B5EF4-FFF2-40B4-BE49-F238E27FC236}">
                <a16:creationId xmlns:a16="http://schemas.microsoft.com/office/drawing/2014/main" id="{C961AE50-873E-7F1C-7E39-BC03E886AFA6}"/>
              </a:ext>
            </a:extLst>
          </p:cNvPr>
          <p:cNvSpPr txBox="1">
            <a:spLocks/>
          </p:cNvSpPr>
          <p:nvPr/>
        </p:nvSpPr>
        <p:spPr>
          <a:xfrm>
            <a:off x="756820" y="1813198"/>
            <a:ext cx="3899584" cy="3962569"/>
          </a:xfrm>
          <a:prstGeom prst="rect">
            <a:avLst/>
          </a:prstGeom>
        </p:spPr>
        <p:txBody>
          <a:bodyPr>
            <a:normAutofit lnSpcReduction="10000"/>
          </a:bodyPr>
          <a:lstStyle>
            <a:lvl1pPr marL="228600" indent="-228600" algn="l" defTabSz="914400" rtl="0" eaLnBrk="1" latinLnBrk="0" hangingPunct="1">
              <a:lnSpc>
                <a:spcPct val="125000"/>
              </a:lnSpc>
              <a:spcBef>
                <a:spcPts val="1000"/>
              </a:spcBef>
              <a:buFont typeface="Arial" panose="020B0604020202020204" pitchFamily="34" charset="0"/>
              <a:buChar char="•"/>
              <a:defRPr sz="2800" kern="1200">
                <a:solidFill>
                  <a:schemeClr val="tx1">
                    <a:alpha val="70000"/>
                  </a:schemeClr>
                </a:solidFill>
                <a:latin typeface="+mn-lt"/>
                <a:ea typeface="+mn-ea"/>
                <a:cs typeface="+mn-cs"/>
              </a:defRPr>
            </a:lvl1pPr>
            <a:lvl2pPr marL="685800" indent="-228600" algn="l" defTabSz="914400" rtl="0" eaLnBrk="1" latinLnBrk="0" hangingPunct="1">
              <a:lnSpc>
                <a:spcPct val="125000"/>
              </a:lnSpc>
              <a:spcBef>
                <a:spcPts val="500"/>
              </a:spcBef>
              <a:buFont typeface="Arial" panose="020B0604020202020204" pitchFamily="34" charset="0"/>
              <a:buChar char="•"/>
              <a:defRPr sz="2400" kern="1200">
                <a:solidFill>
                  <a:schemeClr val="tx1">
                    <a:alpha val="70000"/>
                  </a:schemeClr>
                </a:solidFill>
                <a:latin typeface="+mn-lt"/>
                <a:ea typeface="+mn-ea"/>
                <a:cs typeface="+mn-cs"/>
              </a:defRPr>
            </a:lvl2pPr>
            <a:lvl3pPr marL="1143000" indent="-228600" algn="l" defTabSz="914400" rtl="0" eaLnBrk="1" latinLnBrk="0" hangingPunct="1">
              <a:lnSpc>
                <a:spcPct val="125000"/>
              </a:lnSpc>
              <a:spcBef>
                <a:spcPts val="500"/>
              </a:spcBef>
              <a:buFont typeface="Arial" panose="020B0604020202020204" pitchFamily="34" charset="0"/>
              <a:buChar char="•"/>
              <a:defRPr sz="2000" kern="1200">
                <a:solidFill>
                  <a:schemeClr val="tx1">
                    <a:alpha val="70000"/>
                  </a:schemeClr>
                </a:solidFill>
                <a:latin typeface="+mn-lt"/>
                <a:ea typeface="+mn-ea"/>
                <a:cs typeface="+mn-cs"/>
              </a:defRPr>
            </a:lvl3pPr>
            <a:lvl4pPr marL="1600200" indent="-228600" algn="l" defTabSz="914400" rtl="0" eaLnBrk="1" latinLnBrk="0" hangingPunct="1">
              <a:lnSpc>
                <a:spcPct val="125000"/>
              </a:lnSpc>
              <a:spcBef>
                <a:spcPts val="500"/>
              </a:spcBef>
              <a:buFont typeface="Arial" panose="020B0604020202020204" pitchFamily="34" charset="0"/>
              <a:buChar char="•"/>
              <a:defRPr sz="1800" kern="1200">
                <a:solidFill>
                  <a:schemeClr val="tx1">
                    <a:alpha val="70000"/>
                  </a:schemeClr>
                </a:solidFill>
                <a:latin typeface="+mn-lt"/>
                <a:ea typeface="+mn-ea"/>
                <a:cs typeface="+mn-cs"/>
              </a:defRPr>
            </a:lvl4pPr>
            <a:lvl5pPr marL="2057400" indent="-228600" algn="l" defTabSz="914400" rtl="0" eaLnBrk="1" latinLnBrk="0" hangingPunct="1">
              <a:lnSpc>
                <a:spcPct val="125000"/>
              </a:lnSpc>
              <a:spcBef>
                <a:spcPts val="500"/>
              </a:spcBef>
              <a:buFont typeface="Arial" panose="020B0604020202020204" pitchFamily="34" charset="0"/>
              <a:buChar char="•"/>
              <a:defRPr sz="1800" kern="1200">
                <a:solidFill>
                  <a:schemeClr val="tx1">
                    <a:alpha val="7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buNone/>
            </a:pPr>
            <a:r>
              <a:rPr lang="en-CA" sz="1600">
                <a:solidFill>
                  <a:srgbClr val="FF8FFA"/>
                </a:solidFill>
                <a:latin typeface="Segoe UI "/>
              </a:rPr>
              <a:t>Knowledge</a:t>
            </a:r>
          </a:p>
          <a:p>
            <a:pPr lvl="1">
              <a:lnSpc>
                <a:spcPct val="100000"/>
              </a:lnSpc>
              <a:spcBef>
                <a:spcPts val="600"/>
              </a:spcBef>
            </a:pPr>
            <a:r>
              <a:rPr lang="en-CA" sz="1400">
                <a:solidFill>
                  <a:schemeClr val="tx1"/>
                </a:solidFill>
                <a:latin typeface="Segoe UI "/>
              </a:rPr>
              <a:t>The requirement of large-scale Deep Learning </a:t>
            </a:r>
          </a:p>
          <a:p>
            <a:pPr lvl="1">
              <a:lnSpc>
                <a:spcPct val="100000"/>
              </a:lnSpc>
              <a:spcBef>
                <a:spcPts val="600"/>
              </a:spcBef>
              <a:spcAft>
                <a:spcPts val="1200"/>
              </a:spcAft>
            </a:pPr>
            <a:r>
              <a:rPr lang="en-CA" sz="1400">
                <a:solidFill>
                  <a:schemeClr val="tx1"/>
                </a:solidFill>
                <a:latin typeface="Segoe UI "/>
              </a:rPr>
              <a:t>E2E Deep Learning solution architectures</a:t>
            </a:r>
          </a:p>
          <a:p>
            <a:pPr marL="0" indent="0">
              <a:lnSpc>
                <a:spcPct val="100000"/>
              </a:lnSpc>
              <a:spcBef>
                <a:spcPts val="600"/>
              </a:spcBef>
              <a:buNone/>
            </a:pPr>
            <a:r>
              <a:rPr lang="en-CA" sz="1600">
                <a:solidFill>
                  <a:srgbClr val="F89AF4"/>
                </a:solidFill>
                <a:latin typeface="Segoe UI "/>
              </a:rPr>
              <a:t>Skills</a:t>
            </a:r>
          </a:p>
          <a:p>
            <a:pPr lvl="1">
              <a:lnSpc>
                <a:spcPct val="100000"/>
              </a:lnSpc>
              <a:spcBef>
                <a:spcPts val="600"/>
              </a:spcBef>
            </a:pPr>
            <a:r>
              <a:rPr lang="en-CA" sz="1400">
                <a:solidFill>
                  <a:schemeClr val="tx1"/>
                </a:solidFill>
                <a:latin typeface="Segoe UI "/>
              </a:rPr>
              <a:t>Deploy an environment on Azure for Deep Learning in a single click</a:t>
            </a:r>
          </a:p>
          <a:p>
            <a:pPr lvl="1">
              <a:lnSpc>
                <a:spcPct val="100000"/>
              </a:lnSpc>
              <a:spcBef>
                <a:spcPts val="600"/>
              </a:spcBef>
            </a:pPr>
            <a:r>
              <a:rPr lang="en-CA" sz="1400">
                <a:solidFill>
                  <a:schemeClr val="tx1"/>
                </a:solidFill>
                <a:latin typeface="Segoe UI "/>
              </a:rPr>
              <a:t>Inform use cases for large-scale Deep Learning</a:t>
            </a:r>
            <a:endParaRPr lang="en-CA" sz="1600">
              <a:solidFill>
                <a:schemeClr val="tx1"/>
              </a:solidFill>
              <a:latin typeface="Segoe UI "/>
            </a:endParaRPr>
          </a:p>
          <a:p>
            <a:pPr marL="0" indent="0">
              <a:buNone/>
            </a:pPr>
            <a:r>
              <a:rPr lang="en-CA" sz="1600">
                <a:solidFill>
                  <a:srgbClr val="F89AF4"/>
                </a:solidFill>
                <a:latin typeface="Segoe UI "/>
                <a:cs typeface="Segoe UI" panose="020B0502040204020203" pitchFamily="34" charset="0"/>
              </a:rPr>
              <a:t>Experience</a:t>
            </a:r>
          </a:p>
          <a:p>
            <a:pPr lvl="1"/>
            <a:r>
              <a:rPr lang="en-CA" sz="1400">
                <a:solidFill>
                  <a:schemeClr val="tx1"/>
                </a:solidFill>
                <a:latin typeface="Segoe UI" panose="020B0502040204020203" pitchFamily="34" charset="0"/>
                <a:cs typeface="Segoe UI" panose="020B0502040204020203" pitchFamily="34" charset="0"/>
              </a:rPr>
              <a:t>Efficiency &amp; effectiveness of large-scale Deep Learning in a cloud built for HP</a:t>
            </a:r>
          </a:p>
          <a:p>
            <a:pPr marL="0" indent="0">
              <a:lnSpc>
                <a:spcPct val="100000"/>
              </a:lnSpc>
              <a:spcBef>
                <a:spcPts val="600"/>
              </a:spcBef>
              <a:buNone/>
            </a:pPr>
            <a:endParaRPr lang="en-CA" sz="1800">
              <a:solidFill>
                <a:schemeClr val="tx1"/>
              </a:solidFill>
              <a:latin typeface="Segoe UI "/>
            </a:endParaRPr>
          </a:p>
        </p:txBody>
      </p:sp>
      <p:sp>
        <p:nvSpPr>
          <p:cNvPr id="10" name="TextBox 9">
            <a:extLst>
              <a:ext uri="{FF2B5EF4-FFF2-40B4-BE49-F238E27FC236}">
                <a16:creationId xmlns:a16="http://schemas.microsoft.com/office/drawing/2014/main" id="{40A39FA2-799B-99C0-C23D-3B09F867A543}"/>
              </a:ext>
            </a:extLst>
          </p:cNvPr>
          <p:cNvSpPr txBox="1"/>
          <p:nvPr/>
        </p:nvSpPr>
        <p:spPr>
          <a:xfrm>
            <a:off x="756820" y="1326767"/>
            <a:ext cx="1421394" cy="369332"/>
          </a:xfrm>
          <a:prstGeom prst="rect">
            <a:avLst/>
          </a:prstGeom>
          <a:noFill/>
        </p:spPr>
        <p:txBody>
          <a:bodyPr wrap="square" rtlCol="0">
            <a:spAutoFit/>
          </a:bodyPr>
          <a:lstStyle/>
          <a:p>
            <a:r>
              <a:rPr lang="en-US">
                <a:latin typeface="Segoe UI Semibold" panose="020B0702040204020203" pitchFamily="34" charset="0"/>
                <a:cs typeface="Segoe UI Semibold" panose="020B0702040204020203" pitchFamily="34" charset="0"/>
              </a:rPr>
              <a:t>Objectives</a:t>
            </a:r>
          </a:p>
        </p:txBody>
      </p:sp>
      <p:sp>
        <p:nvSpPr>
          <p:cNvPr id="11" name="TextBox 10">
            <a:extLst>
              <a:ext uri="{FF2B5EF4-FFF2-40B4-BE49-F238E27FC236}">
                <a16:creationId xmlns:a16="http://schemas.microsoft.com/office/drawing/2014/main" id="{BEA2AB63-DD8C-28DF-100E-DCE4FBEDFF18}"/>
              </a:ext>
            </a:extLst>
          </p:cNvPr>
          <p:cNvSpPr txBox="1"/>
          <p:nvPr/>
        </p:nvSpPr>
        <p:spPr>
          <a:xfrm>
            <a:off x="5291238" y="1326767"/>
            <a:ext cx="1738211" cy="369332"/>
          </a:xfrm>
          <a:prstGeom prst="rect">
            <a:avLst/>
          </a:prstGeom>
          <a:noFill/>
        </p:spPr>
        <p:txBody>
          <a:bodyPr wrap="square" rtlCol="0">
            <a:spAutoFit/>
          </a:bodyPr>
          <a:lstStyle/>
          <a:p>
            <a:r>
              <a:rPr lang="en-US">
                <a:latin typeface="Segoe UI Semibold" panose="020B0702040204020203" pitchFamily="34" charset="0"/>
                <a:cs typeface="Segoe UI Semibold" panose="020B0702040204020203" pitchFamily="34" charset="0"/>
              </a:rPr>
              <a:t>Prerequisites</a:t>
            </a:r>
          </a:p>
        </p:txBody>
      </p:sp>
      <p:sp>
        <p:nvSpPr>
          <p:cNvPr id="12" name="Content Placeholder 5">
            <a:extLst>
              <a:ext uri="{FF2B5EF4-FFF2-40B4-BE49-F238E27FC236}">
                <a16:creationId xmlns:a16="http://schemas.microsoft.com/office/drawing/2014/main" id="{BE4619E5-458D-818D-1A57-65762513B902}"/>
              </a:ext>
            </a:extLst>
          </p:cNvPr>
          <p:cNvSpPr txBox="1">
            <a:spLocks/>
          </p:cNvSpPr>
          <p:nvPr/>
        </p:nvSpPr>
        <p:spPr>
          <a:xfrm>
            <a:off x="5347299" y="1810693"/>
            <a:ext cx="2568355" cy="3962569"/>
          </a:xfrm>
          <a:prstGeom prst="rect">
            <a:avLst/>
          </a:prstGeom>
          <a:noFill/>
        </p:spPr>
        <p:txBody>
          <a:bodyPr vert="horz" lIns="91440" tIns="45720" rIns="91440" bIns="45720" rtlCol="0">
            <a:normAutofit/>
          </a:bodyPr>
          <a:lstStyle>
            <a:lvl1pPr marL="228600" indent="-228600" algn="l" defTabSz="914400" rtl="0" eaLnBrk="1" latinLnBrk="0" hangingPunct="1">
              <a:lnSpc>
                <a:spcPct val="125000"/>
              </a:lnSpc>
              <a:spcBef>
                <a:spcPts val="1000"/>
              </a:spcBef>
              <a:buFont typeface="Arial" panose="020B0604020202020204" pitchFamily="34" charset="0"/>
              <a:buChar char="•"/>
              <a:defRPr sz="2400" kern="1200">
                <a:solidFill>
                  <a:schemeClr val="tx1"/>
                </a:solidFill>
                <a:latin typeface="Segoe UI "/>
                <a:ea typeface="+mn-ea"/>
                <a:cs typeface="+mn-cs"/>
              </a:defRPr>
            </a:lvl1pPr>
            <a:lvl2pPr marL="685800" indent="-228600" algn="l" defTabSz="914400" rtl="0" eaLnBrk="1" latinLnBrk="0" hangingPunct="1">
              <a:lnSpc>
                <a:spcPct val="125000"/>
              </a:lnSpc>
              <a:spcBef>
                <a:spcPts val="500"/>
              </a:spcBef>
              <a:buFont typeface="Arial" panose="020B0604020202020204" pitchFamily="34" charset="0"/>
              <a:buChar char="•"/>
              <a:defRPr sz="2000" kern="1200">
                <a:solidFill>
                  <a:srgbClr val="00FFFF"/>
                </a:solidFill>
                <a:latin typeface="Segoe UI "/>
                <a:ea typeface="+mn-ea"/>
                <a:cs typeface="+mn-cs"/>
              </a:defRPr>
            </a:lvl2pPr>
            <a:lvl3pPr marL="1143000" indent="-228600" algn="l" defTabSz="914400" rtl="0" eaLnBrk="1" latinLnBrk="0" hangingPunct="1">
              <a:lnSpc>
                <a:spcPct val="125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3pPr>
            <a:lvl4pPr marL="1371600" indent="0" algn="l" defTabSz="914400" rtl="0" eaLnBrk="1" latinLnBrk="0" hangingPunct="1">
              <a:lnSpc>
                <a:spcPct val="125000"/>
              </a:lnSpc>
              <a:spcBef>
                <a:spcPts val="500"/>
              </a:spcBef>
              <a:buFont typeface="Arial" panose="020B0604020202020204" pitchFamily="34" charset="0"/>
              <a:buNone/>
              <a:defRPr sz="1600" kern="1200">
                <a:solidFill>
                  <a:schemeClr val="tx1">
                    <a:alpha val="70000"/>
                  </a:schemeClr>
                </a:solidFill>
                <a:latin typeface="Segoe UI "/>
                <a:ea typeface="+mn-ea"/>
                <a:cs typeface="+mn-cs"/>
              </a:defRPr>
            </a:lvl4pPr>
            <a:lvl5pPr marL="2057400" indent="-228600" algn="l" defTabSz="914400" rtl="0" eaLnBrk="1" latinLnBrk="0" hangingPunct="1">
              <a:lnSpc>
                <a:spcPct val="125000"/>
              </a:lnSpc>
              <a:spcBef>
                <a:spcPts val="500"/>
              </a:spcBef>
              <a:buFont typeface="Arial" panose="020B0604020202020204" pitchFamily="34" charset="0"/>
              <a:buChar char="•"/>
              <a:defRPr sz="1600" kern="1200">
                <a:solidFill>
                  <a:schemeClr val="tx1">
                    <a:alpha val="70000"/>
                  </a:schemeClr>
                </a:solidFill>
                <a:latin typeface="Segoe UI "/>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buNone/>
            </a:pPr>
            <a:r>
              <a:rPr lang="en-CA" sz="1600">
                <a:solidFill>
                  <a:srgbClr val="FF8FFA"/>
                </a:solidFill>
                <a:latin typeface="Segoe UI "/>
              </a:rPr>
              <a:t>Required </a:t>
            </a:r>
          </a:p>
          <a:p>
            <a:pPr lvl="1">
              <a:lnSpc>
                <a:spcPct val="100000"/>
              </a:lnSpc>
              <a:spcBef>
                <a:spcPts val="600"/>
              </a:spcBef>
            </a:pPr>
            <a:r>
              <a:rPr lang="en-CA" sz="1400">
                <a:solidFill>
                  <a:schemeClr val="tx1"/>
                </a:solidFill>
                <a:latin typeface="Segoe UI "/>
              </a:rPr>
              <a:t>Deep Learning framework(s)</a:t>
            </a:r>
          </a:p>
          <a:p>
            <a:pPr lvl="1">
              <a:lnSpc>
                <a:spcPct val="100000"/>
              </a:lnSpc>
              <a:spcBef>
                <a:spcPts val="600"/>
              </a:spcBef>
            </a:pPr>
            <a:r>
              <a:rPr lang="en-CA" sz="1400">
                <a:solidFill>
                  <a:schemeClr val="tx1"/>
                </a:solidFill>
                <a:latin typeface="Segoe UI "/>
              </a:rPr>
              <a:t>Use of GPUs </a:t>
            </a:r>
          </a:p>
          <a:p>
            <a:pPr lvl="1">
              <a:lnSpc>
                <a:spcPct val="100000"/>
              </a:lnSpc>
              <a:spcBef>
                <a:spcPts val="600"/>
              </a:spcBef>
            </a:pPr>
            <a:r>
              <a:rPr lang="en-CA" sz="1400">
                <a:solidFill>
                  <a:schemeClr val="tx1"/>
                </a:solidFill>
                <a:latin typeface="Segoe UI "/>
              </a:rPr>
              <a:t>Workload management via SLURM  </a:t>
            </a:r>
          </a:p>
          <a:p>
            <a:pPr lvl="1">
              <a:lnSpc>
                <a:spcPct val="100000"/>
              </a:lnSpc>
              <a:spcBef>
                <a:spcPts val="600"/>
              </a:spcBef>
              <a:spcAft>
                <a:spcPts val="1200"/>
              </a:spcAft>
            </a:pPr>
            <a:r>
              <a:rPr lang="en-CA" sz="1400">
                <a:solidFill>
                  <a:schemeClr val="tx1"/>
                </a:solidFill>
                <a:latin typeface="Segoe UI "/>
              </a:rPr>
              <a:t>Containers </a:t>
            </a:r>
          </a:p>
          <a:p>
            <a:pPr marL="0" indent="0">
              <a:lnSpc>
                <a:spcPct val="100000"/>
              </a:lnSpc>
              <a:spcBef>
                <a:spcPts val="600"/>
              </a:spcBef>
              <a:buNone/>
            </a:pPr>
            <a:r>
              <a:rPr lang="en-CA" sz="1600">
                <a:solidFill>
                  <a:srgbClr val="FF8FFA"/>
                </a:solidFill>
                <a:latin typeface="Segoe UI "/>
              </a:rPr>
              <a:t>Desirable</a:t>
            </a:r>
            <a:endParaRPr lang="en-CA" sz="1800">
              <a:solidFill>
                <a:srgbClr val="FF8FFA"/>
              </a:solidFill>
              <a:latin typeface="Segoe UI "/>
            </a:endParaRPr>
          </a:p>
          <a:p>
            <a:pPr marL="457200" lvl="1" indent="0">
              <a:lnSpc>
                <a:spcPct val="100000"/>
              </a:lnSpc>
              <a:spcBef>
                <a:spcPts val="600"/>
              </a:spcBef>
              <a:buNone/>
            </a:pPr>
            <a:r>
              <a:rPr lang="en-CA" sz="1400">
                <a:solidFill>
                  <a:schemeClr val="tx1"/>
                </a:solidFill>
                <a:latin typeface="Segoe UI "/>
              </a:rPr>
              <a:t>???</a:t>
            </a:r>
            <a:endParaRPr lang="en-CA" sz="1600">
              <a:solidFill>
                <a:schemeClr val="tx1"/>
              </a:solidFill>
              <a:latin typeface="Segoe UI "/>
            </a:endParaRPr>
          </a:p>
        </p:txBody>
      </p:sp>
      <p:sp>
        <p:nvSpPr>
          <p:cNvPr id="13" name="TextBox 12">
            <a:extLst>
              <a:ext uri="{FF2B5EF4-FFF2-40B4-BE49-F238E27FC236}">
                <a16:creationId xmlns:a16="http://schemas.microsoft.com/office/drawing/2014/main" id="{C1E368B6-CF1B-5C6A-A55F-73B9C17BF54D}"/>
              </a:ext>
            </a:extLst>
          </p:cNvPr>
          <p:cNvSpPr txBox="1"/>
          <p:nvPr/>
        </p:nvSpPr>
        <p:spPr>
          <a:xfrm>
            <a:off x="8588303" y="1335820"/>
            <a:ext cx="1421394" cy="369332"/>
          </a:xfrm>
          <a:prstGeom prst="rect">
            <a:avLst/>
          </a:prstGeom>
          <a:noFill/>
        </p:spPr>
        <p:txBody>
          <a:bodyPr wrap="square" rtlCol="0">
            <a:spAutoFit/>
          </a:bodyPr>
          <a:lstStyle/>
          <a:p>
            <a:r>
              <a:rPr lang="en-US">
                <a:latin typeface="Segoe UI Semibold" panose="020B0702040204020203" pitchFamily="34" charset="0"/>
                <a:cs typeface="Segoe UI Semibold" panose="020B0702040204020203" pitchFamily="34" charset="0"/>
              </a:rPr>
              <a:t>Materials</a:t>
            </a:r>
          </a:p>
        </p:txBody>
      </p:sp>
      <p:sp>
        <p:nvSpPr>
          <p:cNvPr id="14" name="Content Placeholder 6">
            <a:extLst>
              <a:ext uri="{FF2B5EF4-FFF2-40B4-BE49-F238E27FC236}">
                <a16:creationId xmlns:a16="http://schemas.microsoft.com/office/drawing/2014/main" id="{CD087E6E-003D-59C3-BA05-ADAE4B314813}"/>
              </a:ext>
            </a:extLst>
          </p:cNvPr>
          <p:cNvSpPr txBox="1">
            <a:spLocks/>
          </p:cNvSpPr>
          <p:nvPr/>
        </p:nvSpPr>
        <p:spPr>
          <a:xfrm>
            <a:off x="8643508" y="1801639"/>
            <a:ext cx="2541567" cy="3971621"/>
          </a:xfrm>
          <a:prstGeom prst="rect">
            <a:avLst/>
          </a:prstGeom>
          <a:noFill/>
        </p:spPr>
        <p:txBody>
          <a:bodyPr vert="horz" lIns="91440" tIns="45720" rIns="91440" bIns="45720" rtlCol="0">
            <a:normAutofit/>
          </a:bodyPr>
          <a:lstStyle>
            <a:lvl1pPr marL="228600" indent="-228600" algn="l" defTabSz="914400" rtl="0" eaLnBrk="1" latinLnBrk="0" hangingPunct="1">
              <a:lnSpc>
                <a:spcPct val="125000"/>
              </a:lnSpc>
              <a:spcBef>
                <a:spcPts val="1000"/>
              </a:spcBef>
              <a:buFont typeface="Arial" panose="020B0604020202020204" pitchFamily="34" charset="0"/>
              <a:buChar char="•"/>
              <a:defRPr sz="2400" kern="1200">
                <a:solidFill>
                  <a:schemeClr val="tx1"/>
                </a:solidFill>
                <a:latin typeface="Segoe UI "/>
                <a:ea typeface="+mn-ea"/>
                <a:cs typeface="+mn-cs"/>
              </a:defRPr>
            </a:lvl1pPr>
            <a:lvl2pPr marL="685800" indent="-228600" algn="l" defTabSz="914400" rtl="0" eaLnBrk="1" latinLnBrk="0" hangingPunct="1">
              <a:lnSpc>
                <a:spcPct val="125000"/>
              </a:lnSpc>
              <a:spcBef>
                <a:spcPts val="500"/>
              </a:spcBef>
              <a:buFont typeface="Arial" panose="020B0604020202020204" pitchFamily="34" charset="0"/>
              <a:buChar char="•"/>
              <a:defRPr sz="2000" kern="1200">
                <a:solidFill>
                  <a:srgbClr val="00FFFF"/>
                </a:solidFill>
                <a:latin typeface="Segoe UI "/>
                <a:ea typeface="+mn-ea"/>
                <a:cs typeface="+mn-cs"/>
              </a:defRPr>
            </a:lvl2pPr>
            <a:lvl3pPr marL="1143000" indent="-228600" algn="l" defTabSz="914400" rtl="0" eaLnBrk="1" latinLnBrk="0" hangingPunct="1">
              <a:lnSpc>
                <a:spcPct val="125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3pPr>
            <a:lvl4pPr marL="1371600" indent="0" algn="l" defTabSz="914400" rtl="0" eaLnBrk="1" latinLnBrk="0" hangingPunct="1">
              <a:lnSpc>
                <a:spcPct val="125000"/>
              </a:lnSpc>
              <a:spcBef>
                <a:spcPts val="500"/>
              </a:spcBef>
              <a:buFont typeface="Arial" panose="020B0604020202020204" pitchFamily="34" charset="0"/>
              <a:buNone/>
              <a:defRPr sz="1600" kern="1200">
                <a:solidFill>
                  <a:schemeClr val="tx1">
                    <a:alpha val="70000"/>
                  </a:schemeClr>
                </a:solidFill>
                <a:latin typeface="Segoe UI "/>
                <a:ea typeface="+mn-ea"/>
                <a:cs typeface="+mn-cs"/>
              </a:defRPr>
            </a:lvl4pPr>
            <a:lvl5pPr marL="2057400" indent="-228600" algn="l" defTabSz="914400" rtl="0" eaLnBrk="1" latinLnBrk="0" hangingPunct="1">
              <a:lnSpc>
                <a:spcPct val="125000"/>
              </a:lnSpc>
              <a:spcBef>
                <a:spcPts val="500"/>
              </a:spcBef>
              <a:buFont typeface="Arial" panose="020B0604020202020204" pitchFamily="34" charset="0"/>
              <a:buChar char="•"/>
              <a:defRPr sz="1600" kern="1200">
                <a:solidFill>
                  <a:schemeClr val="tx1">
                    <a:alpha val="70000"/>
                  </a:schemeClr>
                </a:solidFill>
                <a:latin typeface="Segoe UI "/>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buNone/>
            </a:pPr>
            <a:r>
              <a:rPr lang="en-CA" sz="1600">
                <a:solidFill>
                  <a:srgbClr val="FF8FFA"/>
                </a:solidFill>
                <a:latin typeface="Segoe UI "/>
              </a:rPr>
              <a:t>Presentation &amp; discussion</a:t>
            </a:r>
          </a:p>
          <a:p>
            <a:pPr lvl="1">
              <a:lnSpc>
                <a:spcPct val="100000"/>
              </a:lnSpc>
              <a:spcBef>
                <a:spcPts val="600"/>
              </a:spcBef>
              <a:spcAft>
                <a:spcPts val="1200"/>
              </a:spcAft>
            </a:pPr>
            <a:r>
              <a:rPr lang="en-CA" sz="1400">
                <a:solidFill>
                  <a:schemeClr val="tx1"/>
                </a:solidFill>
                <a:latin typeface="Segoe UI "/>
              </a:rPr>
              <a:t>~1 hour</a:t>
            </a:r>
          </a:p>
          <a:p>
            <a:pPr marL="0" indent="0">
              <a:lnSpc>
                <a:spcPct val="100000"/>
              </a:lnSpc>
              <a:spcBef>
                <a:spcPts val="600"/>
              </a:spcBef>
              <a:buNone/>
            </a:pPr>
            <a:r>
              <a:rPr lang="en-CA" sz="1600">
                <a:solidFill>
                  <a:srgbClr val="FF8FFA"/>
                </a:solidFill>
                <a:latin typeface="Segoe UI "/>
              </a:rPr>
              <a:t>Guided hands-on session</a:t>
            </a:r>
          </a:p>
          <a:p>
            <a:pPr lvl="1">
              <a:lnSpc>
                <a:spcPct val="100000"/>
              </a:lnSpc>
              <a:spcBef>
                <a:spcPts val="600"/>
              </a:spcBef>
            </a:pPr>
            <a:r>
              <a:rPr lang="en-CA" sz="1400">
                <a:solidFill>
                  <a:schemeClr val="tx1"/>
                </a:solidFill>
                <a:latin typeface="Segoe UI "/>
              </a:rPr>
              <a:t>~3 hours</a:t>
            </a:r>
          </a:p>
          <a:p>
            <a:pPr lvl="1">
              <a:lnSpc>
                <a:spcPct val="100000"/>
              </a:lnSpc>
              <a:spcBef>
                <a:spcPts val="600"/>
              </a:spcBef>
            </a:pPr>
            <a:r>
              <a:rPr lang="en-CA" sz="1400">
                <a:solidFill>
                  <a:schemeClr val="tx1"/>
                </a:solidFill>
                <a:latin typeface="Segoe UI "/>
              </a:rPr>
              <a:t>One-click deployment of infrastructure for use-case motivation </a:t>
            </a:r>
          </a:p>
        </p:txBody>
      </p:sp>
      <p:cxnSp>
        <p:nvCxnSpPr>
          <p:cNvPr id="15" name="Straight Connector 14">
            <a:extLst>
              <a:ext uri="{FF2B5EF4-FFF2-40B4-BE49-F238E27FC236}">
                <a16:creationId xmlns:a16="http://schemas.microsoft.com/office/drawing/2014/main" id="{1EF56612-A546-11DA-B1E7-38342C86753E}"/>
              </a:ext>
            </a:extLst>
          </p:cNvPr>
          <p:cNvCxnSpPr>
            <a:cxnSpLocks/>
          </p:cNvCxnSpPr>
          <p:nvPr/>
        </p:nvCxnSpPr>
        <p:spPr>
          <a:xfrm>
            <a:off x="838300" y="1774480"/>
            <a:ext cx="381810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A537AC5-1A43-95D5-26EF-5714BC09CD55}"/>
              </a:ext>
            </a:extLst>
          </p:cNvPr>
          <p:cNvCxnSpPr>
            <a:cxnSpLocks/>
          </p:cNvCxnSpPr>
          <p:nvPr/>
        </p:nvCxnSpPr>
        <p:spPr>
          <a:xfrm>
            <a:off x="5374087" y="1774480"/>
            <a:ext cx="25415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E11851D-2C99-DB2D-C2CC-A005945D33B3}"/>
              </a:ext>
            </a:extLst>
          </p:cNvPr>
          <p:cNvCxnSpPr>
            <a:cxnSpLocks/>
          </p:cNvCxnSpPr>
          <p:nvPr/>
        </p:nvCxnSpPr>
        <p:spPr>
          <a:xfrm>
            <a:off x="8643508" y="1774480"/>
            <a:ext cx="25415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99630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BE0E10-DC8B-2E87-115C-16CAB558BB86}"/>
              </a:ext>
            </a:extLst>
          </p:cNvPr>
          <p:cNvSpPr>
            <a:spLocks noGrp="1"/>
          </p:cNvSpPr>
          <p:nvPr>
            <p:ph type="title"/>
          </p:nvPr>
        </p:nvSpPr>
        <p:spPr/>
        <p:txBody>
          <a:bodyPr>
            <a:normAutofit/>
          </a:bodyPr>
          <a:lstStyle/>
          <a:p>
            <a:r>
              <a:rPr lang="en-CA"/>
              <a:t>Examples of large-scale DL workloads </a:t>
            </a:r>
          </a:p>
        </p:txBody>
      </p:sp>
      <p:sp>
        <p:nvSpPr>
          <p:cNvPr id="3" name="Content Placeholder 2">
            <a:extLst>
              <a:ext uri="{FF2B5EF4-FFF2-40B4-BE49-F238E27FC236}">
                <a16:creationId xmlns:a16="http://schemas.microsoft.com/office/drawing/2014/main" id="{BA6CAD71-2B13-63B5-1C6F-EA6CF19183F5}"/>
              </a:ext>
            </a:extLst>
          </p:cNvPr>
          <p:cNvSpPr>
            <a:spLocks noGrp="1"/>
          </p:cNvSpPr>
          <p:nvPr>
            <p:ph type="body" sz="quarter" idx="10"/>
          </p:nvPr>
        </p:nvSpPr>
        <p:spPr>
          <a:prstGeom prst="rect">
            <a:avLst/>
          </a:prstGeom>
        </p:spPr>
        <p:txBody>
          <a:bodyPr/>
          <a:lstStyle/>
          <a:p>
            <a:pPr marL="342900" indent="-342900">
              <a:buFont typeface="Arial" panose="020B0604020202020204" pitchFamily="34" charset="0"/>
              <a:buChar char="•"/>
            </a:pPr>
            <a:r>
              <a:rPr lang="en-US" err="1">
                <a:latin typeface="Segoe UI" panose="020B0502040204020203" pitchFamily="34" charset="0"/>
                <a:cs typeface="Segoe UI" panose="020B0502040204020203" pitchFamily="34" charset="0"/>
              </a:rPr>
              <a:t>Fairseq</a:t>
            </a:r>
            <a:r>
              <a:rPr lang="en-US">
                <a:latin typeface="Segoe UI" panose="020B0502040204020203" pitchFamily="34" charset="0"/>
                <a:cs typeface="Segoe UI" panose="020B0502040204020203" pitchFamily="34" charset="0"/>
              </a:rPr>
              <a:t> (MOE version) Deep learning training benchmark using docker and SLURM</a:t>
            </a:r>
          </a:p>
          <a:p>
            <a:pPr marL="742950" lvl="1" indent="-285750">
              <a:buFont typeface="Arial" panose="020B0604020202020204" pitchFamily="34" charset="0"/>
              <a:buChar char="•"/>
            </a:pPr>
            <a:r>
              <a:rPr lang="en-CA">
                <a:solidFill>
                  <a:srgbClr val="F89AF4"/>
                </a:solidFill>
                <a:latin typeface="Segoe UI" panose="020B0502040204020203" pitchFamily="34" charset="0"/>
                <a:cs typeface="Segoe UI" panose="020B0502040204020203" pitchFamily="34" charset="0"/>
              </a:rPr>
              <a:t>Training </a:t>
            </a:r>
            <a:r>
              <a:rPr lang="en-CA" err="1">
                <a:solidFill>
                  <a:srgbClr val="F89AF4"/>
                </a:solidFill>
                <a:latin typeface="Segoe UI" panose="020B0502040204020203" pitchFamily="34" charset="0"/>
                <a:cs typeface="Segoe UI" panose="020B0502040204020203" pitchFamily="34" charset="0"/>
              </a:rPr>
              <a:t>MoE</a:t>
            </a:r>
            <a:r>
              <a:rPr lang="en-CA">
                <a:solidFill>
                  <a:srgbClr val="F89AF4"/>
                </a:solidFill>
                <a:latin typeface="Segoe UI" panose="020B0502040204020203" pitchFamily="34" charset="0"/>
                <a:cs typeface="Segoe UI" panose="020B0502040204020203" pitchFamily="34" charset="0"/>
              </a:rPr>
              <a:t> language models</a:t>
            </a:r>
          </a:p>
          <a:p>
            <a:pPr marL="342900" indent="-342900">
              <a:buFont typeface="Arial" panose="020B0604020202020204" pitchFamily="34" charset="0"/>
              <a:buChar char="•"/>
            </a:pPr>
            <a:endParaRPr lang="en-CA">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5588949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5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AA307-FFB4-61C0-9625-C40AD7AE3A44}"/>
              </a:ext>
            </a:extLst>
          </p:cNvPr>
          <p:cNvSpPr>
            <a:spLocks noGrp="1"/>
          </p:cNvSpPr>
          <p:nvPr>
            <p:ph type="title"/>
          </p:nvPr>
        </p:nvSpPr>
        <p:spPr/>
        <p:txBody>
          <a:bodyPr>
            <a:normAutofit/>
          </a:bodyPr>
          <a:lstStyle/>
          <a:p>
            <a:r>
              <a:rPr lang="en-CA"/>
              <a:t>1-Click Decommission </a:t>
            </a:r>
          </a:p>
        </p:txBody>
      </p:sp>
      <p:sp>
        <p:nvSpPr>
          <p:cNvPr id="3" name="Content Placeholder 2">
            <a:extLst>
              <a:ext uri="{FF2B5EF4-FFF2-40B4-BE49-F238E27FC236}">
                <a16:creationId xmlns:a16="http://schemas.microsoft.com/office/drawing/2014/main" id="{5813D571-3500-471D-92AD-1D09387D5B23}"/>
              </a:ext>
            </a:extLst>
          </p:cNvPr>
          <p:cNvSpPr>
            <a:spLocks noGrp="1"/>
          </p:cNvSpPr>
          <p:nvPr>
            <p:ph type="body" sz="quarter" idx="10"/>
          </p:nvPr>
        </p:nvSpPr>
        <p:spPr>
          <a:prstGeom prst="rect">
            <a:avLst/>
          </a:prstGeom>
        </p:spPr>
        <p:txBody>
          <a:bodyPr>
            <a:normAutofit/>
          </a:bodyPr>
          <a:lstStyle/>
          <a:p>
            <a:pPr marL="342900" indent="-342900">
              <a:buFont typeface="Arial" panose="020B0604020202020204" pitchFamily="34" charset="0"/>
              <a:buChar char="•"/>
            </a:pPr>
            <a:r>
              <a:rPr lang="en-CA" dirty="0">
                <a:latin typeface="Segoe UI" panose="020B0502040204020203" pitchFamily="34" charset="0"/>
                <a:cs typeface="Segoe UI" panose="020B0502040204020203" pitchFamily="34" charset="0"/>
              </a:rPr>
              <a:t>Facilitated via </a:t>
            </a:r>
            <a:r>
              <a:rPr lang="en-CA" dirty="0" err="1">
                <a:solidFill>
                  <a:srgbClr val="F89AF4"/>
                </a:solidFill>
                <a:latin typeface="Segoe UI" panose="020B0502040204020203" pitchFamily="34" charset="0"/>
                <a:cs typeface="Segoe UI" panose="020B0502040204020203" pitchFamily="34" charset="0"/>
                <a:hlinkClick r:id="rId2">
                  <a:extLst>
                    <a:ext uri="{A12FA001-AC4F-418D-AE19-62706E023703}">
                      <ahyp:hlinkClr xmlns:ahyp="http://schemas.microsoft.com/office/drawing/2018/hyperlinkcolor" val="tx"/>
                    </a:ext>
                  </a:extLst>
                </a:hlinkClick>
              </a:rPr>
              <a:t>HashiCorp</a:t>
            </a:r>
            <a:r>
              <a:rPr lang="en-CA" dirty="0">
                <a:solidFill>
                  <a:srgbClr val="F89AF4"/>
                </a:solidFill>
                <a:latin typeface="Segoe UI" panose="020B0502040204020203" pitchFamily="34" charset="0"/>
                <a:cs typeface="Segoe UI" panose="020B0502040204020203" pitchFamily="34" charset="0"/>
                <a:hlinkClick r:id="rId2">
                  <a:extLst>
                    <a:ext uri="{A12FA001-AC4F-418D-AE19-62706E023703}">
                      <ahyp:hlinkClr xmlns:ahyp="http://schemas.microsoft.com/office/drawing/2018/hyperlinkcolor" val="tx"/>
                    </a:ext>
                  </a:extLst>
                </a:hlinkClick>
              </a:rPr>
              <a:t> Terraform </a:t>
            </a:r>
            <a:endParaRPr lang="en-CA" dirty="0">
              <a:solidFill>
                <a:srgbClr val="F89AF4"/>
              </a:solidFill>
              <a:latin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en-CA" dirty="0">
                <a:latin typeface="Segoe UI" panose="020B0502040204020203" pitchFamily="34" charset="0"/>
                <a:cs typeface="Segoe UI" panose="020B0502040204020203" pitchFamily="34" charset="0"/>
              </a:rPr>
              <a:t>Decommissions the entire infrastructure </a:t>
            </a:r>
          </a:p>
          <a:p>
            <a:pPr marL="742950" lvl="1" indent="-285750">
              <a:buFont typeface="Arial" panose="020B0604020202020204" pitchFamily="34" charset="0"/>
              <a:buChar char="•"/>
            </a:pPr>
            <a:r>
              <a:rPr lang="en-CA">
                <a:solidFill>
                  <a:srgbClr val="F89AF4"/>
                </a:solidFill>
                <a:latin typeface="Segoe UI" panose="020B0502040204020203" pitchFamily="34" charset="0"/>
                <a:cs typeface="Segoe UI" panose="020B0502040204020203" pitchFamily="34" charset="0"/>
              </a:rPr>
              <a:t>Removes all components </a:t>
            </a:r>
          </a:p>
          <a:p>
            <a:pPr marL="342900" indent="-342900">
              <a:buFont typeface="Arial" panose="020B0604020202020204" pitchFamily="34" charset="0"/>
              <a:buChar char="•"/>
            </a:pPr>
            <a:r>
              <a:rPr lang="en-CA" dirty="0">
                <a:latin typeface="Segoe UI" panose="020B0502040204020203" pitchFamily="34" charset="0"/>
                <a:cs typeface="Segoe UI" panose="020B0502040204020203" pitchFamily="34" charset="0"/>
              </a:rPr>
              <a:t>Curated via GitHub </a:t>
            </a:r>
          </a:p>
        </p:txBody>
      </p:sp>
    </p:spTree>
    <p:extLst>
      <p:ext uri="{BB962C8B-B14F-4D97-AF65-F5344CB8AC3E}">
        <p14:creationId xmlns:p14="http://schemas.microsoft.com/office/powerpoint/2010/main" val="16797780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500"/>
                                        <p:tgtEl>
                                          <p:spTgt spid="3">
                                            <p:txEl>
                                              <p:pRg st="1" end="1"/>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F0B9B6-2B1A-E3C1-76E8-E8F7D31297F6}"/>
              </a:ext>
            </a:extLst>
          </p:cNvPr>
          <p:cNvSpPr>
            <a:spLocks noGrp="1"/>
          </p:cNvSpPr>
          <p:nvPr>
            <p:ph type="title"/>
          </p:nvPr>
        </p:nvSpPr>
        <p:spPr/>
        <p:txBody>
          <a:bodyPr/>
          <a:lstStyle/>
          <a:p>
            <a:r>
              <a:rPr lang="en-CA" dirty="0"/>
              <a:t>Summary</a:t>
            </a:r>
          </a:p>
        </p:txBody>
      </p:sp>
      <p:sp>
        <p:nvSpPr>
          <p:cNvPr id="2" name="Footer Placeholder 1">
            <a:extLst>
              <a:ext uri="{FF2B5EF4-FFF2-40B4-BE49-F238E27FC236}">
                <a16:creationId xmlns:a16="http://schemas.microsoft.com/office/drawing/2014/main" id="{6AE1BC08-D8F8-9442-DD7A-DC0B1480D9AA}"/>
              </a:ext>
            </a:extLst>
          </p:cNvPr>
          <p:cNvSpPr>
            <a:spLocks noGrp="1"/>
          </p:cNvSpPr>
          <p:nvPr>
            <p:ph type="ftr" sz="quarter" idx="4294967295"/>
          </p:nvPr>
        </p:nvSpPr>
        <p:spPr>
          <a:xfrm>
            <a:off x="0" y="6356350"/>
            <a:ext cx="6613525"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tint val="75000"/>
                    <a:alpha val="70000"/>
                  </a:srgbClr>
                </a:solidFill>
                <a:effectLst/>
                <a:uLnTx/>
                <a:uFillTx/>
                <a:latin typeface="Avenir Next LT Pro"/>
                <a:ea typeface="+mn-ea"/>
                <a:cs typeface="+mn-cs"/>
              </a:rPr>
              <a:t>Terawe Corporation Confidential. All Rights Reserved.</a:t>
            </a:r>
          </a:p>
        </p:txBody>
      </p:sp>
    </p:spTree>
    <p:extLst>
      <p:ext uri="{BB962C8B-B14F-4D97-AF65-F5344CB8AC3E}">
        <p14:creationId xmlns:p14="http://schemas.microsoft.com/office/powerpoint/2010/main" val="25700580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AA307-FFB4-61C0-9625-C40AD7AE3A44}"/>
              </a:ext>
            </a:extLst>
          </p:cNvPr>
          <p:cNvSpPr>
            <a:spLocks noGrp="1"/>
          </p:cNvSpPr>
          <p:nvPr>
            <p:ph type="title"/>
          </p:nvPr>
        </p:nvSpPr>
        <p:spPr/>
        <p:txBody>
          <a:bodyPr>
            <a:normAutofit/>
          </a:bodyPr>
          <a:lstStyle/>
          <a:p>
            <a:r>
              <a:rPr lang="en-CA" dirty="0"/>
              <a:t>Next Steps </a:t>
            </a:r>
          </a:p>
        </p:txBody>
      </p:sp>
      <p:sp>
        <p:nvSpPr>
          <p:cNvPr id="3" name="Content Placeholder 2">
            <a:extLst>
              <a:ext uri="{FF2B5EF4-FFF2-40B4-BE49-F238E27FC236}">
                <a16:creationId xmlns:a16="http://schemas.microsoft.com/office/drawing/2014/main" id="{5813D571-3500-471D-92AD-1D09387D5B23}"/>
              </a:ext>
            </a:extLst>
          </p:cNvPr>
          <p:cNvSpPr>
            <a:spLocks noGrp="1"/>
          </p:cNvSpPr>
          <p:nvPr>
            <p:ph type="body" sz="quarter" idx="10"/>
          </p:nvPr>
        </p:nvSpPr>
        <p:spPr>
          <a:xfrm>
            <a:off x="571500" y="1266825"/>
            <a:ext cx="11281833" cy="4580819"/>
          </a:xfrm>
          <a:prstGeom prst="rect">
            <a:avLst/>
          </a:prstGeom>
        </p:spPr>
        <p:txBody>
          <a:bodyPr>
            <a:normAutofit/>
          </a:bodyPr>
          <a:lstStyle/>
          <a:p>
            <a:pPr lvl="0"/>
            <a:r>
              <a:rPr lang="en-CA" sz="1800" dirty="0">
                <a:solidFill>
                  <a:srgbClr val="FFFFFF"/>
                </a:solidFill>
                <a:latin typeface="Segoe UI" panose="020B0502040204020203" pitchFamily="34" charset="0"/>
                <a:cs typeface="Segoe UI" panose="020B0502040204020203" pitchFamily="34" charset="0"/>
              </a:rPr>
              <a:t>ND A100 v4-series documentation: </a:t>
            </a:r>
            <a:r>
              <a:rPr lang="en-CA" sz="1600" dirty="0">
                <a:solidFill>
                  <a:srgbClr val="F89AF4"/>
                </a:solidFill>
                <a:latin typeface="Segoe UI" panose="020B0502040204020203" pitchFamily="34" charset="0"/>
                <a:cs typeface="Segoe UI" panose="020B0502040204020203" pitchFamily="34" charset="0"/>
                <a:hlinkClick r:id="rId2">
                  <a:extLst>
                    <a:ext uri="{A12FA001-AC4F-418D-AE19-62706E023703}">
                      <ahyp:hlinkClr xmlns:ahyp="http://schemas.microsoft.com/office/drawing/2018/hyperlinkcolor" val="tx"/>
                    </a:ext>
                  </a:extLst>
                </a:hlinkClick>
              </a:rPr>
              <a:t>https://docs.microsoft.com/en-us/azure/virtual-machines/nda100-v4-series</a:t>
            </a:r>
            <a:r>
              <a:rPr lang="en-CA" sz="1600" dirty="0">
                <a:solidFill>
                  <a:srgbClr val="F89AF4"/>
                </a:solidFill>
                <a:latin typeface="Segoe UI" panose="020B0502040204020203" pitchFamily="34" charset="0"/>
                <a:cs typeface="Segoe UI" panose="020B0502040204020203" pitchFamily="34" charset="0"/>
              </a:rPr>
              <a:t> </a:t>
            </a:r>
          </a:p>
          <a:p>
            <a:pPr lvl="0"/>
            <a:endParaRPr lang="en-CA" sz="1000" dirty="0">
              <a:solidFill>
                <a:srgbClr val="FFFFFF"/>
              </a:solidFill>
              <a:latin typeface="Segoe UI" panose="020B0502040204020203" pitchFamily="34" charset="0"/>
              <a:cs typeface="Segoe UI" panose="020B0502040204020203" pitchFamily="34" charset="0"/>
            </a:endParaRPr>
          </a:p>
          <a:p>
            <a:pPr lvl="0">
              <a:lnSpc>
                <a:spcPct val="150000"/>
              </a:lnSpc>
            </a:pPr>
            <a:r>
              <a:rPr lang="en-CA" sz="1800" dirty="0">
                <a:solidFill>
                  <a:srgbClr val="FFFFFF"/>
                </a:solidFill>
                <a:latin typeface="Segoe UI" panose="020B0502040204020203" pitchFamily="34" charset="0"/>
                <a:cs typeface="Segoe UI" panose="020B0502040204020203" pitchFamily="34" charset="0"/>
              </a:rPr>
              <a:t>Featured resources </a:t>
            </a:r>
          </a:p>
          <a:p>
            <a:pPr marL="342900" lvl="0" indent="-342900">
              <a:lnSpc>
                <a:spcPct val="150000"/>
              </a:lnSpc>
              <a:buFont typeface="Arial" panose="020B0604020202020204" pitchFamily="34" charset="0"/>
              <a:buChar char="•"/>
            </a:pPr>
            <a:r>
              <a:rPr lang="en-CA" sz="1600" dirty="0">
                <a:solidFill>
                  <a:srgbClr val="FFFFFF"/>
                </a:solidFill>
                <a:latin typeface="Segoe UI" panose="020B0502040204020203" pitchFamily="34" charset="0"/>
                <a:cs typeface="Segoe UI" panose="020B0502040204020203" pitchFamily="34" charset="0"/>
              </a:rPr>
              <a:t>Performance considerations: </a:t>
            </a:r>
            <a:br>
              <a:rPr lang="en-CA" sz="1600" dirty="0">
                <a:solidFill>
                  <a:srgbClr val="FFFFFF"/>
                </a:solidFill>
                <a:latin typeface="Segoe UI" panose="020B0502040204020203" pitchFamily="34" charset="0"/>
                <a:cs typeface="Segoe UI" panose="020B0502040204020203" pitchFamily="34" charset="0"/>
              </a:rPr>
            </a:br>
            <a:r>
              <a:rPr lang="en-CA" sz="1600" dirty="0">
                <a:solidFill>
                  <a:srgbClr val="F89AF4"/>
                </a:solidFill>
                <a:latin typeface="Segoe UI" panose="020B0502040204020203" pitchFamily="34" charset="0"/>
                <a:cs typeface="Segoe UI" panose="020B0502040204020203" pitchFamily="34" charset="0"/>
                <a:hlinkClick r:id="rId3">
                  <a:extLst>
                    <a:ext uri="{A12FA001-AC4F-418D-AE19-62706E023703}">
                      <ahyp:hlinkClr xmlns:ahyp="http://schemas.microsoft.com/office/drawing/2018/hyperlinkcolor" val="tx"/>
                    </a:ext>
                  </a:extLst>
                </a:hlinkClick>
              </a:rPr>
              <a:t>https://techcommunity.microsoft.com/t5/azure-global/performance-considerations-for-large-scale-deep-learning/ba-p/2693834</a:t>
            </a:r>
            <a:r>
              <a:rPr lang="en-CA" sz="1600" dirty="0">
                <a:solidFill>
                  <a:srgbClr val="F89AF4"/>
                </a:solidFill>
                <a:latin typeface="Segoe UI" panose="020B0502040204020203" pitchFamily="34" charset="0"/>
                <a:cs typeface="Segoe UI" panose="020B0502040204020203" pitchFamily="34" charset="0"/>
              </a:rPr>
              <a:t> </a:t>
            </a:r>
          </a:p>
          <a:p>
            <a:pPr marL="342900" lvl="0" indent="-342900">
              <a:lnSpc>
                <a:spcPct val="150000"/>
              </a:lnSpc>
              <a:buFont typeface="Arial" panose="020B0604020202020204" pitchFamily="34" charset="0"/>
              <a:buChar char="•"/>
            </a:pPr>
            <a:r>
              <a:rPr lang="en-CA" sz="1600" dirty="0">
                <a:solidFill>
                  <a:srgbClr val="FFFFFF"/>
                </a:solidFill>
                <a:latin typeface="Segoe UI" panose="020B0502040204020203" pitchFamily="34" charset="0"/>
                <a:cs typeface="Segoe UI" panose="020B0502040204020203" pitchFamily="34" charset="0"/>
              </a:rPr>
              <a:t>Running the </a:t>
            </a:r>
            <a:r>
              <a:rPr lang="en-US" sz="1600" dirty="0">
                <a:solidFill>
                  <a:srgbClr val="FFFFFF"/>
                </a:solidFill>
                <a:latin typeface="Segoe UI" panose="020B0502040204020203" pitchFamily="34" charset="0"/>
                <a:cs typeface="Segoe UI" panose="020B0502040204020203" pitchFamily="34" charset="0"/>
              </a:rPr>
              <a:t>the </a:t>
            </a:r>
            <a:r>
              <a:rPr lang="en-US" sz="1600" dirty="0" err="1">
                <a:solidFill>
                  <a:srgbClr val="FFFFFF"/>
                </a:solidFill>
                <a:latin typeface="Segoe UI" panose="020B0502040204020203" pitchFamily="34" charset="0"/>
                <a:cs typeface="Segoe UI" panose="020B0502040204020203" pitchFamily="34" charset="0"/>
              </a:rPr>
              <a:t>Fairseq</a:t>
            </a:r>
            <a:r>
              <a:rPr lang="en-US" sz="1600" dirty="0">
                <a:solidFill>
                  <a:srgbClr val="FFFFFF"/>
                </a:solidFill>
                <a:latin typeface="Segoe UI" panose="020B0502040204020203" pitchFamily="34" charset="0"/>
                <a:cs typeface="Segoe UI" panose="020B0502040204020203" pitchFamily="34" charset="0"/>
              </a:rPr>
              <a:t> (MOE version) Deep learning training benchmark:  </a:t>
            </a:r>
            <a:r>
              <a:rPr lang="en-US" sz="1600" dirty="0">
                <a:solidFill>
                  <a:srgbClr val="F89AF4"/>
                </a:solidFill>
                <a:latin typeface="Segoe UI" panose="020B0502040204020203" pitchFamily="34" charset="0"/>
                <a:cs typeface="Segoe UI" panose="020B0502040204020203" pitchFamily="34" charset="0"/>
                <a:hlinkClick r:id="rId4">
                  <a:extLst>
                    <a:ext uri="{A12FA001-AC4F-418D-AE19-62706E023703}">
                      <ahyp:hlinkClr xmlns:ahyp="http://schemas.microsoft.com/office/drawing/2018/hyperlinkcolor" val="tx"/>
                    </a:ext>
                  </a:extLst>
                </a:hlinkClick>
              </a:rPr>
              <a:t>https://github.com/Azure/azurehpc/tree/master/experimental/fairseq_moe_docker_slurm</a:t>
            </a:r>
            <a:endParaRPr lang="en-CA" sz="1600" dirty="0">
              <a:solidFill>
                <a:srgbClr val="F89AF4"/>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11239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500"/>
                                        <p:tgtEl>
                                          <p:spTgt spid="3">
                                            <p:txEl>
                                              <p:pRg st="3" end="3"/>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fade">
                                      <p:cBhvr>
                                        <p:cTn id="24"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85D5A-2441-9BBB-1189-6BA372D41D58}"/>
              </a:ext>
            </a:extLst>
          </p:cNvPr>
          <p:cNvSpPr>
            <a:spLocks noGrp="1"/>
          </p:cNvSpPr>
          <p:nvPr>
            <p:ph type="title"/>
          </p:nvPr>
        </p:nvSpPr>
        <p:spPr/>
        <p:txBody>
          <a:bodyPr>
            <a:normAutofit/>
          </a:bodyPr>
          <a:lstStyle/>
          <a:p>
            <a:r>
              <a:rPr lang="en-CA" dirty="0"/>
              <a:t>Agenda</a:t>
            </a:r>
          </a:p>
        </p:txBody>
      </p:sp>
      <p:sp>
        <p:nvSpPr>
          <p:cNvPr id="3" name="Content Placeholder 2">
            <a:extLst>
              <a:ext uri="{FF2B5EF4-FFF2-40B4-BE49-F238E27FC236}">
                <a16:creationId xmlns:a16="http://schemas.microsoft.com/office/drawing/2014/main" id="{C2714CCA-6290-CF17-2FB6-6FFECA34011B}"/>
              </a:ext>
            </a:extLst>
          </p:cNvPr>
          <p:cNvSpPr>
            <a:spLocks noGrp="1"/>
          </p:cNvSpPr>
          <p:nvPr>
            <p:ph type="body" sz="quarter" idx="10"/>
          </p:nvPr>
        </p:nvSpPr>
        <p:spPr>
          <a:prstGeom prst="rect">
            <a:avLst/>
          </a:prstGeom>
        </p:spPr>
        <p:txBody>
          <a:bodyPr/>
          <a:lstStyle/>
          <a:p>
            <a:pPr marL="342900" indent="-342900">
              <a:spcBef>
                <a:spcPts val="1200"/>
              </a:spcBef>
              <a:buFont typeface="Arial" panose="020B0604020202020204" pitchFamily="34" charset="0"/>
              <a:buChar char="•"/>
            </a:pPr>
            <a:r>
              <a:rPr lang="en-US" dirty="0">
                <a:latin typeface="Segoe UI "/>
              </a:rPr>
              <a:t>Introduction </a:t>
            </a:r>
          </a:p>
          <a:p>
            <a:pPr marL="342900" indent="-342900">
              <a:spcBef>
                <a:spcPts val="1200"/>
              </a:spcBef>
              <a:buFont typeface="Arial" panose="020B0604020202020204" pitchFamily="34" charset="0"/>
              <a:buChar char="•"/>
            </a:pPr>
            <a:r>
              <a:rPr lang="en-US" dirty="0">
                <a:latin typeface="Segoe UI "/>
              </a:rPr>
              <a:t>Problem Statement </a:t>
            </a:r>
          </a:p>
          <a:p>
            <a:pPr marL="342900" indent="-342900">
              <a:spcBef>
                <a:spcPts val="1200"/>
              </a:spcBef>
              <a:buFont typeface="Arial" panose="020B0604020202020204" pitchFamily="34" charset="0"/>
              <a:buChar char="•"/>
            </a:pPr>
            <a:r>
              <a:rPr lang="en-US" dirty="0">
                <a:latin typeface="Segoe UI "/>
              </a:rPr>
              <a:t>Solution </a:t>
            </a:r>
          </a:p>
          <a:p>
            <a:pPr marL="800100" lvl="1" indent="-342900">
              <a:spcBef>
                <a:spcPts val="1200"/>
              </a:spcBef>
              <a:buFont typeface="Arial" panose="020B0604020202020204" pitchFamily="34" charset="0"/>
              <a:buChar char="•"/>
            </a:pPr>
            <a:r>
              <a:rPr lang="en-US" sz="1600" dirty="0">
                <a:solidFill>
                  <a:srgbClr val="FF8FFA"/>
                </a:solidFill>
                <a:latin typeface="Segoe UI "/>
                <a:cs typeface="+mn-cs"/>
              </a:rPr>
              <a:t>Components </a:t>
            </a:r>
          </a:p>
          <a:p>
            <a:pPr marL="800100" lvl="1" indent="-342900">
              <a:spcBef>
                <a:spcPts val="1200"/>
              </a:spcBef>
              <a:buFont typeface="Arial" panose="020B0604020202020204" pitchFamily="34" charset="0"/>
              <a:buChar char="•"/>
            </a:pPr>
            <a:r>
              <a:rPr lang="en-US" sz="1600" dirty="0">
                <a:solidFill>
                  <a:srgbClr val="FF8FFA"/>
                </a:solidFill>
                <a:latin typeface="Segoe UI "/>
                <a:cs typeface="+mn-cs"/>
              </a:rPr>
              <a:t>Implementation </a:t>
            </a:r>
          </a:p>
          <a:p>
            <a:pPr marL="342900" indent="-342900">
              <a:spcBef>
                <a:spcPts val="1200"/>
              </a:spcBef>
              <a:buFont typeface="Arial" panose="020B0604020202020204" pitchFamily="34" charset="0"/>
              <a:buChar char="•"/>
            </a:pPr>
            <a:r>
              <a:rPr lang="en-US" dirty="0">
                <a:latin typeface="Segoe UI "/>
              </a:rPr>
              <a:t>Hands-On Exercises </a:t>
            </a:r>
          </a:p>
          <a:p>
            <a:pPr marL="342900" indent="-342900">
              <a:spcBef>
                <a:spcPts val="1200"/>
              </a:spcBef>
              <a:buFont typeface="Arial" panose="020B0604020202020204" pitchFamily="34" charset="0"/>
              <a:buChar char="•"/>
            </a:pPr>
            <a:r>
              <a:rPr lang="en-US" dirty="0">
                <a:latin typeface="Segoe UI "/>
              </a:rPr>
              <a:t>Discussion</a:t>
            </a:r>
          </a:p>
        </p:txBody>
      </p:sp>
      <p:pic>
        <p:nvPicPr>
          <p:cNvPr id="6" name="Picture 5" descr="A person with his hand on his chin&#10;&#10;Description automatically generated with low confidence">
            <a:extLst>
              <a:ext uri="{FF2B5EF4-FFF2-40B4-BE49-F238E27FC236}">
                <a16:creationId xmlns:a16="http://schemas.microsoft.com/office/drawing/2014/main" id="{A6065E32-A446-F858-F46C-1AB014650F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5854" y="1346199"/>
            <a:ext cx="6002944" cy="4001963"/>
          </a:xfrm>
          <a:prstGeom prst="rect">
            <a:avLst/>
          </a:prstGeom>
          <a:effectLst>
            <a:glow rad="101600">
              <a:srgbClr val="7030A0">
                <a:alpha val="40000"/>
              </a:srgbClr>
            </a:glow>
          </a:effectLst>
          <a:scene3d>
            <a:camera prst="perspectiveLeft">
              <a:rot lat="0" lon="1800000" rev="0"/>
            </a:camera>
            <a:lightRig rig="threePt" dir="t"/>
          </a:scene3d>
        </p:spPr>
      </p:pic>
    </p:spTree>
    <p:extLst>
      <p:ext uri="{BB962C8B-B14F-4D97-AF65-F5344CB8AC3E}">
        <p14:creationId xmlns:p14="http://schemas.microsoft.com/office/powerpoint/2010/main" val="14717579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500"/>
                                        <p:tgtEl>
                                          <p:spTgt spid="3">
                                            <p:txEl>
                                              <p:pRg st="0" end="0"/>
                                            </p:txEl>
                                          </p:spTgt>
                                        </p:tgtEl>
                                      </p:cBhvr>
                                    </p:animEffect>
                                    <p:anim calcmode="lin" valueType="num">
                                      <p:cBhvr>
                                        <p:cTn id="11"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12" dur="500" fill="hold"/>
                                        <p:tgtEl>
                                          <p:spTgt spid="3">
                                            <p:txEl>
                                              <p:pRg st="0" end="0"/>
                                            </p:txEl>
                                          </p:spTgt>
                                        </p:tgtEl>
                                        <p:attrNameLst>
                                          <p:attrName>ppt_y</p:attrName>
                                        </p:attrNameLst>
                                      </p:cBhvr>
                                      <p:tavLst>
                                        <p:tav tm="0">
                                          <p:val>
                                            <p:strVal val="#ppt_y+.1"/>
                                          </p:val>
                                        </p:tav>
                                        <p:tav tm="100000">
                                          <p:val>
                                            <p:strVal val="#ppt_y"/>
                                          </p:val>
                                        </p:tav>
                                      </p:tavLst>
                                    </p:anim>
                                  </p:childTnLst>
                                </p:cTn>
                              </p:par>
                              <p:par>
                                <p:cTn id="13" presetID="42" presetClass="entr" presetSubtype="0" fill="hold" grpId="0" nodeType="with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anim calcmode="lin" valueType="num">
                                      <p:cBhvr>
                                        <p:cTn id="16"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7" dur="500" fill="hold"/>
                                        <p:tgtEl>
                                          <p:spTgt spid="3">
                                            <p:txEl>
                                              <p:pRg st="1" end="1"/>
                                            </p:txEl>
                                          </p:spTgt>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0"/>
                                  </p:stCondLst>
                                  <p:childTnLst>
                                    <p:set>
                                      <p:cBhvr>
                                        <p:cTn id="19" dur="1" fill="hold">
                                          <p:stCondLst>
                                            <p:cond delay="0"/>
                                          </p:stCondLst>
                                        </p:cTn>
                                        <p:tgtEl>
                                          <p:spTgt spid="3">
                                            <p:txEl>
                                              <p:pRg st="2" end="2"/>
                                            </p:txEl>
                                          </p:spTgt>
                                        </p:tgtEl>
                                        <p:attrNameLst>
                                          <p:attrName>style.visibility</p:attrName>
                                        </p:attrNameLst>
                                      </p:cBhvr>
                                      <p:to>
                                        <p:strVal val="visible"/>
                                      </p:to>
                                    </p:set>
                                    <p:animEffect transition="in" filter="fade">
                                      <p:cBhvr>
                                        <p:cTn id="20" dur="500"/>
                                        <p:tgtEl>
                                          <p:spTgt spid="3">
                                            <p:txEl>
                                              <p:pRg st="2" end="2"/>
                                            </p:txEl>
                                          </p:spTgt>
                                        </p:tgtEl>
                                      </p:cBhvr>
                                    </p:animEffect>
                                    <p:anim calcmode="lin" valueType="num">
                                      <p:cBhvr>
                                        <p:cTn id="21"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2" dur="500" fill="hold"/>
                                        <p:tgtEl>
                                          <p:spTgt spid="3">
                                            <p:txEl>
                                              <p:pRg st="2" end="2"/>
                                            </p:txEl>
                                          </p:spTgt>
                                        </p:tgtEl>
                                        <p:attrNameLst>
                                          <p:attrName>ppt_y</p:attrName>
                                        </p:attrNameLst>
                                      </p:cBhvr>
                                      <p:tavLst>
                                        <p:tav tm="0">
                                          <p:val>
                                            <p:strVal val="#ppt_y+.1"/>
                                          </p:val>
                                        </p:tav>
                                        <p:tav tm="100000">
                                          <p:val>
                                            <p:strVal val="#ppt_y"/>
                                          </p:val>
                                        </p:tav>
                                      </p:tavLst>
                                    </p:anim>
                                  </p:childTnLst>
                                </p:cTn>
                              </p:par>
                              <p:par>
                                <p:cTn id="23" presetID="42" presetClass="entr" presetSubtype="0" fill="hold" grpId="0" nodeType="with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Effect transition="in" filter="fade">
                                      <p:cBhvr>
                                        <p:cTn id="25" dur="500"/>
                                        <p:tgtEl>
                                          <p:spTgt spid="3">
                                            <p:txEl>
                                              <p:pRg st="3" end="3"/>
                                            </p:txEl>
                                          </p:spTgt>
                                        </p:tgtEl>
                                      </p:cBhvr>
                                    </p:animEffect>
                                    <p:anim calcmode="lin" valueType="num">
                                      <p:cBhvr>
                                        <p:cTn id="26"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7" dur="500" fill="hold"/>
                                        <p:tgtEl>
                                          <p:spTgt spid="3">
                                            <p:txEl>
                                              <p:pRg st="3" end="3"/>
                                            </p:txEl>
                                          </p:spTgt>
                                        </p:tgtEl>
                                        <p:attrNameLst>
                                          <p:attrName>ppt_y</p:attrName>
                                        </p:attrNameLst>
                                      </p:cBhvr>
                                      <p:tavLst>
                                        <p:tav tm="0">
                                          <p:val>
                                            <p:strVal val="#ppt_y+.1"/>
                                          </p:val>
                                        </p:tav>
                                        <p:tav tm="100000">
                                          <p:val>
                                            <p:strVal val="#ppt_y"/>
                                          </p:val>
                                        </p:tav>
                                      </p:tavLst>
                                    </p:anim>
                                  </p:childTnLst>
                                </p:cTn>
                              </p:par>
                              <p:par>
                                <p:cTn id="28" presetID="42" presetClass="entr" presetSubtype="0" fill="hold" grpId="0" nodeType="withEffect">
                                  <p:stCondLst>
                                    <p:cond delay="0"/>
                                  </p:stCondLst>
                                  <p:childTnLst>
                                    <p:set>
                                      <p:cBhvr>
                                        <p:cTn id="29" dur="1" fill="hold">
                                          <p:stCondLst>
                                            <p:cond delay="0"/>
                                          </p:stCondLst>
                                        </p:cTn>
                                        <p:tgtEl>
                                          <p:spTgt spid="3">
                                            <p:txEl>
                                              <p:pRg st="4" end="4"/>
                                            </p:txEl>
                                          </p:spTgt>
                                        </p:tgtEl>
                                        <p:attrNameLst>
                                          <p:attrName>style.visibility</p:attrName>
                                        </p:attrNameLst>
                                      </p:cBhvr>
                                      <p:to>
                                        <p:strVal val="visible"/>
                                      </p:to>
                                    </p:set>
                                    <p:animEffect transition="in" filter="fade">
                                      <p:cBhvr>
                                        <p:cTn id="30" dur="500"/>
                                        <p:tgtEl>
                                          <p:spTgt spid="3">
                                            <p:txEl>
                                              <p:pRg st="4" end="4"/>
                                            </p:txEl>
                                          </p:spTgt>
                                        </p:tgtEl>
                                      </p:cBhvr>
                                    </p:animEffect>
                                    <p:anim calcmode="lin" valueType="num">
                                      <p:cBhvr>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2" dur="5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42" presetClass="entr" presetSubtype="0" fill="hold" grpId="0" nodeType="click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Effect transition="in" filter="fade">
                                      <p:cBhvr>
                                        <p:cTn id="37" dur="500"/>
                                        <p:tgtEl>
                                          <p:spTgt spid="3">
                                            <p:txEl>
                                              <p:pRg st="5" end="5"/>
                                            </p:txEl>
                                          </p:spTgt>
                                        </p:tgtEl>
                                      </p:cBhvr>
                                    </p:animEffect>
                                    <p:anim calcmode="lin" valueType="num">
                                      <p:cBhvr>
                                        <p:cTn id="38"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9" dur="500" fill="hold"/>
                                        <p:tgtEl>
                                          <p:spTgt spid="3">
                                            <p:txEl>
                                              <p:pRg st="5" end="5"/>
                                            </p:txEl>
                                          </p:spTgt>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3">
                                            <p:txEl>
                                              <p:pRg st="6" end="6"/>
                                            </p:txEl>
                                          </p:spTgt>
                                        </p:tgtEl>
                                        <p:attrNameLst>
                                          <p:attrName>style.visibility</p:attrName>
                                        </p:attrNameLst>
                                      </p:cBhvr>
                                      <p:to>
                                        <p:strVal val="visible"/>
                                      </p:to>
                                    </p:set>
                                    <p:animEffect transition="in" filter="fade">
                                      <p:cBhvr>
                                        <p:cTn id="42" dur="500"/>
                                        <p:tgtEl>
                                          <p:spTgt spid="3">
                                            <p:txEl>
                                              <p:pRg st="6" end="6"/>
                                            </p:txEl>
                                          </p:spTgt>
                                        </p:tgtEl>
                                      </p:cBhvr>
                                    </p:animEffect>
                                    <p:anim calcmode="lin" valueType="num">
                                      <p:cBhvr>
                                        <p:cTn id="43"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44" dur="500" fill="hold"/>
                                        <p:tgtEl>
                                          <p:spTgt spid="3">
                                            <p:txEl>
                                              <p:pRg st="6" end="6"/>
                                            </p:txEl>
                                          </p:spTgt>
                                        </p:tgtEl>
                                        <p:attrNameLst>
                                          <p:attrName>ppt_y</p:attrName>
                                        </p:attrNameLst>
                                      </p:cBhvr>
                                      <p:tavLst>
                                        <p:tav tm="0">
                                          <p:val>
                                            <p:strVal val="#ppt_y+.1"/>
                                          </p:val>
                                        </p:tav>
                                        <p:tav tm="100000">
                                          <p:val>
                                            <p:strVal val="#ppt_y"/>
                                          </p:val>
                                        </p:tav>
                                      </p:tavLst>
                                    </p:anim>
                                  </p:childTnLst>
                                </p:cTn>
                              </p:par>
                              <p:par>
                                <p:cTn id="45" presetID="31" presetClass="entr" presetSubtype="0" fill="hold" nodeType="withEffect">
                                  <p:stCondLst>
                                    <p:cond delay="0"/>
                                  </p:stCondLst>
                                  <p:childTnLst>
                                    <p:set>
                                      <p:cBhvr>
                                        <p:cTn id="46" dur="1" fill="hold">
                                          <p:stCondLst>
                                            <p:cond delay="0"/>
                                          </p:stCondLst>
                                        </p:cTn>
                                        <p:tgtEl>
                                          <p:spTgt spid="6"/>
                                        </p:tgtEl>
                                        <p:attrNameLst>
                                          <p:attrName>style.visibility</p:attrName>
                                        </p:attrNameLst>
                                      </p:cBhvr>
                                      <p:to>
                                        <p:strVal val="visible"/>
                                      </p:to>
                                    </p:set>
                                    <p:anim calcmode="lin" valueType="num">
                                      <p:cBhvr>
                                        <p:cTn id="47" dur="500" fill="hold"/>
                                        <p:tgtEl>
                                          <p:spTgt spid="6"/>
                                        </p:tgtEl>
                                        <p:attrNameLst>
                                          <p:attrName>ppt_w</p:attrName>
                                        </p:attrNameLst>
                                      </p:cBhvr>
                                      <p:tavLst>
                                        <p:tav tm="0">
                                          <p:val>
                                            <p:fltVal val="0"/>
                                          </p:val>
                                        </p:tav>
                                        <p:tav tm="100000">
                                          <p:val>
                                            <p:strVal val="#ppt_w"/>
                                          </p:val>
                                        </p:tav>
                                      </p:tavLst>
                                    </p:anim>
                                    <p:anim calcmode="lin" valueType="num">
                                      <p:cBhvr>
                                        <p:cTn id="48" dur="500" fill="hold"/>
                                        <p:tgtEl>
                                          <p:spTgt spid="6"/>
                                        </p:tgtEl>
                                        <p:attrNameLst>
                                          <p:attrName>ppt_h</p:attrName>
                                        </p:attrNameLst>
                                      </p:cBhvr>
                                      <p:tavLst>
                                        <p:tav tm="0">
                                          <p:val>
                                            <p:fltVal val="0"/>
                                          </p:val>
                                        </p:tav>
                                        <p:tav tm="100000">
                                          <p:val>
                                            <p:strVal val="#ppt_h"/>
                                          </p:val>
                                        </p:tav>
                                      </p:tavLst>
                                    </p:anim>
                                    <p:anim calcmode="lin" valueType="num">
                                      <p:cBhvr>
                                        <p:cTn id="49" dur="500" fill="hold"/>
                                        <p:tgtEl>
                                          <p:spTgt spid="6"/>
                                        </p:tgtEl>
                                        <p:attrNameLst>
                                          <p:attrName>style.rotation</p:attrName>
                                        </p:attrNameLst>
                                      </p:cBhvr>
                                      <p:tavLst>
                                        <p:tav tm="0">
                                          <p:val>
                                            <p:fltVal val="90"/>
                                          </p:val>
                                        </p:tav>
                                        <p:tav tm="100000">
                                          <p:val>
                                            <p:fltVal val="0"/>
                                          </p:val>
                                        </p:tav>
                                      </p:tavLst>
                                    </p:anim>
                                    <p:animEffect transition="in" filter="fade">
                                      <p:cBhvr>
                                        <p:cTn id="5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0403E24-BE3E-0145-BAF5-A1C067FDB465}"/>
              </a:ext>
            </a:extLst>
          </p:cNvPr>
          <p:cNvSpPr>
            <a:spLocks noGrp="1"/>
          </p:cNvSpPr>
          <p:nvPr>
            <p:ph type="title"/>
          </p:nvPr>
        </p:nvSpPr>
        <p:spPr/>
        <p:txBody>
          <a:bodyPr/>
          <a:lstStyle/>
          <a:p>
            <a:r>
              <a:rPr lang="en-CA"/>
              <a:t>The Problem</a:t>
            </a:r>
          </a:p>
        </p:txBody>
      </p:sp>
    </p:spTree>
    <p:extLst>
      <p:ext uri="{BB962C8B-B14F-4D97-AF65-F5344CB8AC3E}">
        <p14:creationId xmlns:p14="http://schemas.microsoft.com/office/powerpoint/2010/main" val="2857144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85D5A-2441-9BBB-1189-6BA372D41D58}"/>
              </a:ext>
            </a:extLst>
          </p:cNvPr>
          <p:cNvSpPr>
            <a:spLocks noGrp="1"/>
          </p:cNvSpPr>
          <p:nvPr>
            <p:ph type="title"/>
          </p:nvPr>
        </p:nvSpPr>
        <p:spPr/>
        <p:txBody>
          <a:bodyPr>
            <a:normAutofit/>
          </a:bodyPr>
          <a:lstStyle/>
          <a:p>
            <a:r>
              <a:rPr lang="en-CA"/>
              <a:t>Problem Statement </a:t>
            </a:r>
          </a:p>
        </p:txBody>
      </p:sp>
      <p:sp>
        <p:nvSpPr>
          <p:cNvPr id="3" name="Content Placeholder 2">
            <a:extLst>
              <a:ext uri="{FF2B5EF4-FFF2-40B4-BE49-F238E27FC236}">
                <a16:creationId xmlns:a16="http://schemas.microsoft.com/office/drawing/2014/main" id="{C2714CCA-6290-CF17-2FB6-6FFECA34011B}"/>
              </a:ext>
            </a:extLst>
          </p:cNvPr>
          <p:cNvSpPr>
            <a:spLocks noGrp="1"/>
          </p:cNvSpPr>
          <p:nvPr>
            <p:ph type="body" sz="quarter" idx="10"/>
          </p:nvPr>
        </p:nvSpPr>
        <p:spPr>
          <a:prstGeom prst="rect">
            <a:avLst/>
          </a:prstGeom>
        </p:spPr>
        <p:txBody>
          <a:bodyPr/>
          <a:lstStyle/>
          <a:p>
            <a:pPr marL="0" indent="0">
              <a:spcBef>
                <a:spcPts val="1200"/>
              </a:spcBef>
              <a:buNone/>
            </a:pPr>
            <a:r>
              <a:rPr lang="en-US" dirty="0">
                <a:solidFill>
                  <a:schemeClr val="tx1"/>
                </a:solidFill>
                <a:latin typeface="Segoe UI "/>
              </a:rPr>
              <a:t>The requirement of large-scale Deep Learning:</a:t>
            </a:r>
          </a:p>
          <a:p>
            <a:pPr marL="742950" lvl="1" indent="-285750">
              <a:spcBef>
                <a:spcPts val="1200"/>
              </a:spcBef>
              <a:buFont typeface="Arial" panose="020B0604020202020204" pitchFamily="34" charset="0"/>
              <a:buChar char="•"/>
            </a:pPr>
            <a:r>
              <a:rPr lang="en-CA" dirty="0">
                <a:solidFill>
                  <a:srgbClr val="FF8FFA"/>
                </a:solidFill>
                <a:latin typeface="Segoe UI "/>
              </a:rPr>
              <a:t>Model training and/or inferencing takes prohibitively long </a:t>
            </a:r>
          </a:p>
          <a:p>
            <a:pPr marL="742950" lvl="1" indent="-285750">
              <a:spcBef>
                <a:spcPts val="1200"/>
              </a:spcBef>
              <a:buFont typeface="Arial" panose="020B0604020202020204" pitchFamily="34" charset="0"/>
              <a:buChar char="•"/>
            </a:pPr>
            <a:r>
              <a:rPr lang="en-CA" dirty="0">
                <a:solidFill>
                  <a:srgbClr val="FF8FFA"/>
                </a:solidFill>
                <a:latin typeface="Segoe UI "/>
              </a:rPr>
              <a:t>Model complexity exceeds the scale-up capabilities of an isolated multi-GPU VM </a:t>
            </a:r>
          </a:p>
          <a:p>
            <a:pPr marL="0" indent="0">
              <a:spcBef>
                <a:spcPts val="1200"/>
              </a:spcBef>
              <a:buNone/>
            </a:pPr>
            <a:endParaRPr lang="en-CA" sz="1600" dirty="0">
              <a:solidFill>
                <a:schemeClr val="tx1"/>
              </a:solidFill>
              <a:latin typeface="Segoe UI "/>
            </a:endParaRPr>
          </a:p>
        </p:txBody>
      </p:sp>
      <p:pic>
        <p:nvPicPr>
          <p:cNvPr id="6" name="Picture 5" descr="A person with his hand on his chin&#10;&#10;Description automatically generated with low confidence">
            <a:extLst>
              <a:ext uri="{FF2B5EF4-FFF2-40B4-BE49-F238E27FC236}">
                <a16:creationId xmlns:a16="http://schemas.microsoft.com/office/drawing/2014/main" id="{A6065E32-A446-F858-F46C-1AB014650F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5854" y="1346199"/>
            <a:ext cx="6002944" cy="4001963"/>
          </a:xfrm>
          <a:prstGeom prst="rect">
            <a:avLst/>
          </a:prstGeom>
          <a:effectLst>
            <a:glow rad="101600">
              <a:srgbClr val="7030A0">
                <a:alpha val="40000"/>
              </a:srgbClr>
            </a:glow>
          </a:effectLst>
          <a:scene3d>
            <a:camera prst="perspectiveLeft">
              <a:rot lat="0" lon="1800000" rev="0"/>
            </a:camera>
            <a:lightRig rig="threePt" dir="t"/>
          </a:scene3d>
        </p:spPr>
      </p:pic>
    </p:spTree>
    <p:extLst>
      <p:ext uri="{BB962C8B-B14F-4D97-AF65-F5344CB8AC3E}">
        <p14:creationId xmlns:p14="http://schemas.microsoft.com/office/powerpoint/2010/main" val="35928283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101" name="Title 16">
            <a:extLst>
              <a:ext uri="{FF2B5EF4-FFF2-40B4-BE49-F238E27FC236}">
                <a16:creationId xmlns:a16="http://schemas.microsoft.com/office/drawing/2014/main" id="{6DB7FB28-BAA6-41F9-B028-2869890E1FDE}"/>
              </a:ext>
              <a:ext uri="{C183D7F6-B498-43B3-948B-1728B52AA6E4}">
                <adec:decorative xmlns:adec="http://schemas.microsoft.com/office/drawing/2017/decorative" val="1"/>
              </a:ext>
            </a:extLst>
          </p:cNvPr>
          <p:cNvSpPr txBox="1">
            <a:spLocks/>
          </p:cNvSpPr>
          <p:nvPr/>
        </p:nvSpPr>
        <p:spPr>
          <a:xfrm>
            <a:off x="987170" y="4329246"/>
            <a:ext cx="4449600" cy="75405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FF8FFA">
                    <a:alpha val="99000"/>
                  </a:srgbClr>
                </a:solidFill>
                <a:effectLst/>
                <a:uLnTx/>
                <a:uFillTx/>
                <a:latin typeface="Segoe UI Semibold" panose="020B0702040204020203" pitchFamily="34" charset="0"/>
                <a:cs typeface="Segoe UI Semibold" panose="020B0702040204020203" pitchFamily="34" charset="0"/>
              </a:rPr>
              <a:t>Scaling up</a:t>
            </a:r>
            <a:endParaRPr lang="en-US" sz="2000">
              <a:solidFill>
                <a:srgbClr val="FF8FFA">
                  <a:alpha val="99000"/>
                </a:srgbClr>
              </a:solidFill>
              <a:latin typeface="Segoe UI Semibold" panose="020B0702040204020203" pitchFamily="34" charset="0"/>
              <a:cs typeface="Segoe UI Semibold" panose="020B07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prstClr val="white"/>
                </a:solidFill>
                <a:latin typeface="Segoe UI" panose="020B0502040204020203" pitchFamily="34" charset="0"/>
                <a:cs typeface="Segoe UI" panose="020B0502040204020203" pitchFamily="34" charset="0"/>
              </a:rPr>
              <a:t>Expanding </a:t>
            </a:r>
            <a:r>
              <a:rPr kumimoji="0" lang="en-US" sz="1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rPr>
              <a:t>resources within an instance</a:t>
            </a:r>
          </a:p>
        </p:txBody>
      </p:sp>
      <p:grpSp>
        <p:nvGrpSpPr>
          <p:cNvPr id="4" name="Group 3">
            <a:extLst>
              <a:ext uri="{FF2B5EF4-FFF2-40B4-BE49-F238E27FC236}">
                <a16:creationId xmlns:a16="http://schemas.microsoft.com/office/drawing/2014/main" id="{F87E7A7F-CAE7-1E91-30F5-EE547B35FA05}"/>
              </a:ext>
            </a:extLst>
          </p:cNvPr>
          <p:cNvGrpSpPr/>
          <p:nvPr/>
        </p:nvGrpSpPr>
        <p:grpSpPr>
          <a:xfrm>
            <a:off x="1875657" y="1691201"/>
            <a:ext cx="2672626" cy="2469209"/>
            <a:chOff x="4375874" y="2017179"/>
            <a:chExt cx="3394982" cy="3136585"/>
          </a:xfrm>
          <a:effectLst>
            <a:glow rad="139700">
              <a:schemeClr val="bg1">
                <a:alpha val="11000"/>
              </a:schemeClr>
            </a:glow>
          </a:effectLst>
        </p:grpSpPr>
        <p:sp>
          <p:nvSpPr>
            <p:cNvPr id="15" name="Freeform: Shape 14">
              <a:extLst>
                <a:ext uri="{FF2B5EF4-FFF2-40B4-BE49-F238E27FC236}">
                  <a16:creationId xmlns:a16="http://schemas.microsoft.com/office/drawing/2014/main" id="{291F4DFA-A3F1-4BD4-8A6C-CA41167634DD}"/>
                </a:ext>
                <a:ext uri="{C183D7F6-B498-43B3-948B-1728B52AA6E4}">
                  <adec:decorative xmlns:adec="http://schemas.microsoft.com/office/drawing/2017/decorative" val="1"/>
                </a:ext>
              </a:extLst>
            </p:cNvPr>
            <p:cNvSpPr/>
            <p:nvPr/>
          </p:nvSpPr>
          <p:spPr>
            <a:xfrm>
              <a:off x="4375874" y="2017179"/>
              <a:ext cx="3394982" cy="2263321"/>
            </a:xfrm>
            <a:custGeom>
              <a:avLst/>
              <a:gdLst>
                <a:gd name="connsiteX0" fmla="*/ 3281816 w 3394982"/>
                <a:gd name="connsiteY0" fmla="*/ 0 h 2263321"/>
                <a:gd name="connsiteX1" fmla="*/ 3394982 w 3394982"/>
                <a:gd name="connsiteY1" fmla="*/ 0 h 2263321"/>
                <a:gd name="connsiteX2" fmla="*/ 3394982 w 3394982"/>
                <a:gd name="connsiteY2" fmla="*/ 2263321 h 2263321"/>
                <a:gd name="connsiteX3" fmla="*/ 3281816 w 3394982"/>
                <a:gd name="connsiteY3" fmla="*/ 2263321 h 2263321"/>
                <a:gd name="connsiteX4" fmla="*/ 113166 w 3394982"/>
                <a:gd name="connsiteY4" fmla="*/ 2263321 h 2263321"/>
                <a:gd name="connsiteX5" fmla="*/ 0 w 3394982"/>
                <a:gd name="connsiteY5" fmla="*/ 2263321 h 2263321"/>
                <a:gd name="connsiteX6" fmla="*/ 0 w 3394982"/>
                <a:gd name="connsiteY6" fmla="*/ 0 h 2263321"/>
                <a:gd name="connsiteX7" fmla="*/ 113166 w 3394982"/>
                <a:gd name="connsiteY7" fmla="*/ 0 h 2263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4982" h="2263321">
                  <a:moveTo>
                    <a:pt x="3281816" y="0"/>
                  </a:moveTo>
                  <a:cubicBezTo>
                    <a:pt x="3344316" y="0"/>
                    <a:pt x="3394982" y="0"/>
                    <a:pt x="3394982" y="0"/>
                  </a:cubicBezTo>
                  <a:lnTo>
                    <a:pt x="3394982" y="2263321"/>
                  </a:lnTo>
                  <a:cubicBezTo>
                    <a:pt x="3394982" y="2263321"/>
                    <a:pt x="3344316" y="2263321"/>
                    <a:pt x="3281816" y="2263321"/>
                  </a:cubicBezTo>
                  <a:lnTo>
                    <a:pt x="113166" y="2263321"/>
                  </a:lnTo>
                  <a:cubicBezTo>
                    <a:pt x="50666" y="2263321"/>
                    <a:pt x="0" y="2263321"/>
                    <a:pt x="0" y="2263321"/>
                  </a:cubicBezTo>
                  <a:lnTo>
                    <a:pt x="0" y="0"/>
                  </a:lnTo>
                  <a:cubicBezTo>
                    <a:pt x="0" y="0"/>
                    <a:pt x="50666" y="0"/>
                    <a:pt x="113166" y="0"/>
                  </a:cubicBezTo>
                  <a:close/>
                </a:path>
              </a:pathLst>
            </a:custGeom>
            <a:solidFill>
              <a:srgbClr val="0078D4"/>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71" name="Group 70">
              <a:extLst>
                <a:ext uri="{FF2B5EF4-FFF2-40B4-BE49-F238E27FC236}">
                  <a16:creationId xmlns:a16="http://schemas.microsoft.com/office/drawing/2014/main" id="{C2966C03-59A2-443A-A670-3CA67ADEED3B}"/>
                </a:ext>
                <a:ext uri="{C183D7F6-B498-43B3-948B-1728B52AA6E4}">
                  <adec:decorative xmlns:adec="http://schemas.microsoft.com/office/drawing/2017/decorative" val="1"/>
                </a:ext>
              </a:extLst>
            </p:cNvPr>
            <p:cNvGrpSpPr/>
            <p:nvPr/>
          </p:nvGrpSpPr>
          <p:grpSpPr>
            <a:xfrm>
              <a:off x="5268012" y="3096331"/>
              <a:ext cx="751794" cy="877092"/>
              <a:chOff x="5507535" y="2488704"/>
              <a:chExt cx="1131660" cy="1320271"/>
            </a:xfrm>
            <a:effectLst>
              <a:outerShdw blurRad="63500" sx="102000" sy="102000" algn="ctr" rotWithShape="0">
                <a:prstClr val="black">
                  <a:alpha val="40000"/>
                </a:prstClr>
              </a:outerShdw>
            </a:effectLst>
          </p:grpSpPr>
          <p:grpSp>
            <p:nvGrpSpPr>
              <p:cNvPr id="70" name="Group 69">
                <a:extLst>
                  <a:ext uri="{FF2B5EF4-FFF2-40B4-BE49-F238E27FC236}">
                    <a16:creationId xmlns:a16="http://schemas.microsoft.com/office/drawing/2014/main" id="{37080C82-36F1-4549-A817-088A49B0728C}"/>
                  </a:ext>
                </a:extLst>
              </p:cNvPr>
              <p:cNvGrpSpPr/>
              <p:nvPr/>
            </p:nvGrpSpPr>
            <p:grpSpPr>
              <a:xfrm>
                <a:off x="5507535" y="2488704"/>
                <a:ext cx="1131660" cy="1320271"/>
                <a:chOff x="5507535" y="2488704"/>
                <a:chExt cx="1131660" cy="1320271"/>
              </a:xfrm>
            </p:grpSpPr>
            <p:sp>
              <p:nvSpPr>
                <p:cNvPr id="16" name="Freeform: Shape 15">
                  <a:extLst>
                    <a:ext uri="{FF2B5EF4-FFF2-40B4-BE49-F238E27FC236}">
                      <a16:creationId xmlns:a16="http://schemas.microsoft.com/office/drawing/2014/main" id="{BBB7E5F5-65C1-4AEA-A01A-F4884D43DAD2}"/>
                    </a:ext>
                  </a:extLst>
                </p:cNvPr>
                <p:cNvSpPr/>
                <p:nvPr/>
              </p:nvSpPr>
              <p:spPr>
                <a:xfrm>
                  <a:off x="6073365" y="2818772"/>
                  <a:ext cx="565830" cy="990203"/>
                </a:xfrm>
                <a:custGeom>
                  <a:avLst/>
                  <a:gdLst>
                    <a:gd name="connsiteX0" fmla="*/ 565830 w 565830"/>
                    <a:gd name="connsiteY0" fmla="*/ 0 h 990203"/>
                    <a:gd name="connsiteX1" fmla="*/ 565830 w 565830"/>
                    <a:gd name="connsiteY1" fmla="*/ 658249 h 990203"/>
                    <a:gd name="connsiteX2" fmla="*/ 0 w 565830"/>
                    <a:gd name="connsiteY2" fmla="*/ 990203 h 990203"/>
                    <a:gd name="connsiteX3" fmla="*/ 0 w 565830"/>
                    <a:gd name="connsiteY3" fmla="*/ 330068 h 990203"/>
                    <a:gd name="connsiteX4" fmla="*/ 565830 w 565830"/>
                    <a:gd name="connsiteY4" fmla="*/ 0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0"/>
                      </a:moveTo>
                      <a:lnTo>
                        <a:pt x="565830" y="658249"/>
                      </a:lnTo>
                      <a:lnTo>
                        <a:pt x="0" y="990203"/>
                      </a:lnTo>
                      <a:lnTo>
                        <a:pt x="0" y="330068"/>
                      </a:lnTo>
                      <a:lnTo>
                        <a:pt x="565830" y="0"/>
                      </a:lnTo>
                      <a:close/>
                    </a:path>
                  </a:pathLst>
                </a:custGeom>
                <a:solidFill>
                  <a:srgbClr val="50E6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A28BCB24-CBA8-4C0C-835F-58645280A578}"/>
                    </a:ext>
                  </a:extLst>
                </p:cNvPr>
                <p:cNvSpPr/>
                <p:nvPr/>
              </p:nvSpPr>
              <p:spPr>
                <a:xfrm>
                  <a:off x="5507535" y="2488704"/>
                  <a:ext cx="1131660" cy="662021"/>
                </a:xfrm>
                <a:custGeom>
                  <a:avLst/>
                  <a:gdLst>
                    <a:gd name="connsiteX0" fmla="*/ 1131661 w 1131660"/>
                    <a:gd name="connsiteY0" fmla="*/ 330068 h 662021"/>
                    <a:gd name="connsiteX1" fmla="*/ 565830 w 1131660"/>
                    <a:gd name="connsiteY1" fmla="*/ 662021 h 662021"/>
                    <a:gd name="connsiteX2" fmla="*/ 0 w 1131660"/>
                    <a:gd name="connsiteY2" fmla="*/ 330068 h 662021"/>
                    <a:gd name="connsiteX3" fmla="*/ 565830 w 1131660"/>
                    <a:gd name="connsiteY3" fmla="*/ 0 h 662021"/>
                    <a:gd name="connsiteX4" fmla="*/ 1131661 w 1131660"/>
                    <a:gd name="connsiteY4" fmla="*/ 330068 h 662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660" h="662021">
                      <a:moveTo>
                        <a:pt x="1131661" y="330068"/>
                      </a:moveTo>
                      <a:lnTo>
                        <a:pt x="565830" y="662021"/>
                      </a:lnTo>
                      <a:lnTo>
                        <a:pt x="0" y="330068"/>
                      </a:lnTo>
                      <a:lnTo>
                        <a:pt x="565830" y="0"/>
                      </a:lnTo>
                      <a:lnTo>
                        <a:pt x="1131661" y="330068"/>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Shape 65">
                  <a:extLst>
                    <a:ext uri="{FF2B5EF4-FFF2-40B4-BE49-F238E27FC236}">
                      <a16:creationId xmlns:a16="http://schemas.microsoft.com/office/drawing/2014/main" id="{61F5C6AC-05FF-4CFA-9714-C64B3E274782}"/>
                    </a:ext>
                  </a:extLst>
                </p:cNvPr>
                <p:cNvSpPr/>
                <p:nvPr/>
              </p:nvSpPr>
              <p:spPr>
                <a:xfrm>
                  <a:off x="5507535" y="2818772"/>
                  <a:ext cx="565830" cy="990203"/>
                </a:xfrm>
                <a:custGeom>
                  <a:avLst/>
                  <a:gdLst>
                    <a:gd name="connsiteX0" fmla="*/ 565830 w 565830"/>
                    <a:gd name="connsiteY0" fmla="*/ 331954 h 990203"/>
                    <a:gd name="connsiteX1" fmla="*/ 565830 w 565830"/>
                    <a:gd name="connsiteY1" fmla="*/ 990203 h 990203"/>
                    <a:gd name="connsiteX2" fmla="*/ 0 w 565830"/>
                    <a:gd name="connsiteY2" fmla="*/ 658249 h 990203"/>
                    <a:gd name="connsiteX3" fmla="*/ 0 w 565830"/>
                    <a:gd name="connsiteY3" fmla="*/ 0 h 990203"/>
                    <a:gd name="connsiteX4" fmla="*/ 565830 w 565830"/>
                    <a:gd name="connsiteY4" fmla="*/ 331954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331954"/>
                      </a:moveTo>
                      <a:lnTo>
                        <a:pt x="565830" y="990203"/>
                      </a:lnTo>
                      <a:lnTo>
                        <a:pt x="0" y="658249"/>
                      </a:lnTo>
                      <a:lnTo>
                        <a:pt x="0" y="0"/>
                      </a:lnTo>
                      <a:lnTo>
                        <a:pt x="565830" y="331954"/>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Shape 66">
                  <a:extLst>
                    <a:ext uri="{FF2B5EF4-FFF2-40B4-BE49-F238E27FC236}">
                      <a16:creationId xmlns:a16="http://schemas.microsoft.com/office/drawing/2014/main" id="{A062D934-8AB8-4787-8F9F-A28A78158079}"/>
                    </a:ext>
                  </a:extLst>
                </p:cNvPr>
                <p:cNvSpPr/>
                <p:nvPr/>
              </p:nvSpPr>
              <p:spPr>
                <a:xfrm>
                  <a:off x="5507535" y="3148839"/>
                  <a:ext cx="565830" cy="660135"/>
                </a:xfrm>
                <a:custGeom>
                  <a:avLst/>
                  <a:gdLst>
                    <a:gd name="connsiteX0" fmla="*/ 0 w 565830"/>
                    <a:gd name="connsiteY0" fmla="*/ 328182 h 660135"/>
                    <a:gd name="connsiteX1" fmla="*/ 565830 w 565830"/>
                    <a:gd name="connsiteY1" fmla="*/ 0 h 660135"/>
                    <a:gd name="connsiteX2" fmla="*/ 565830 w 565830"/>
                    <a:gd name="connsiteY2" fmla="*/ 660135 h 660135"/>
                    <a:gd name="connsiteX3" fmla="*/ 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0" y="328182"/>
                      </a:moveTo>
                      <a:lnTo>
                        <a:pt x="565830" y="0"/>
                      </a:lnTo>
                      <a:lnTo>
                        <a:pt x="565830" y="660135"/>
                      </a:lnTo>
                      <a:lnTo>
                        <a:pt x="0" y="328182"/>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8" name="Freeform: Shape 67">
                <a:extLst>
                  <a:ext uri="{FF2B5EF4-FFF2-40B4-BE49-F238E27FC236}">
                    <a16:creationId xmlns:a16="http://schemas.microsoft.com/office/drawing/2014/main" id="{B668AE49-6CE7-4670-9BE5-185164568B00}"/>
                  </a:ext>
                </a:extLst>
              </p:cNvPr>
              <p:cNvSpPr/>
              <p:nvPr/>
            </p:nvSpPr>
            <p:spPr>
              <a:xfrm>
                <a:off x="6073365" y="3148839"/>
                <a:ext cx="565830" cy="660135"/>
              </a:xfrm>
              <a:custGeom>
                <a:avLst/>
                <a:gdLst>
                  <a:gd name="connsiteX0" fmla="*/ 565830 w 565830"/>
                  <a:gd name="connsiteY0" fmla="*/ 328182 h 660135"/>
                  <a:gd name="connsiteX1" fmla="*/ 0 w 565830"/>
                  <a:gd name="connsiteY1" fmla="*/ 0 h 660135"/>
                  <a:gd name="connsiteX2" fmla="*/ 0 w 565830"/>
                  <a:gd name="connsiteY2" fmla="*/ 660135 h 660135"/>
                  <a:gd name="connsiteX3" fmla="*/ 56583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565830" y="328182"/>
                    </a:moveTo>
                    <a:lnTo>
                      <a:pt x="0" y="0"/>
                    </a:lnTo>
                    <a:lnTo>
                      <a:pt x="0" y="660135"/>
                    </a:lnTo>
                    <a:lnTo>
                      <a:pt x="565830" y="328182"/>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9" name="Freeform: Shape 68">
              <a:extLst>
                <a:ext uri="{FF2B5EF4-FFF2-40B4-BE49-F238E27FC236}">
                  <a16:creationId xmlns:a16="http://schemas.microsoft.com/office/drawing/2014/main" id="{3D0516F6-CA8C-45BC-B4F1-CC34DE55DFFD}"/>
                </a:ext>
                <a:ext uri="{C183D7F6-B498-43B3-948B-1728B52AA6E4}">
                  <adec:decorative xmlns:adec="http://schemas.microsoft.com/office/drawing/2017/decorative" val="1"/>
                </a:ext>
              </a:extLst>
            </p:cNvPr>
            <p:cNvSpPr/>
            <p:nvPr/>
          </p:nvSpPr>
          <p:spPr>
            <a:xfrm>
              <a:off x="5224616" y="4280500"/>
              <a:ext cx="1697498" cy="873264"/>
            </a:xfrm>
            <a:custGeom>
              <a:avLst/>
              <a:gdLst>
                <a:gd name="connsiteX0" fmla="*/ 1529632 w 1697498"/>
                <a:gd name="connsiteY0" fmla="*/ 684655 h 873264"/>
                <a:gd name="connsiteX1" fmla="*/ 1180703 w 1697498"/>
                <a:gd name="connsiteY1" fmla="*/ 0 h 873264"/>
                <a:gd name="connsiteX2" fmla="*/ 514909 w 1697498"/>
                <a:gd name="connsiteY2" fmla="*/ 0 h 873264"/>
                <a:gd name="connsiteX3" fmla="*/ 167867 w 1697498"/>
                <a:gd name="connsiteY3" fmla="*/ 684655 h 873264"/>
                <a:gd name="connsiteX4" fmla="*/ 4 w 1697498"/>
                <a:gd name="connsiteY4" fmla="*/ 873265 h 873264"/>
                <a:gd name="connsiteX5" fmla="*/ 1697495 w 1697498"/>
                <a:gd name="connsiteY5" fmla="*/ 873265 h 873264"/>
                <a:gd name="connsiteX6" fmla="*/ 1529632 w 1697498"/>
                <a:gd name="connsiteY6" fmla="*/ 684655 h 87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7498" h="873264">
                  <a:moveTo>
                    <a:pt x="1529632" y="684655"/>
                  </a:moveTo>
                  <a:cubicBezTo>
                    <a:pt x="1193906" y="631844"/>
                    <a:pt x="1180703" y="390423"/>
                    <a:pt x="1180703" y="0"/>
                  </a:cubicBezTo>
                  <a:lnTo>
                    <a:pt x="514909" y="0"/>
                  </a:lnTo>
                  <a:cubicBezTo>
                    <a:pt x="514909" y="390423"/>
                    <a:pt x="503593" y="631844"/>
                    <a:pt x="167867" y="684655"/>
                  </a:cubicBezTo>
                  <a:cubicBezTo>
                    <a:pt x="71877" y="695274"/>
                    <a:pt x="-583" y="776696"/>
                    <a:pt x="4" y="873265"/>
                  </a:cubicBezTo>
                  <a:lnTo>
                    <a:pt x="1697495" y="873265"/>
                  </a:lnTo>
                  <a:cubicBezTo>
                    <a:pt x="1698079" y="776696"/>
                    <a:pt x="1625615" y="695274"/>
                    <a:pt x="1529632" y="684655"/>
                  </a:cubicBezTo>
                  <a:close/>
                </a:path>
              </a:pathLst>
            </a:custGeom>
            <a:solidFill>
              <a:srgbClr val="CCCCCC"/>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87" name="Group 86">
              <a:extLst>
                <a:ext uri="{FF2B5EF4-FFF2-40B4-BE49-F238E27FC236}">
                  <a16:creationId xmlns:a16="http://schemas.microsoft.com/office/drawing/2014/main" id="{CDD94FEE-9B30-44AE-96D3-DE9C06371E64}"/>
                </a:ext>
                <a:ext uri="{C183D7F6-B498-43B3-948B-1728B52AA6E4}">
                  <adec:decorative xmlns:adec="http://schemas.microsoft.com/office/drawing/2017/decorative" val="1"/>
                </a:ext>
              </a:extLst>
            </p:cNvPr>
            <p:cNvGrpSpPr/>
            <p:nvPr/>
          </p:nvGrpSpPr>
          <p:grpSpPr>
            <a:xfrm>
              <a:off x="5506749" y="2899756"/>
              <a:ext cx="751794" cy="877092"/>
              <a:chOff x="5507535" y="2488704"/>
              <a:chExt cx="1131660" cy="1320271"/>
            </a:xfrm>
            <a:effectLst>
              <a:outerShdw blurRad="63500" sx="102000" sy="102000" algn="ctr" rotWithShape="0">
                <a:prstClr val="black">
                  <a:alpha val="40000"/>
                </a:prstClr>
              </a:outerShdw>
            </a:effectLst>
          </p:grpSpPr>
          <p:grpSp>
            <p:nvGrpSpPr>
              <p:cNvPr id="88" name="Group 87">
                <a:extLst>
                  <a:ext uri="{FF2B5EF4-FFF2-40B4-BE49-F238E27FC236}">
                    <a16:creationId xmlns:a16="http://schemas.microsoft.com/office/drawing/2014/main" id="{5AC4165D-3EB6-4FCA-88B8-09E3CE9B7AB4}"/>
                  </a:ext>
                </a:extLst>
              </p:cNvPr>
              <p:cNvGrpSpPr/>
              <p:nvPr/>
            </p:nvGrpSpPr>
            <p:grpSpPr>
              <a:xfrm>
                <a:off x="5507535" y="2488704"/>
                <a:ext cx="1131660" cy="1320271"/>
                <a:chOff x="5507535" y="2488704"/>
                <a:chExt cx="1131660" cy="1320271"/>
              </a:xfrm>
            </p:grpSpPr>
            <p:sp>
              <p:nvSpPr>
                <p:cNvPr id="90" name="Freeform: Shape 89">
                  <a:extLst>
                    <a:ext uri="{FF2B5EF4-FFF2-40B4-BE49-F238E27FC236}">
                      <a16:creationId xmlns:a16="http://schemas.microsoft.com/office/drawing/2014/main" id="{1AEDD792-3913-45F6-A5E4-EF6E2FE4857A}"/>
                    </a:ext>
                  </a:extLst>
                </p:cNvPr>
                <p:cNvSpPr/>
                <p:nvPr/>
              </p:nvSpPr>
              <p:spPr>
                <a:xfrm>
                  <a:off x="6073365" y="2818772"/>
                  <a:ext cx="565830" cy="990203"/>
                </a:xfrm>
                <a:custGeom>
                  <a:avLst/>
                  <a:gdLst>
                    <a:gd name="connsiteX0" fmla="*/ 565830 w 565830"/>
                    <a:gd name="connsiteY0" fmla="*/ 0 h 990203"/>
                    <a:gd name="connsiteX1" fmla="*/ 565830 w 565830"/>
                    <a:gd name="connsiteY1" fmla="*/ 658249 h 990203"/>
                    <a:gd name="connsiteX2" fmla="*/ 0 w 565830"/>
                    <a:gd name="connsiteY2" fmla="*/ 990203 h 990203"/>
                    <a:gd name="connsiteX3" fmla="*/ 0 w 565830"/>
                    <a:gd name="connsiteY3" fmla="*/ 330068 h 990203"/>
                    <a:gd name="connsiteX4" fmla="*/ 565830 w 565830"/>
                    <a:gd name="connsiteY4" fmla="*/ 0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0"/>
                      </a:moveTo>
                      <a:lnTo>
                        <a:pt x="565830" y="658249"/>
                      </a:lnTo>
                      <a:lnTo>
                        <a:pt x="0" y="990203"/>
                      </a:lnTo>
                      <a:lnTo>
                        <a:pt x="0" y="330068"/>
                      </a:lnTo>
                      <a:lnTo>
                        <a:pt x="565830" y="0"/>
                      </a:lnTo>
                      <a:close/>
                    </a:path>
                  </a:pathLst>
                </a:custGeom>
                <a:solidFill>
                  <a:srgbClr val="50E6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Freeform: Shape 90">
                  <a:extLst>
                    <a:ext uri="{FF2B5EF4-FFF2-40B4-BE49-F238E27FC236}">
                      <a16:creationId xmlns:a16="http://schemas.microsoft.com/office/drawing/2014/main" id="{0134AF29-810B-4314-8CC5-CE137C7A5E9D}"/>
                    </a:ext>
                  </a:extLst>
                </p:cNvPr>
                <p:cNvSpPr/>
                <p:nvPr/>
              </p:nvSpPr>
              <p:spPr>
                <a:xfrm>
                  <a:off x="5507535" y="2488704"/>
                  <a:ext cx="1131660" cy="662021"/>
                </a:xfrm>
                <a:custGeom>
                  <a:avLst/>
                  <a:gdLst>
                    <a:gd name="connsiteX0" fmla="*/ 1131661 w 1131660"/>
                    <a:gd name="connsiteY0" fmla="*/ 330068 h 662021"/>
                    <a:gd name="connsiteX1" fmla="*/ 565830 w 1131660"/>
                    <a:gd name="connsiteY1" fmla="*/ 662021 h 662021"/>
                    <a:gd name="connsiteX2" fmla="*/ 0 w 1131660"/>
                    <a:gd name="connsiteY2" fmla="*/ 330068 h 662021"/>
                    <a:gd name="connsiteX3" fmla="*/ 565830 w 1131660"/>
                    <a:gd name="connsiteY3" fmla="*/ 0 h 662021"/>
                    <a:gd name="connsiteX4" fmla="*/ 1131661 w 1131660"/>
                    <a:gd name="connsiteY4" fmla="*/ 330068 h 662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660" h="662021">
                      <a:moveTo>
                        <a:pt x="1131661" y="330068"/>
                      </a:moveTo>
                      <a:lnTo>
                        <a:pt x="565830" y="662021"/>
                      </a:lnTo>
                      <a:lnTo>
                        <a:pt x="0" y="330068"/>
                      </a:lnTo>
                      <a:lnTo>
                        <a:pt x="565830" y="0"/>
                      </a:lnTo>
                      <a:lnTo>
                        <a:pt x="1131661" y="330068"/>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Freeform: Shape 91">
                  <a:extLst>
                    <a:ext uri="{FF2B5EF4-FFF2-40B4-BE49-F238E27FC236}">
                      <a16:creationId xmlns:a16="http://schemas.microsoft.com/office/drawing/2014/main" id="{744C657E-43CF-43A4-9733-0DC635C351C4}"/>
                    </a:ext>
                  </a:extLst>
                </p:cNvPr>
                <p:cNvSpPr/>
                <p:nvPr/>
              </p:nvSpPr>
              <p:spPr>
                <a:xfrm>
                  <a:off x="5507535" y="2818772"/>
                  <a:ext cx="565830" cy="990203"/>
                </a:xfrm>
                <a:custGeom>
                  <a:avLst/>
                  <a:gdLst>
                    <a:gd name="connsiteX0" fmla="*/ 565830 w 565830"/>
                    <a:gd name="connsiteY0" fmla="*/ 331954 h 990203"/>
                    <a:gd name="connsiteX1" fmla="*/ 565830 w 565830"/>
                    <a:gd name="connsiteY1" fmla="*/ 990203 h 990203"/>
                    <a:gd name="connsiteX2" fmla="*/ 0 w 565830"/>
                    <a:gd name="connsiteY2" fmla="*/ 658249 h 990203"/>
                    <a:gd name="connsiteX3" fmla="*/ 0 w 565830"/>
                    <a:gd name="connsiteY3" fmla="*/ 0 h 990203"/>
                    <a:gd name="connsiteX4" fmla="*/ 565830 w 565830"/>
                    <a:gd name="connsiteY4" fmla="*/ 331954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331954"/>
                      </a:moveTo>
                      <a:lnTo>
                        <a:pt x="565830" y="990203"/>
                      </a:lnTo>
                      <a:lnTo>
                        <a:pt x="0" y="658249"/>
                      </a:lnTo>
                      <a:lnTo>
                        <a:pt x="0" y="0"/>
                      </a:lnTo>
                      <a:lnTo>
                        <a:pt x="565830" y="331954"/>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Shape 92">
                  <a:extLst>
                    <a:ext uri="{FF2B5EF4-FFF2-40B4-BE49-F238E27FC236}">
                      <a16:creationId xmlns:a16="http://schemas.microsoft.com/office/drawing/2014/main" id="{B8425188-EF00-4958-8C82-41128EB5F5B4}"/>
                    </a:ext>
                  </a:extLst>
                </p:cNvPr>
                <p:cNvSpPr/>
                <p:nvPr/>
              </p:nvSpPr>
              <p:spPr>
                <a:xfrm>
                  <a:off x="5507535" y="3148839"/>
                  <a:ext cx="565830" cy="660135"/>
                </a:xfrm>
                <a:custGeom>
                  <a:avLst/>
                  <a:gdLst>
                    <a:gd name="connsiteX0" fmla="*/ 0 w 565830"/>
                    <a:gd name="connsiteY0" fmla="*/ 328182 h 660135"/>
                    <a:gd name="connsiteX1" fmla="*/ 565830 w 565830"/>
                    <a:gd name="connsiteY1" fmla="*/ 0 h 660135"/>
                    <a:gd name="connsiteX2" fmla="*/ 565830 w 565830"/>
                    <a:gd name="connsiteY2" fmla="*/ 660135 h 660135"/>
                    <a:gd name="connsiteX3" fmla="*/ 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0" y="328182"/>
                      </a:moveTo>
                      <a:lnTo>
                        <a:pt x="565830" y="0"/>
                      </a:lnTo>
                      <a:lnTo>
                        <a:pt x="565830" y="660135"/>
                      </a:lnTo>
                      <a:lnTo>
                        <a:pt x="0" y="328182"/>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9" name="Freeform: Shape 88">
                <a:extLst>
                  <a:ext uri="{FF2B5EF4-FFF2-40B4-BE49-F238E27FC236}">
                    <a16:creationId xmlns:a16="http://schemas.microsoft.com/office/drawing/2014/main" id="{936C6D6B-67E1-4C5C-BC8A-CCB573BF71C7}"/>
                  </a:ext>
                </a:extLst>
              </p:cNvPr>
              <p:cNvSpPr/>
              <p:nvPr/>
            </p:nvSpPr>
            <p:spPr>
              <a:xfrm>
                <a:off x="6073365" y="3148839"/>
                <a:ext cx="565830" cy="660135"/>
              </a:xfrm>
              <a:custGeom>
                <a:avLst/>
                <a:gdLst>
                  <a:gd name="connsiteX0" fmla="*/ 565830 w 565830"/>
                  <a:gd name="connsiteY0" fmla="*/ 328182 h 660135"/>
                  <a:gd name="connsiteX1" fmla="*/ 0 w 565830"/>
                  <a:gd name="connsiteY1" fmla="*/ 0 h 660135"/>
                  <a:gd name="connsiteX2" fmla="*/ 0 w 565830"/>
                  <a:gd name="connsiteY2" fmla="*/ 660135 h 660135"/>
                  <a:gd name="connsiteX3" fmla="*/ 56583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565830" y="328182"/>
                    </a:moveTo>
                    <a:lnTo>
                      <a:pt x="0" y="0"/>
                    </a:lnTo>
                    <a:lnTo>
                      <a:pt x="0" y="660135"/>
                    </a:lnTo>
                    <a:lnTo>
                      <a:pt x="565830" y="328182"/>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4" name="Group 93">
              <a:extLst>
                <a:ext uri="{FF2B5EF4-FFF2-40B4-BE49-F238E27FC236}">
                  <a16:creationId xmlns:a16="http://schemas.microsoft.com/office/drawing/2014/main" id="{79BB6337-5E4D-4D10-808A-7E8FF9966987}"/>
                </a:ext>
                <a:ext uri="{C183D7F6-B498-43B3-948B-1728B52AA6E4}">
                  <adec:decorative xmlns:adec="http://schemas.microsoft.com/office/drawing/2017/decorative" val="1"/>
                </a:ext>
              </a:extLst>
            </p:cNvPr>
            <p:cNvGrpSpPr/>
            <p:nvPr/>
          </p:nvGrpSpPr>
          <p:grpSpPr>
            <a:xfrm>
              <a:off x="5739690" y="2710611"/>
              <a:ext cx="751794" cy="877092"/>
              <a:chOff x="5507535" y="2488704"/>
              <a:chExt cx="1131660" cy="1320271"/>
            </a:xfrm>
            <a:effectLst>
              <a:outerShdw blurRad="63500" sx="102000" sy="102000" algn="ctr" rotWithShape="0">
                <a:prstClr val="black">
                  <a:alpha val="40000"/>
                </a:prstClr>
              </a:outerShdw>
            </a:effectLst>
          </p:grpSpPr>
          <p:grpSp>
            <p:nvGrpSpPr>
              <p:cNvPr id="95" name="Group 94">
                <a:extLst>
                  <a:ext uri="{FF2B5EF4-FFF2-40B4-BE49-F238E27FC236}">
                    <a16:creationId xmlns:a16="http://schemas.microsoft.com/office/drawing/2014/main" id="{4653AFEA-8438-41DE-927D-040B0FE7CC7D}"/>
                  </a:ext>
                </a:extLst>
              </p:cNvPr>
              <p:cNvGrpSpPr/>
              <p:nvPr/>
            </p:nvGrpSpPr>
            <p:grpSpPr>
              <a:xfrm>
                <a:off x="5507535" y="2488704"/>
                <a:ext cx="1131660" cy="1320271"/>
                <a:chOff x="5507535" y="2488704"/>
                <a:chExt cx="1131660" cy="1320271"/>
              </a:xfrm>
            </p:grpSpPr>
            <p:sp>
              <p:nvSpPr>
                <p:cNvPr id="97" name="Freeform: Shape 96">
                  <a:extLst>
                    <a:ext uri="{FF2B5EF4-FFF2-40B4-BE49-F238E27FC236}">
                      <a16:creationId xmlns:a16="http://schemas.microsoft.com/office/drawing/2014/main" id="{86C77FBE-BDD5-4371-BB2D-1C0E071D085C}"/>
                    </a:ext>
                  </a:extLst>
                </p:cNvPr>
                <p:cNvSpPr/>
                <p:nvPr/>
              </p:nvSpPr>
              <p:spPr>
                <a:xfrm>
                  <a:off x="6073365" y="2818772"/>
                  <a:ext cx="565830" cy="990203"/>
                </a:xfrm>
                <a:custGeom>
                  <a:avLst/>
                  <a:gdLst>
                    <a:gd name="connsiteX0" fmla="*/ 565830 w 565830"/>
                    <a:gd name="connsiteY0" fmla="*/ 0 h 990203"/>
                    <a:gd name="connsiteX1" fmla="*/ 565830 w 565830"/>
                    <a:gd name="connsiteY1" fmla="*/ 658249 h 990203"/>
                    <a:gd name="connsiteX2" fmla="*/ 0 w 565830"/>
                    <a:gd name="connsiteY2" fmla="*/ 990203 h 990203"/>
                    <a:gd name="connsiteX3" fmla="*/ 0 w 565830"/>
                    <a:gd name="connsiteY3" fmla="*/ 330068 h 990203"/>
                    <a:gd name="connsiteX4" fmla="*/ 565830 w 565830"/>
                    <a:gd name="connsiteY4" fmla="*/ 0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0"/>
                      </a:moveTo>
                      <a:lnTo>
                        <a:pt x="565830" y="658249"/>
                      </a:lnTo>
                      <a:lnTo>
                        <a:pt x="0" y="990203"/>
                      </a:lnTo>
                      <a:lnTo>
                        <a:pt x="0" y="330068"/>
                      </a:lnTo>
                      <a:lnTo>
                        <a:pt x="565830" y="0"/>
                      </a:lnTo>
                      <a:close/>
                    </a:path>
                  </a:pathLst>
                </a:custGeom>
                <a:solidFill>
                  <a:srgbClr val="50E6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Freeform: Shape 97">
                  <a:extLst>
                    <a:ext uri="{FF2B5EF4-FFF2-40B4-BE49-F238E27FC236}">
                      <a16:creationId xmlns:a16="http://schemas.microsoft.com/office/drawing/2014/main" id="{3ED2455F-F618-418C-AF94-116DC031EC24}"/>
                    </a:ext>
                  </a:extLst>
                </p:cNvPr>
                <p:cNvSpPr/>
                <p:nvPr/>
              </p:nvSpPr>
              <p:spPr>
                <a:xfrm>
                  <a:off x="5507535" y="2488704"/>
                  <a:ext cx="1131660" cy="662021"/>
                </a:xfrm>
                <a:custGeom>
                  <a:avLst/>
                  <a:gdLst>
                    <a:gd name="connsiteX0" fmla="*/ 1131661 w 1131660"/>
                    <a:gd name="connsiteY0" fmla="*/ 330068 h 662021"/>
                    <a:gd name="connsiteX1" fmla="*/ 565830 w 1131660"/>
                    <a:gd name="connsiteY1" fmla="*/ 662021 h 662021"/>
                    <a:gd name="connsiteX2" fmla="*/ 0 w 1131660"/>
                    <a:gd name="connsiteY2" fmla="*/ 330068 h 662021"/>
                    <a:gd name="connsiteX3" fmla="*/ 565830 w 1131660"/>
                    <a:gd name="connsiteY3" fmla="*/ 0 h 662021"/>
                    <a:gd name="connsiteX4" fmla="*/ 1131661 w 1131660"/>
                    <a:gd name="connsiteY4" fmla="*/ 330068 h 662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660" h="662021">
                      <a:moveTo>
                        <a:pt x="1131661" y="330068"/>
                      </a:moveTo>
                      <a:lnTo>
                        <a:pt x="565830" y="662021"/>
                      </a:lnTo>
                      <a:lnTo>
                        <a:pt x="0" y="330068"/>
                      </a:lnTo>
                      <a:lnTo>
                        <a:pt x="565830" y="0"/>
                      </a:lnTo>
                      <a:lnTo>
                        <a:pt x="1131661" y="330068"/>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Freeform: Shape 98">
                  <a:extLst>
                    <a:ext uri="{FF2B5EF4-FFF2-40B4-BE49-F238E27FC236}">
                      <a16:creationId xmlns:a16="http://schemas.microsoft.com/office/drawing/2014/main" id="{444E5F72-CC10-4EA3-B190-2BD50D319492}"/>
                    </a:ext>
                  </a:extLst>
                </p:cNvPr>
                <p:cNvSpPr/>
                <p:nvPr/>
              </p:nvSpPr>
              <p:spPr>
                <a:xfrm>
                  <a:off x="5507535" y="2818772"/>
                  <a:ext cx="565830" cy="990203"/>
                </a:xfrm>
                <a:custGeom>
                  <a:avLst/>
                  <a:gdLst>
                    <a:gd name="connsiteX0" fmla="*/ 565830 w 565830"/>
                    <a:gd name="connsiteY0" fmla="*/ 331954 h 990203"/>
                    <a:gd name="connsiteX1" fmla="*/ 565830 w 565830"/>
                    <a:gd name="connsiteY1" fmla="*/ 990203 h 990203"/>
                    <a:gd name="connsiteX2" fmla="*/ 0 w 565830"/>
                    <a:gd name="connsiteY2" fmla="*/ 658249 h 990203"/>
                    <a:gd name="connsiteX3" fmla="*/ 0 w 565830"/>
                    <a:gd name="connsiteY3" fmla="*/ 0 h 990203"/>
                    <a:gd name="connsiteX4" fmla="*/ 565830 w 565830"/>
                    <a:gd name="connsiteY4" fmla="*/ 331954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331954"/>
                      </a:moveTo>
                      <a:lnTo>
                        <a:pt x="565830" y="990203"/>
                      </a:lnTo>
                      <a:lnTo>
                        <a:pt x="0" y="658249"/>
                      </a:lnTo>
                      <a:lnTo>
                        <a:pt x="0" y="0"/>
                      </a:lnTo>
                      <a:lnTo>
                        <a:pt x="565830" y="331954"/>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Freeform: Shape 99">
                  <a:extLst>
                    <a:ext uri="{FF2B5EF4-FFF2-40B4-BE49-F238E27FC236}">
                      <a16:creationId xmlns:a16="http://schemas.microsoft.com/office/drawing/2014/main" id="{676A6175-F54B-45B0-9F83-AE4745F9D236}"/>
                    </a:ext>
                  </a:extLst>
                </p:cNvPr>
                <p:cNvSpPr/>
                <p:nvPr/>
              </p:nvSpPr>
              <p:spPr>
                <a:xfrm>
                  <a:off x="5507535" y="3148839"/>
                  <a:ext cx="565830" cy="660135"/>
                </a:xfrm>
                <a:custGeom>
                  <a:avLst/>
                  <a:gdLst>
                    <a:gd name="connsiteX0" fmla="*/ 0 w 565830"/>
                    <a:gd name="connsiteY0" fmla="*/ 328182 h 660135"/>
                    <a:gd name="connsiteX1" fmla="*/ 565830 w 565830"/>
                    <a:gd name="connsiteY1" fmla="*/ 0 h 660135"/>
                    <a:gd name="connsiteX2" fmla="*/ 565830 w 565830"/>
                    <a:gd name="connsiteY2" fmla="*/ 660135 h 660135"/>
                    <a:gd name="connsiteX3" fmla="*/ 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0" y="328182"/>
                      </a:moveTo>
                      <a:lnTo>
                        <a:pt x="565830" y="0"/>
                      </a:lnTo>
                      <a:lnTo>
                        <a:pt x="565830" y="660135"/>
                      </a:lnTo>
                      <a:lnTo>
                        <a:pt x="0" y="328182"/>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96" name="Freeform: Shape 95">
                <a:extLst>
                  <a:ext uri="{FF2B5EF4-FFF2-40B4-BE49-F238E27FC236}">
                    <a16:creationId xmlns:a16="http://schemas.microsoft.com/office/drawing/2014/main" id="{1E8FBF4A-06B5-4336-AF4C-1851CFB3F516}"/>
                  </a:ext>
                </a:extLst>
              </p:cNvPr>
              <p:cNvSpPr/>
              <p:nvPr/>
            </p:nvSpPr>
            <p:spPr>
              <a:xfrm>
                <a:off x="6073365" y="3148839"/>
                <a:ext cx="565830" cy="660135"/>
              </a:xfrm>
              <a:custGeom>
                <a:avLst/>
                <a:gdLst>
                  <a:gd name="connsiteX0" fmla="*/ 565830 w 565830"/>
                  <a:gd name="connsiteY0" fmla="*/ 328182 h 660135"/>
                  <a:gd name="connsiteX1" fmla="*/ 0 w 565830"/>
                  <a:gd name="connsiteY1" fmla="*/ 0 h 660135"/>
                  <a:gd name="connsiteX2" fmla="*/ 0 w 565830"/>
                  <a:gd name="connsiteY2" fmla="*/ 660135 h 660135"/>
                  <a:gd name="connsiteX3" fmla="*/ 56583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565830" y="328182"/>
                    </a:moveTo>
                    <a:lnTo>
                      <a:pt x="0" y="0"/>
                    </a:lnTo>
                    <a:lnTo>
                      <a:pt x="0" y="660135"/>
                    </a:lnTo>
                    <a:lnTo>
                      <a:pt x="565830" y="328182"/>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02" name="Group 101">
              <a:extLst>
                <a:ext uri="{FF2B5EF4-FFF2-40B4-BE49-F238E27FC236}">
                  <a16:creationId xmlns:a16="http://schemas.microsoft.com/office/drawing/2014/main" id="{E0481182-E2F3-471E-9C6B-B2CB7F5AAC8F}"/>
                </a:ext>
                <a:ext uri="{C183D7F6-B498-43B3-948B-1728B52AA6E4}">
                  <adec:decorative xmlns:adec="http://schemas.microsoft.com/office/drawing/2017/decorative" val="1"/>
                </a:ext>
              </a:extLst>
            </p:cNvPr>
            <p:cNvGrpSpPr/>
            <p:nvPr/>
          </p:nvGrpSpPr>
          <p:grpSpPr>
            <a:xfrm>
              <a:off x="5972631" y="2548149"/>
              <a:ext cx="751794" cy="877092"/>
              <a:chOff x="5507535" y="2488704"/>
              <a:chExt cx="1131660" cy="1320271"/>
            </a:xfrm>
            <a:effectLst>
              <a:outerShdw blurRad="63500" sx="102000" sy="102000" algn="ctr" rotWithShape="0">
                <a:prstClr val="black">
                  <a:alpha val="40000"/>
                </a:prstClr>
              </a:outerShdw>
            </a:effectLst>
          </p:grpSpPr>
          <p:grpSp>
            <p:nvGrpSpPr>
              <p:cNvPr id="103" name="Group 102">
                <a:extLst>
                  <a:ext uri="{FF2B5EF4-FFF2-40B4-BE49-F238E27FC236}">
                    <a16:creationId xmlns:a16="http://schemas.microsoft.com/office/drawing/2014/main" id="{99C2205C-D749-472D-A6C9-59D5758DE4B6}"/>
                  </a:ext>
                </a:extLst>
              </p:cNvPr>
              <p:cNvGrpSpPr/>
              <p:nvPr/>
            </p:nvGrpSpPr>
            <p:grpSpPr>
              <a:xfrm>
                <a:off x="5507535" y="2488704"/>
                <a:ext cx="1131660" cy="1320271"/>
                <a:chOff x="5507535" y="2488704"/>
                <a:chExt cx="1131660" cy="1320271"/>
              </a:xfrm>
            </p:grpSpPr>
            <p:sp>
              <p:nvSpPr>
                <p:cNvPr id="105" name="Freeform: Shape 104">
                  <a:extLst>
                    <a:ext uri="{FF2B5EF4-FFF2-40B4-BE49-F238E27FC236}">
                      <a16:creationId xmlns:a16="http://schemas.microsoft.com/office/drawing/2014/main" id="{ABBBD133-0CFF-42D9-989C-E50273F8BB92}"/>
                    </a:ext>
                  </a:extLst>
                </p:cNvPr>
                <p:cNvSpPr/>
                <p:nvPr/>
              </p:nvSpPr>
              <p:spPr>
                <a:xfrm>
                  <a:off x="6073365" y="2818772"/>
                  <a:ext cx="565830" cy="990203"/>
                </a:xfrm>
                <a:custGeom>
                  <a:avLst/>
                  <a:gdLst>
                    <a:gd name="connsiteX0" fmla="*/ 565830 w 565830"/>
                    <a:gd name="connsiteY0" fmla="*/ 0 h 990203"/>
                    <a:gd name="connsiteX1" fmla="*/ 565830 w 565830"/>
                    <a:gd name="connsiteY1" fmla="*/ 658249 h 990203"/>
                    <a:gd name="connsiteX2" fmla="*/ 0 w 565830"/>
                    <a:gd name="connsiteY2" fmla="*/ 990203 h 990203"/>
                    <a:gd name="connsiteX3" fmla="*/ 0 w 565830"/>
                    <a:gd name="connsiteY3" fmla="*/ 330068 h 990203"/>
                    <a:gd name="connsiteX4" fmla="*/ 565830 w 565830"/>
                    <a:gd name="connsiteY4" fmla="*/ 0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0"/>
                      </a:moveTo>
                      <a:lnTo>
                        <a:pt x="565830" y="658249"/>
                      </a:lnTo>
                      <a:lnTo>
                        <a:pt x="0" y="990203"/>
                      </a:lnTo>
                      <a:lnTo>
                        <a:pt x="0" y="330068"/>
                      </a:lnTo>
                      <a:lnTo>
                        <a:pt x="565830" y="0"/>
                      </a:lnTo>
                      <a:close/>
                    </a:path>
                  </a:pathLst>
                </a:custGeom>
                <a:solidFill>
                  <a:srgbClr val="50E6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Freeform: Shape 105">
                  <a:extLst>
                    <a:ext uri="{FF2B5EF4-FFF2-40B4-BE49-F238E27FC236}">
                      <a16:creationId xmlns:a16="http://schemas.microsoft.com/office/drawing/2014/main" id="{6CE1FC3A-74D1-4B34-94AF-4F5723B73429}"/>
                    </a:ext>
                  </a:extLst>
                </p:cNvPr>
                <p:cNvSpPr/>
                <p:nvPr/>
              </p:nvSpPr>
              <p:spPr>
                <a:xfrm>
                  <a:off x="5507535" y="2488704"/>
                  <a:ext cx="1131660" cy="662021"/>
                </a:xfrm>
                <a:custGeom>
                  <a:avLst/>
                  <a:gdLst>
                    <a:gd name="connsiteX0" fmla="*/ 1131661 w 1131660"/>
                    <a:gd name="connsiteY0" fmla="*/ 330068 h 662021"/>
                    <a:gd name="connsiteX1" fmla="*/ 565830 w 1131660"/>
                    <a:gd name="connsiteY1" fmla="*/ 662021 h 662021"/>
                    <a:gd name="connsiteX2" fmla="*/ 0 w 1131660"/>
                    <a:gd name="connsiteY2" fmla="*/ 330068 h 662021"/>
                    <a:gd name="connsiteX3" fmla="*/ 565830 w 1131660"/>
                    <a:gd name="connsiteY3" fmla="*/ 0 h 662021"/>
                    <a:gd name="connsiteX4" fmla="*/ 1131661 w 1131660"/>
                    <a:gd name="connsiteY4" fmla="*/ 330068 h 662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660" h="662021">
                      <a:moveTo>
                        <a:pt x="1131661" y="330068"/>
                      </a:moveTo>
                      <a:lnTo>
                        <a:pt x="565830" y="662021"/>
                      </a:lnTo>
                      <a:lnTo>
                        <a:pt x="0" y="330068"/>
                      </a:lnTo>
                      <a:lnTo>
                        <a:pt x="565830" y="0"/>
                      </a:lnTo>
                      <a:lnTo>
                        <a:pt x="1131661" y="330068"/>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Freeform: Shape 106">
                  <a:extLst>
                    <a:ext uri="{FF2B5EF4-FFF2-40B4-BE49-F238E27FC236}">
                      <a16:creationId xmlns:a16="http://schemas.microsoft.com/office/drawing/2014/main" id="{5C37DE25-00DC-445C-88DC-709564893415}"/>
                    </a:ext>
                  </a:extLst>
                </p:cNvPr>
                <p:cNvSpPr/>
                <p:nvPr/>
              </p:nvSpPr>
              <p:spPr>
                <a:xfrm>
                  <a:off x="5507535" y="2818772"/>
                  <a:ext cx="565830" cy="990203"/>
                </a:xfrm>
                <a:custGeom>
                  <a:avLst/>
                  <a:gdLst>
                    <a:gd name="connsiteX0" fmla="*/ 565830 w 565830"/>
                    <a:gd name="connsiteY0" fmla="*/ 331954 h 990203"/>
                    <a:gd name="connsiteX1" fmla="*/ 565830 w 565830"/>
                    <a:gd name="connsiteY1" fmla="*/ 990203 h 990203"/>
                    <a:gd name="connsiteX2" fmla="*/ 0 w 565830"/>
                    <a:gd name="connsiteY2" fmla="*/ 658249 h 990203"/>
                    <a:gd name="connsiteX3" fmla="*/ 0 w 565830"/>
                    <a:gd name="connsiteY3" fmla="*/ 0 h 990203"/>
                    <a:gd name="connsiteX4" fmla="*/ 565830 w 565830"/>
                    <a:gd name="connsiteY4" fmla="*/ 331954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331954"/>
                      </a:moveTo>
                      <a:lnTo>
                        <a:pt x="565830" y="990203"/>
                      </a:lnTo>
                      <a:lnTo>
                        <a:pt x="0" y="658249"/>
                      </a:lnTo>
                      <a:lnTo>
                        <a:pt x="0" y="0"/>
                      </a:lnTo>
                      <a:lnTo>
                        <a:pt x="565830" y="331954"/>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Freeform: Shape 107">
                  <a:extLst>
                    <a:ext uri="{FF2B5EF4-FFF2-40B4-BE49-F238E27FC236}">
                      <a16:creationId xmlns:a16="http://schemas.microsoft.com/office/drawing/2014/main" id="{0F799CC8-BE46-4E9C-84CD-909AA939AB67}"/>
                    </a:ext>
                  </a:extLst>
                </p:cNvPr>
                <p:cNvSpPr/>
                <p:nvPr/>
              </p:nvSpPr>
              <p:spPr>
                <a:xfrm>
                  <a:off x="5507535" y="3148839"/>
                  <a:ext cx="565830" cy="660135"/>
                </a:xfrm>
                <a:custGeom>
                  <a:avLst/>
                  <a:gdLst>
                    <a:gd name="connsiteX0" fmla="*/ 0 w 565830"/>
                    <a:gd name="connsiteY0" fmla="*/ 328182 h 660135"/>
                    <a:gd name="connsiteX1" fmla="*/ 565830 w 565830"/>
                    <a:gd name="connsiteY1" fmla="*/ 0 h 660135"/>
                    <a:gd name="connsiteX2" fmla="*/ 565830 w 565830"/>
                    <a:gd name="connsiteY2" fmla="*/ 660135 h 660135"/>
                    <a:gd name="connsiteX3" fmla="*/ 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0" y="328182"/>
                      </a:moveTo>
                      <a:lnTo>
                        <a:pt x="565830" y="0"/>
                      </a:lnTo>
                      <a:lnTo>
                        <a:pt x="565830" y="660135"/>
                      </a:lnTo>
                      <a:lnTo>
                        <a:pt x="0" y="328182"/>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4" name="Freeform: Shape 103">
                <a:extLst>
                  <a:ext uri="{FF2B5EF4-FFF2-40B4-BE49-F238E27FC236}">
                    <a16:creationId xmlns:a16="http://schemas.microsoft.com/office/drawing/2014/main" id="{AEBE29D5-A622-4DD7-ACF9-D8B8271B2151}"/>
                  </a:ext>
                </a:extLst>
              </p:cNvPr>
              <p:cNvSpPr/>
              <p:nvPr/>
            </p:nvSpPr>
            <p:spPr>
              <a:xfrm>
                <a:off x="6073365" y="3148839"/>
                <a:ext cx="565830" cy="660135"/>
              </a:xfrm>
              <a:custGeom>
                <a:avLst/>
                <a:gdLst>
                  <a:gd name="connsiteX0" fmla="*/ 565830 w 565830"/>
                  <a:gd name="connsiteY0" fmla="*/ 328182 h 660135"/>
                  <a:gd name="connsiteX1" fmla="*/ 0 w 565830"/>
                  <a:gd name="connsiteY1" fmla="*/ 0 h 660135"/>
                  <a:gd name="connsiteX2" fmla="*/ 0 w 565830"/>
                  <a:gd name="connsiteY2" fmla="*/ 660135 h 660135"/>
                  <a:gd name="connsiteX3" fmla="*/ 56583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565830" y="328182"/>
                    </a:moveTo>
                    <a:lnTo>
                      <a:pt x="0" y="0"/>
                    </a:lnTo>
                    <a:lnTo>
                      <a:pt x="0" y="660135"/>
                    </a:lnTo>
                    <a:lnTo>
                      <a:pt x="565830" y="328182"/>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09" name="Group 108">
              <a:extLst>
                <a:ext uri="{FF2B5EF4-FFF2-40B4-BE49-F238E27FC236}">
                  <a16:creationId xmlns:a16="http://schemas.microsoft.com/office/drawing/2014/main" id="{AA802C79-2E33-4BBB-B52A-6B24F565A68F}"/>
                </a:ext>
                <a:ext uri="{C183D7F6-B498-43B3-948B-1728B52AA6E4}">
                  <adec:decorative xmlns:adec="http://schemas.microsoft.com/office/drawing/2017/decorative" val="1"/>
                </a:ext>
              </a:extLst>
            </p:cNvPr>
            <p:cNvGrpSpPr/>
            <p:nvPr/>
          </p:nvGrpSpPr>
          <p:grpSpPr>
            <a:xfrm>
              <a:off x="6205572" y="2359004"/>
              <a:ext cx="751794" cy="877092"/>
              <a:chOff x="5507535" y="2488704"/>
              <a:chExt cx="1131660" cy="1320271"/>
            </a:xfrm>
            <a:effectLst>
              <a:outerShdw blurRad="63500" sx="102000" sy="102000" algn="ctr" rotWithShape="0">
                <a:prstClr val="black">
                  <a:alpha val="40000"/>
                </a:prstClr>
              </a:outerShdw>
            </a:effectLst>
          </p:grpSpPr>
          <p:grpSp>
            <p:nvGrpSpPr>
              <p:cNvPr id="110" name="Group 109">
                <a:extLst>
                  <a:ext uri="{FF2B5EF4-FFF2-40B4-BE49-F238E27FC236}">
                    <a16:creationId xmlns:a16="http://schemas.microsoft.com/office/drawing/2014/main" id="{48601F5E-E832-4D1B-BFCD-65B911082CEE}"/>
                  </a:ext>
                </a:extLst>
              </p:cNvPr>
              <p:cNvGrpSpPr/>
              <p:nvPr/>
            </p:nvGrpSpPr>
            <p:grpSpPr>
              <a:xfrm>
                <a:off x="5507535" y="2488704"/>
                <a:ext cx="1131660" cy="1320271"/>
                <a:chOff x="5507535" y="2488704"/>
                <a:chExt cx="1131660" cy="1320271"/>
              </a:xfrm>
            </p:grpSpPr>
            <p:sp>
              <p:nvSpPr>
                <p:cNvPr id="112" name="Freeform: Shape 111">
                  <a:extLst>
                    <a:ext uri="{FF2B5EF4-FFF2-40B4-BE49-F238E27FC236}">
                      <a16:creationId xmlns:a16="http://schemas.microsoft.com/office/drawing/2014/main" id="{537A9F78-520A-41A4-AD81-2B0598C0C21B}"/>
                    </a:ext>
                  </a:extLst>
                </p:cNvPr>
                <p:cNvSpPr/>
                <p:nvPr/>
              </p:nvSpPr>
              <p:spPr>
                <a:xfrm>
                  <a:off x="6073365" y="2818772"/>
                  <a:ext cx="565830" cy="990203"/>
                </a:xfrm>
                <a:custGeom>
                  <a:avLst/>
                  <a:gdLst>
                    <a:gd name="connsiteX0" fmla="*/ 565830 w 565830"/>
                    <a:gd name="connsiteY0" fmla="*/ 0 h 990203"/>
                    <a:gd name="connsiteX1" fmla="*/ 565830 w 565830"/>
                    <a:gd name="connsiteY1" fmla="*/ 658249 h 990203"/>
                    <a:gd name="connsiteX2" fmla="*/ 0 w 565830"/>
                    <a:gd name="connsiteY2" fmla="*/ 990203 h 990203"/>
                    <a:gd name="connsiteX3" fmla="*/ 0 w 565830"/>
                    <a:gd name="connsiteY3" fmla="*/ 330068 h 990203"/>
                    <a:gd name="connsiteX4" fmla="*/ 565830 w 565830"/>
                    <a:gd name="connsiteY4" fmla="*/ 0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0"/>
                      </a:moveTo>
                      <a:lnTo>
                        <a:pt x="565830" y="658249"/>
                      </a:lnTo>
                      <a:lnTo>
                        <a:pt x="0" y="990203"/>
                      </a:lnTo>
                      <a:lnTo>
                        <a:pt x="0" y="330068"/>
                      </a:lnTo>
                      <a:lnTo>
                        <a:pt x="565830" y="0"/>
                      </a:lnTo>
                      <a:close/>
                    </a:path>
                  </a:pathLst>
                </a:custGeom>
                <a:solidFill>
                  <a:srgbClr val="50E6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Freeform: Shape 112">
                  <a:extLst>
                    <a:ext uri="{FF2B5EF4-FFF2-40B4-BE49-F238E27FC236}">
                      <a16:creationId xmlns:a16="http://schemas.microsoft.com/office/drawing/2014/main" id="{CF9344CC-3892-4870-897C-3E11B6393F0E}"/>
                    </a:ext>
                  </a:extLst>
                </p:cNvPr>
                <p:cNvSpPr/>
                <p:nvPr/>
              </p:nvSpPr>
              <p:spPr>
                <a:xfrm>
                  <a:off x="5507535" y="2488704"/>
                  <a:ext cx="1131660" cy="662021"/>
                </a:xfrm>
                <a:custGeom>
                  <a:avLst/>
                  <a:gdLst>
                    <a:gd name="connsiteX0" fmla="*/ 1131661 w 1131660"/>
                    <a:gd name="connsiteY0" fmla="*/ 330068 h 662021"/>
                    <a:gd name="connsiteX1" fmla="*/ 565830 w 1131660"/>
                    <a:gd name="connsiteY1" fmla="*/ 662021 h 662021"/>
                    <a:gd name="connsiteX2" fmla="*/ 0 w 1131660"/>
                    <a:gd name="connsiteY2" fmla="*/ 330068 h 662021"/>
                    <a:gd name="connsiteX3" fmla="*/ 565830 w 1131660"/>
                    <a:gd name="connsiteY3" fmla="*/ 0 h 662021"/>
                    <a:gd name="connsiteX4" fmla="*/ 1131661 w 1131660"/>
                    <a:gd name="connsiteY4" fmla="*/ 330068 h 662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660" h="662021">
                      <a:moveTo>
                        <a:pt x="1131661" y="330068"/>
                      </a:moveTo>
                      <a:lnTo>
                        <a:pt x="565830" y="662021"/>
                      </a:lnTo>
                      <a:lnTo>
                        <a:pt x="0" y="330068"/>
                      </a:lnTo>
                      <a:lnTo>
                        <a:pt x="565830" y="0"/>
                      </a:lnTo>
                      <a:lnTo>
                        <a:pt x="1131661" y="330068"/>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Freeform: Shape 113">
                  <a:extLst>
                    <a:ext uri="{FF2B5EF4-FFF2-40B4-BE49-F238E27FC236}">
                      <a16:creationId xmlns:a16="http://schemas.microsoft.com/office/drawing/2014/main" id="{39D07A67-6374-400F-9F1D-61193F28BCBB}"/>
                    </a:ext>
                  </a:extLst>
                </p:cNvPr>
                <p:cNvSpPr/>
                <p:nvPr/>
              </p:nvSpPr>
              <p:spPr>
                <a:xfrm>
                  <a:off x="5507535" y="2818772"/>
                  <a:ext cx="565830" cy="990203"/>
                </a:xfrm>
                <a:custGeom>
                  <a:avLst/>
                  <a:gdLst>
                    <a:gd name="connsiteX0" fmla="*/ 565830 w 565830"/>
                    <a:gd name="connsiteY0" fmla="*/ 331954 h 990203"/>
                    <a:gd name="connsiteX1" fmla="*/ 565830 w 565830"/>
                    <a:gd name="connsiteY1" fmla="*/ 990203 h 990203"/>
                    <a:gd name="connsiteX2" fmla="*/ 0 w 565830"/>
                    <a:gd name="connsiteY2" fmla="*/ 658249 h 990203"/>
                    <a:gd name="connsiteX3" fmla="*/ 0 w 565830"/>
                    <a:gd name="connsiteY3" fmla="*/ 0 h 990203"/>
                    <a:gd name="connsiteX4" fmla="*/ 565830 w 565830"/>
                    <a:gd name="connsiteY4" fmla="*/ 331954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331954"/>
                      </a:moveTo>
                      <a:lnTo>
                        <a:pt x="565830" y="990203"/>
                      </a:lnTo>
                      <a:lnTo>
                        <a:pt x="0" y="658249"/>
                      </a:lnTo>
                      <a:lnTo>
                        <a:pt x="0" y="0"/>
                      </a:lnTo>
                      <a:lnTo>
                        <a:pt x="565830" y="331954"/>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Freeform: Shape 114">
                  <a:extLst>
                    <a:ext uri="{FF2B5EF4-FFF2-40B4-BE49-F238E27FC236}">
                      <a16:creationId xmlns:a16="http://schemas.microsoft.com/office/drawing/2014/main" id="{AFDA64F7-99C3-4951-95C8-62547B5B6F08}"/>
                    </a:ext>
                  </a:extLst>
                </p:cNvPr>
                <p:cNvSpPr/>
                <p:nvPr/>
              </p:nvSpPr>
              <p:spPr>
                <a:xfrm>
                  <a:off x="5507535" y="3148839"/>
                  <a:ext cx="565830" cy="660135"/>
                </a:xfrm>
                <a:custGeom>
                  <a:avLst/>
                  <a:gdLst>
                    <a:gd name="connsiteX0" fmla="*/ 0 w 565830"/>
                    <a:gd name="connsiteY0" fmla="*/ 328182 h 660135"/>
                    <a:gd name="connsiteX1" fmla="*/ 565830 w 565830"/>
                    <a:gd name="connsiteY1" fmla="*/ 0 h 660135"/>
                    <a:gd name="connsiteX2" fmla="*/ 565830 w 565830"/>
                    <a:gd name="connsiteY2" fmla="*/ 660135 h 660135"/>
                    <a:gd name="connsiteX3" fmla="*/ 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0" y="328182"/>
                      </a:moveTo>
                      <a:lnTo>
                        <a:pt x="565830" y="0"/>
                      </a:lnTo>
                      <a:lnTo>
                        <a:pt x="565830" y="660135"/>
                      </a:lnTo>
                      <a:lnTo>
                        <a:pt x="0" y="328182"/>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1" name="Freeform: Shape 110">
                <a:extLst>
                  <a:ext uri="{FF2B5EF4-FFF2-40B4-BE49-F238E27FC236}">
                    <a16:creationId xmlns:a16="http://schemas.microsoft.com/office/drawing/2014/main" id="{10B986B9-D9F6-4D2C-843A-77F5C7529C38}"/>
                  </a:ext>
                </a:extLst>
              </p:cNvPr>
              <p:cNvSpPr/>
              <p:nvPr/>
            </p:nvSpPr>
            <p:spPr>
              <a:xfrm>
                <a:off x="6073365" y="3148839"/>
                <a:ext cx="565830" cy="660135"/>
              </a:xfrm>
              <a:custGeom>
                <a:avLst/>
                <a:gdLst>
                  <a:gd name="connsiteX0" fmla="*/ 565830 w 565830"/>
                  <a:gd name="connsiteY0" fmla="*/ 328182 h 660135"/>
                  <a:gd name="connsiteX1" fmla="*/ 0 w 565830"/>
                  <a:gd name="connsiteY1" fmla="*/ 0 h 660135"/>
                  <a:gd name="connsiteX2" fmla="*/ 0 w 565830"/>
                  <a:gd name="connsiteY2" fmla="*/ 660135 h 660135"/>
                  <a:gd name="connsiteX3" fmla="*/ 56583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565830" y="328182"/>
                    </a:moveTo>
                    <a:lnTo>
                      <a:pt x="0" y="0"/>
                    </a:lnTo>
                    <a:lnTo>
                      <a:pt x="0" y="660135"/>
                    </a:lnTo>
                    <a:lnTo>
                      <a:pt x="565830" y="328182"/>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 name="Title 2">
            <a:extLst>
              <a:ext uri="{FF2B5EF4-FFF2-40B4-BE49-F238E27FC236}">
                <a16:creationId xmlns:a16="http://schemas.microsoft.com/office/drawing/2014/main" id="{CFDF793C-A00D-14C7-9F5E-8115686650A8}"/>
              </a:ext>
            </a:extLst>
          </p:cNvPr>
          <p:cNvSpPr>
            <a:spLocks noGrp="1"/>
          </p:cNvSpPr>
          <p:nvPr>
            <p:ph type="title"/>
          </p:nvPr>
        </p:nvSpPr>
        <p:spPr/>
        <p:txBody>
          <a:bodyPr/>
          <a:lstStyle/>
          <a:p>
            <a:r>
              <a:rPr lang="en-US"/>
              <a:t>Scale up vs. scale out</a:t>
            </a:r>
          </a:p>
        </p:txBody>
      </p:sp>
      <p:grpSp>
        <p:nvGrpSpPr>
          <p:cNvPr id="49" name="Group 48">
            <a:extLst>
              <a:ext uri="{FF2B5EF4-FFF2-40B4-BE49-F238E27FC236}">
                <a16:creationId xmlns:a16="http://schemas.microsoft.com/office/drawing/2014/main" id="{06CABC0E-946C-CFC9-7339-653202616FDA}"/>
              </a:ext>
            </a:extLst>
          </p:cNvPr>
          <p:cNvGrpSpPr/>
          <p:nvPr/>
        </p:nvGrpSpPr>
        <p:grpSpPr>
          <a:xfrm>
            <a:off x="7389986" y="1691201"/>
            <a:ext cx="3310328" cy="2469209"/>
            <a:chOff x="3816096" y="1740487"/>
            <a:chExt cx="4575987" cy="3413277"/>
          </a:xfrm>
          <a:effectLst>
            <a:glow rad="139700">
              <a:schemeClr val="bg1">
                <a:alpha val="11000"/>
              </a:schemeClr>
            </a:glow>
          </a:effectLst>
        </p:grpSpPr>
        <p:grpSp>
          <p:nvGrpSpPr>
            <p:cNvPr id="53" name="Group 52">
              <a:extLst>
                <a:ext uri="{FF2B5EF4-FFF2-40B4-BE49-F238E27FC236}">
                  <a16:creationId xmlns:a16="http://schemas.microsoft.com/office/drawing/2014/main" id="{F7D8BF60-DE9D-7FEA-7BE1-6E2042F36A64}"/>
                </a:ext>
                <a:ext uri="{C183D7F6-B498-43B3-948B-1728B52AA6E4}">
                  <adec:decorative xmlns:adec="http://schemas.microsoft.com/office/drawing/2017/decorative" val="1"/>
                </a:ext>
              </a:extLst>
            </p:cNvPr>
            <p:cNvGrpSpPr/>
            <p:nvPr/>
          </p:nvGrpSpPr>
          <p:grpSpPr>
            <a:xfrm>
              <a:off x="5949131" y="1740487"/>
              <a:ext cx="2442952" cy="2257015"/>
              <a:chOff x="4375874" y="2017179"/>
              <a:chExt cx="3394982" cy="3136585"/>
            </a:xfrm>
            <a:effectLst>
              <a:outerShdw blurRad="63500" sx="102000" sy="102000" algn="ctr" rotWithShape="0">
                <a:prstClr val="black">
                  <a:alpha val="40000"/>
                </a:prstClr>
              </a:outerShdw>
            </a:effectLst>
          </p:grpSpPr>
          <p:sp>
            <p:nvSpPr>
              <p:cNvPr id="165" name="Freeform: Shape 164">
                <a:extLst>
                  <a:ext uri="{FF2B5EF4-FFF2-40B4-BE49-F238E27FC236}">
                    <a16:creationId xmlns:a16="http://schemas.microsoft.com/office/drawing/2014/main" id="{64560BA4-2BED-6151-C1D4-6FE0F814EE71}"/>
                  </a:ext>
                </a:extLst>
              </p:cNvPr>
              <p:cNvSpPr/>
              <p:nvPr/>
            </p:nvSpPr>
            <p:spPr>
              <a:xfrm>
                <a:off x="4375874" y="2017179"/>
                <a:ext cx="3394982" cy="2263321"/>
              </a:xfrm>
              <a:custGeom>
                <a:avLst/>
                <a:gdLst>
                  <a:gd name="connsiteX0" fmla="*/ 3281816 w 3394982"/>
                  <a:gd name="connsiteY0" fmla="*/ 0 h 2263321"/>
                  <a:gd name="connsiteX1" fmla="*/ 3394982 w 3394982"/>
                  <a:gd name="connsiteY1" fmla="*/ 0 h 2263321"/>
                  <a:gd name="connsiteX2" fmla="*/ 3394982 w 3394982"/>
                  <a:gd name="connsiteY2" fmla="*/ 2263321 h 2263321"/>
                  <a:gd name="connsiteX3" fmla="*/ 3281816 w 3394982"/>
                  <a:gd name="connsiteY3" fmla="*/ 2263321 h 2263321"/>
                  <a:gd name="connsiteX4" fmla="*/ 113166 w 3394982"/>
                  <a:gd name="connsiteY4" fmla="*/ 2263321 h 2263321"/>
                  <a:gd name="connsiteX5" fmla="*/ 0 w 3394982"/>
                  <a:gd name="connsiteY5" fmla="*/ 2263321 h 2263321"/>
                  <a:gd name="connsiteX6" fmla="*/ 0 w 3394982"/>
                  <a:gd name="connsiteY6" fmla="*/ 0 h 2263321"/>
                  <a:gd name="connsiteX7" fmla="*/ 113166 w 3394982"/>
                  <a:gd name="connsiteY7" fmla="*/ 0 h 2263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4982" h="2263321">
                    <a:moveTo>
                      <a:pt x="3281816" y="0"/>
                    </a:moveTo>
                    <a:cubicBezTo>
                      <a:pt x="3344316" y="0"/>
                      <a:pt x="3394982" y="0"/>
                      <a:pt x="3394982" y="0"/>
                    </a:cubicBezTo>
                    <a:lnTo>
                      <a:pt x="3394982" y="2263321"/>
                    </a:lnTo>
                    <a:cubicBezTo>
                      <a:pt x="3394982" y="2263321"/>
                      <a:pt x="3344316" y="2263321"/>
                      <a:pt x="3281816" y="2263321"/>
                    </a:cubicBezTo>
                    <a:lnTo>
                      <a:pt x="113166" y="2263321"/>
                    </a:lnTo>
                    <a:cubicBezTo>
                      <a:pt x="50666" y="2263321"/>
                      <a:pt x="0" y="2263321"/>
                      <a:pt x="0" y="2263321"/>
                    </a:cubicBezTo>
                    <a:lnTo>
                      <a:pt x="0" y="0"/>
                    </a:lnTo>
                    <a:cubicBezTo>
                      <a:pt x="0" y="0"/>
                      <a:pt x="50666" y="0"/>
                      <a:pt x="113166" y="0"/>
                    </a:cubicBezTo>
                    <a:close/>
                  </a:path>
                </a:pathLst>
              </a:custGeom>
              <a:solidFill>
                <a:srgbClr val="0078D4"/>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66" name="Group 165">
                <a:extLst>
                  <a:ext uri="{FF2B5EF4-FFF2-40B4-BE49-F238E27FC236}">
                    <a16:creationId xmlns:a16="http://schemas.microsoft.com/office/drawing/2014/main" id="{5FDA1237-803E-A338-AEF0-73D8A225827D}"/>
                  </a:ext>
                </a:extLst>
              </p:cNvPr>
              <p:cNvGrpSpPr/>
              <p:nvPr/>
            </p:nvGrpSpPr>
            <p:grpSpPr>
              <a:xfrm>
                <a:off x="5344212" y="3032831"/>
                <a:ext cx="751794" cy="877092"/>
                <a:chOff x="5507535" y="2488704"/>
                <a:chExt cx="1131660" cy="1320271"/>
              </a:xfrm>
              <a:effectLst>
                <a:outerShdw blurRad="63500" sx="102000" sy="102000" algn="ctr" rotWithShape="0">
                  <a:prstClr val="black">
                    <a:alpha val="40000"/>
                  </a:prstClr>
                </a:outerShdw>
              </a:effectLst>
            </p:grpSpPr>
            <p:grpSp>
              <p:nvGrpSpPr>
                <p:cNvPr id="196" name="Group 195">
                  <a:extLst>
                    <a:ext uri="{FF2B5EF4-FFF2-40B4-BE49-F238E27FC236}">
                      <a16:creationId xmlns:a16="http://schemas.microsoft.com/office/drawing/2014/main" id="{71C642D9-2CD5-461B-8220-F1C8C1D3CE68}"/>
                    </a:ext>
                  </a:extLst>
                </p:cNvPr>
                <p:cNvGrpSpPr/>
                <p:nvPr/>
              </p:nvGrpSpPr>
              <p:grpSpPr>
                <a:xfrm>
                  <a:off x="5507535" y="2488704"/>
                  <a:ext cx="1131660" cy="1320271"/>
                  <a:chOff x="5507535" y="2488704"/>
                  <a:chExt cx="1131660" cy="1320271"/>
                </a:xfrm>
              </p:grpSpPr>
              <p:sp>
                <p:nvSpPr>
                  <p:cNvPr id="198" name="Freeform: Shape 197">
                    <a:extLst>
                      <a:ext uri="{FF2B5EF4-FFF2-40B4-BE49-F238E27FC236}">
                        <a16:creationId xmlns:a16="http://schemas.microsoft.com/office/drawing/2014/main" id="{6D759DEE-C6BE-7050-5D68-01A05CC1F13F}"/>
                      </a:ext>
                    </a:extLst>
                  </p:cNvPr>
                  <p:cNvSpPr/>
                  <p:nvPr/>
                </p:nvSpPr>
                <p:spPr>
                  <a:xfrm>
                    <a:off x="6073365" y="2818772"/>
                    <a:ext cx="565830" cy="990203"/>
                  </a:xfrm>
                  <a:custGeom>
                    <a:avLst/>
                    <a:gdLst>
                      <a:gd name="connsiteX0" fmla="*/ 565830 w 565830"/>
                      <a:gd name="connsiteY0" fmla="*/ 0 h 990203"/>
                      <a:gd name="connsiteX1" fmla="*/ 565830 w 565830"/>
                      <a:gd name="connsiteY1" fmla="*/ 658249 h 990203"/>
                      <a:gd name="connsiteX2" fmla="*/ 0 w 565830"/>
                      <a:gd name="connsiteY2" fmla="*/ 990203 h 990203"/>
                      <a:gd name="connsiteX3" fmla="*/ 0 w 565830"/>
                      <a:gd name="connsiteY3" fmla="*/ 330068 h 990203"/>
                      <a:gd name="connsiteX4" fmla="*/ 565830 w 565830"/>
                      <a:gd name="connsiteY4" fmla="*/ 0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0"/>
                        </a:moveTo>
                        <a:lnTo>
                          <a:pt x="565830" y="658249"/>
                        </a:lnTo>
                        <a:lnTo>
                          <a:pt x="0" y="990203"/>
                        </a:lnTo>
                        <a:lnTo>
                          <a:pt x="0" y="330068"/>
                        </a:lnTo>
                        <a:lnTo>
                          <a:pt x="565830" y="0"/>
                        </a:lnTo>
                        <a:close/>
                      </a:path>
                    </a:pathLst>
                  </a:custGeom>
                  <a:solidFill>
                    <a:srgbClr val="50E6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9" name="Freeform: Shape 198">
                    <a:extLst>
                      <a:ext uri="{FF2B5EF4-FFF2-40B4-BE49-F238E27FC236}">
                        <a16:creationId xmlns:a16="http://schemas.microsoft.com/office/drawing/2014/main" id="{D56F1A01-F8CC-17BD-C652-9CB4F29B43AD}"/>
                      </a:ext>
                    </a:extLst>
                  </p:cNvPr>
                  <p:cNvSpPr/>
                  <p:nvPr/>
                </p:nvSpPr>
                <p:spPr>
                  <a:xfrm>
                    <a:off x="5507535" y="2488704"/>
                    <a:ext cx="1131660" cy="662021"/>
                  </a:xfrm>
                  <a:custGeom>
                    <a:avLst/>
                    <a:gdLst>
                      <a:gd name="connsiteX0" fmla="*/ 1131661 w 1131660"/>
                      <a:gd name="connsiteY0" fmla="*/ 330068 h 662021"/>
                      <a:gd name="connsiteX1" fmla="*/ 565830 w 1131660"/>
                      <a:gd name="connsiteY1" fmla="*/ 662021 h 662021"/>
                      <a:gd name="connsiteX2" fmla="*/ 0 w 1131660"/>
                      <a:gd name="connsiteY2" fmla="*/ 330068 h 662021"/>
                      <a:gd name="connsiteX3" fmla="*/ 565830 w 1131660"/>
                      <a:gd name="connsiteY3" fmla="*/ 0 h 662021"/>
                      <a:gd name="connsiteX4" fmla="*/ 1131661 w 1131660"/>
                      <a:gd name="connsiteY4" fmla="*/ 330068 h 662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660" h="662021">
                        <a:moveTo>
                          <a:pt x="1131661" y="330068"/>
                        </a:moveTo>
                        <a:lnTo>
                          <a:pt x="565830" y="662021"/>
                        </a:lnTo>
                        <a:lnTo>
                          <a:pt x="0" y="330068"/>
                        </a:lnTo>
                        <a:lnTo>
                          <a:pt x="565830" y="0"/>
                        </a:lnTo>
                        <a:lnTo>
                          <a:pt x="1131661" y="330068"/>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0" name="Freeform: Shape 199">
                    <a:extLst>
                      <a:ext uri="{FF2B5EF4-FFF2-40B4-BE49-F238E27FC236}">
                        <a16:creationId xmlns:a16="http://schemas.microsoft.com/office/drawing/2014/main" id="{0489DCA2-327E-C08F-8BFA-34BB8FA264C1}"/>
                      </a:ext>
                    </a:extLst>
                  </p:cNvPr>
                  <p:cNvSpPr/>
                  <p:nvPr/>
                </p:nvSpPr>
                <p:spPr>
                  <a:xfrm>
                    <a:off x="5507535" y="2818772"/>
                    <a:ext cx="565830" cy="990203"/>
                  </a:xfrm>
                  <a:custGeom>
                    <a:avLst/>
                    <a:gdLst>
                      <a:gd name="connsiteX0" fmla="*/ 565830 w 565830"/>
                      <a:gd name="connsiteY0" fmla="*/ 331954 h 990203"/>
                      <a:gd name="connsiteX1" fmla="*/ 565830 w 565830"/>
                      <a:gd name="connsiteY1" fmla="*/ 990203 h 990203"/>
                      <a:gd name="connsiteX2" fmla="*/ 0 w 565830"/>
                      <a:gd name="connsiteY2" fmla="*/ 658249 h 990203"/>
                      <a:gd name="connsiteX3" fmla="*/ 0 w 565830"/>
                      <a:gd name="connsiteY3" fmla="*/ 0 h 990203"/>
                      <a:gd name="connsiteX4" fmla="*/ 565830 w 565830"/>
                      <a:gd name="connsiteY4" fmla="*/ 331954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331954"/>
                        </a:moveTo>
                        <a:lnTo>
                          <a:pt x="565830" y="990203"/>
                        </a:lnTo>
                        <a:lnTo>
                          <a:pt x="0" y="658249"/>
                        </a:lnTo>
                        <a:lnTo>
                          <a:pt x="0" y="0"/>
                        </a:lnTo>
                        <a:lnTo>
                          <a:pt x="565830" y="331954"/>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 name="Freeform: Shape 200">
                    <a:extLst>
                      <a:ext uri="{FF2B5EF4-FFF2-40B4-BE49-F238E27FC236}">
                        <a16:creationId xmlns:a16="http://schemas.microsoft.com/office/drawing/2014/main" id="{79E0D079-6B3E-36E1-B6EC-9B615799DAF1}"/>
                      </a:ext>
                    </a:extLst>
                  </p:cNvPr>
                  <p:cNvSpPr/>
                  <p:nvPr/>
                </p:nvSpPr>
                <p:spPr>
                  <a:xfrm>
                    <a:off x="5507535" y="3148839"/>
                    <a:ext cx="565830" cy="660135"/>
                  </a:xfrm>
                  <a:custGeom>
                    <a:avLst/>
                    <a:gdLst>
                      <a:gd name="connsiteX0" fmla="*/ 0 w 565830"/>
                      <a:gd name="connsiteY0" fmla="*/ 328182 h 660135"/>
                      <a:gd name="connsiteX1" fmla="*/ 565830 w 565830"/>
                      <a:gd name="connsiteY1" fmla="*/ 0 h 660135"/>
                      <a:gd name="connsiteX2" fmla="*/ 565830 w 565830"/>
                      <a:gd name="connsiteY2" fmla="*/ 660135 h 660135"/>
                      <a:gd name="connsiteX3" fmla="*/ 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0" y="328182"/>
                        </a:moveTo>
                        <a:lnTo>
                          <a:pt x="565830" y="0"/>
                        </a:lnTo>
                        <a:lnTo>
                          <a:pt x="565830" y="660135"/>
                        </a:lnTo>
                        <a:lnTo>
                          <a:pt x="0" y="328182"/>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97" name="Freeform: Shape 196">
                  <a:extLst>
                    <a:ext uri="{FF2B5EF4-FFF2-40B4-BE49-F238E27FC236}">
                      <a16:creationId xmlns:a16="http://schemas.microsoft.com/office/drawing/2014/main" id="{F3BB240E-A94C-7F46-5D97-08BF947C1D47}"/>
                    </a:ext>
                  </a:extLst>
                </p:cNvPr>
                <p:cNvSpPr/>
                <p:nvPr/>
              </p:nvSpPr>
              <p:spPr>
                <a:xfrm>
                  <a:off x="6073365" y="3148839"/>
                  <a:ext cx="565830" cy="660135"/>
                </a:xfrm>
                <a:custGeom>
                  <a:avLst/>
                  <a:gdLst>
                    <a:gd name="connsiteX0" fmla="*/ 565830 w 565830"/>
                    <a:gd name="connsiteY0" fmla="*/ 328182 h 660135"/>
                    <a:gd name="connsiteX1" fmla="*/ 0 w 565830"/>
                    <a:gd name="connsiteY1" fmla="*/ 0 h 660135"/>
                    <a:gd name="connsiteX2" fmla="*/ 0 w 565830"/>
                    <a:gd name="connsiteY2" fmla="*/ 660135 h 660135"/>
                    <a:gd name="connsiteX3" fmla="*/ 56583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565830" y="328182"/>
                      </a:moveTo>
                      <a:lnTo>
                        <a:pt x="0" y="0"/>
                      </a:lnTo>
                      <a:lnTo>
                        <a:pt x="0" y="660135"/>
                      </a:lnTo>
                      <a:lnTo>
                        <a:pt x="565830" y="328182"/>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7" name="Freeform: Shape 166">
                <a:extLst>
                  <a:ext uri="{FF2B5EF4-FFF2-40B4-BE49-F238E27FC236}">
                    <a16:creationId xmlns:a16="http://schemas.microsoft.com/office/drawing/2014/main" id="{534AD59B-B921-72DB-4B89-49A78C412787}"/>
                  </a:ext>
                </a:extLst>
              </p:cNvPr>
              <p:cNvSpPr/>
              <p:nvPr/>
            </p:nvSpPr>
            <p:spPr>
              <a:xfrm>
                <a:off x="5224616" y="4280500"/>
                <a:ext cx="1697498" cy="873264"/>
              </a:xfrm>
              <a:custGeom>
                <a:avLst/>
                <a:gdLst>
                  <a:gd name="connsiteX0" fmla="*/ 1529632 w 1697498"/>
                  <a:gd name="connsiteY0" fmla="*/ 684655 h 873264"/>
                  <a:gd name="connsiteX1" fmla="*/ 1180703 w 1697498"/>
                  <a:gd name="connsiteY1" fmla="*/ 0 h 873264"/>
                  <a:gd name="connsiteX2" fmla="*/ 514909 w 1697498"/>
                  <a:gd name="connsiteY2" fmla="*/ 0 h 873264"/>
                  <a:gd name="connsiteX3" fmla="*/ 167867 w 1697498"/>
                  <a:gd name="connsiteY3" fmla="*/ 684655 h 873264"/>
                  <a:gd name="connsiteX4" fmla="*/ 4 w 1697498"/>
                  <a:gd name="connsiteY4" fmla="*/ 873265 h 873264"/>
                  <a:gd name="connsiteX5" fmla="*/ 1697495 w 1697498"/>
                  <a:gd name="connsiteY5" fmla="*/ 873265 h 873264"/>
                  <a:gd name="connsiteX6" fmla="*/ 1529632 w 1697498"/>
                  <a:gd name="connsiteY6" fmla="*/ 684655 h 87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7498" h="873264">
                    <a:moveTo>
                      <a:pt x="1529632" y="684655"/>
                    </a:moveTo>
                    <a:cubicBezTo>
                      <a:pt x="1193906" y="631844"/>
                      <a:pt x="1180703" y="390423"/>
                      <a:pt x="1180703" y="0"/>
                    </a:cubicBezTo>
                    <a:lnTo>
                      <a:pt x="514909" y="0"/>
                    </a:lnTo>
                    <a:cubicBezTo>
                      <a:pt x="514909" y="390423"/>
                      <a:pt x="503593" y="631844"/>
                      <a:pt x="167867" y="684655"/>
                    </a:cubicBezTo>
                    <a:cubicBezTo>
                      <a:pt x="71877" y="695274"/>
                      <a:pt x="-583" y="776696"/>
                      <a:pt x="4" y="873265"/>
                    </a:cubicBezTo>
                    <a:lnTo>
                      <a:pt x="1697495" y="873265"/>
                    </a:lnTo>
                    <a:cubicBezTo>
                      <a:pt x="1698079" y="776696"/>
                      <a:pt x="1625615" y="695274"/>
                      <a:pt x="1529632" y="684655"/>
                    </a:cubicBezTo>
                    <a:close/>
                  </a:path>
                </a:pathLst>
              </a:custGeom>
              <a:solidFill>
                <a:srgbClr val="CCCCCC"/>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68" name="Group 167">
                <a:extLst>
                  <a:ext uri="{FF2B5EF4-FFF2-40B4-BE49-F238E27FC236}">
                    <a16:creationId xmlns:a16="http://schemas.microsoft.com/office/drawing/2014/main" id="{267C0DFA-9AA3-3DC0-766A-3FCC83FC1F36}"/>
                  </a:ext>
                </a:extLst>
              </p:cNvPr>
              <p:cNvGrpSpPr/>
              <p:nvPr/>
            </p:nvGrpSpPr>
            <p:grpSpPr>
              <a:xfrm>
                <a:off x="5582949" y="2836256"/>
                <a:ext cx="751794" cy="877092"/>
                <a:chOff x="5507535" y="2488704"/>
                <a:chExt cx="1131660" cy="1320271"/>
              </a:xfrm>
              <a:effectLst>
                <a:outerShdw blurRad="63500" sx="102000" sy="102000" algn="ctr" rotWithShape="0">
                  <a:prstClr val="black">
                    <a:alpha val="40000"/>
                  </a:prstClr>
                </a:outerShdw>
              </a:effectLst>
            </p:grpSpPr>
            <p:grpSp>
              <p:nvGrpSpPr>
                <p:cNvPr id="190" name="Group 189">
                  <a:extLst>
                    <a:ext uri="{FF2B5EF4-FFF2-40B4-BE49-F238E27FC236}">
                      <a16:creationId xmlns:a16="http://schemas.microsoft.com/office/drawing/2014/main" id="{C6B9D259-D6AA-F384-5187-6082B733A35F}"/>
                    </a:ext>
                  </a:extLst>
                </p:cNvPr>
                <p:cNvGrpSpPr/>
                <p:nvPr/>
              </p:nvGrpSpPr>
              <p:grpSpPr>
                <a:xfrm>
                  <a:off x="5507535" y="2488704"/>
                  <a:ext cx="1131660" cy="1320271"/>
                  <a:chOff x="5507535" y="2488704"/>
                  <a:chExt cx="1131660" cy="1320271"/>
                </a:xfrm>
              </p:grpSpPr>
              <p:sp>
                <p:nvSpPr>
                  <p:cNvPr id="192" name="Freeform: Shape 191">
                    <a:extLst>
                      <a:ext uri="{FF2B5EF4-FFF2-40B4-BE49-F238E27FC236}">
                        <a16:creationId xmlns:a16="http://schemas.microsoft.com/office/drawing/2014/main" id="{64C1CC6A-E7C4-26F4-6161-4571BE5F8CD9}"/>
                      </a:ext>
                    </a:extLst>
                  </p:cNvPr>
                  <p:cNvSpPr/>
                  <p:nvPr/>
                </p:nvSpPr>
                <p:spPr>
                  <a:xfrm>
                    <a:off x="6073365" y="2818772"/>
                    <a:ext cx="565830" cy="990203"/>
                  </a:xfrm>
                  <a:custGeom>
                    <a:avLst/>
                    <a:gdLst>
                      <a:gd name="connsiteX0" fmla="*/ 565830 w 565830"/>
                      <a:gd name="connsiteY0" fmla="*/ 0 h 990203"/>
                      <a:gd name="connsiteX1" fmla="*/ 565830 w 565830"/>
                      <a:gd name="connsiteY1" fmla="*/ 658249 h 990203"/>
                      <a:gd name="connsiteX2" fmla="*/ 0 w 565830"/>
                      <a:gd name="connsiteY2" fmla="*/ 990203 h 990203"/>
                      <a:gd name="connsiteX3" fmla="*/ 0 w 565830"/>
                      <a:gd name="connsiteY3" fmla="*/ 330068 h 990203"/>
                      <a:gd name="connsiteX4" fmla="*/ 565830 w 565830"/>
                      <a:gd name="connsiteY4" fmla="*/ 0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0"/>
                        </a:moveTo>
                        <a:lnTo>
                          <a:pt x="565830" y="658249"/>
                        </a:lnTo>
                        <a:lnTo>
                          <a:pt x="0" y="990203"/>
                        </a:lnTo>
                        <a:lnTo>
                          <a:pt x="0" y="330068"/>
                        </a:lnTo>
                        <a:lnTo>
                          <a:pt x="565830" y="0"/>
                        </a:lnTo>
                        <a:close/>
                      </a:path>
                    </a:pathLst>
                  </a:custGeom>
                  <a:solidFill>
                    <a:srgbClr val="50E6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 name="Freeform: Shape 192">
                    <a:extLst>
                      <a:ext uri="{FF2B5EF4-FFF2-40B4-BE49-F238E27FC236}">
                        <a16:creationId xmlns:a16="http://schemas.microsoft.com/office/drawing/2014/main" id="{C0873BB6-E1BF-83FF-90E2-D3E5C8DFD151}"/>
                      </a:ext>
                    </a:extLst>
                  </p:cNvPr>
                  <p:cNvSpPr/>
                  <p:nvPr/>
                </p:nvSpPr>
                <p:spPr>
                  <a:xfrm>
                    <a:off x="5507535" y="2488704"/>
                    <a:ext cx="1131660" cy="662021"/>
                  </a:xfrm>
                  <a:custGeom>
                    <a:avLst/>
                    <a:gdLst>
                      <a:gd name="connsiteX0" fmla="*/ 1131661 w 1131660"/>
                      <a:gd name="connsiteY0" fmla="*/ 330068 h 662021"/>
                      <a:gd name="connsiteX1" fmla="*/ 565830 w 1131660"/>
                      <a:gd name="connsiteY1" fmla="*/ 662021 h 662021"/>
                      <a:gd name="connsiteX2" fmla="*/ 0 w 1131660"/>
                      <a:gd name="connsiteY2" fmla="*/ 330068 h 662021"/>
                      <a:gd name="connsiteX3" fmla="*/ 565830 w 1131660"/>
                      <a:gd name="connsiteY3" fmla="*/ 0 h 662021"/>
                      <a:gd name="connsiteX4" fmla="*/ 1131661 w 1131660"/>
                      <a:gd name="connsiteY4" fmla="*/ 330068 h 662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660" h="662021">
                        <a:moveTo>
                          <a:pt x="1131661" y="330068"/>
                        </a:moveTo>
                        <a:lnTo>
                          <a:pt x="565830" y="662021"/>
                        </a:lnTo>
                        <a:lnTo>
                          <a:pt x="0" y="330068"/>
                        </a:lnTo>
                        <a:lnTo>
                          <a:pt x="565830" y="0"/>
                        </a:lnTo>
                        <a:lnTo>
                          <a:pt x="1131661" y="330068"/>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 name="Freeform: Shape 193">
                    <a:extLst>
                      <a:ext uri="{FF2B5EF4-FFF2-40B4-BE49-F238E27FC236}">
                        <a16:creationId xmlns:a16="http://schemas.microsoft.com/office/drawing/2014/main" id="{90CFECE6-320C-44BC-16F9-A8C251CE8715}"/>
                      </a:ext>
                    </a:extLst>
                  </p:cNvPr>
                  <p:cNvSpPr/>
                  <p:nvPr/>
                </p:nvSpPr>
                <p:spPr>
                  <a:xfrm>
                    <a:off x="5507535" y="2818772"/>
                    <a:ext cx="565830" cy="990203"/>
                  </a:xfrm>
                  <a:custGeom>
                    <a:avLst/>
                    <a:gdLst>
                      <a:gd name="connsiteX0" fmla="*/ 565830 w 565830"/>
                      <a:gd name="connsiteY0" fmla="*/ 331954 h 990203"/>
                      <a:gd name="connsiteX1" fmla="*/ 565830 w 565830"/>
                      <a:gd name="connsiteY1" fmla="*/ 990203 h 990203"/>
                      <a:gd name="connsiteX2" fmla="*/ 0 w 565830"/>
                      <a:gd name="connsiteY2" fmla="*/ 658249 h 990203"/>
                      <a:gd name="connsiteX3" fmla="*/ 0 w 565830"/>
                      <a:gd name="connsiteY3" fmla="*/ 0 h 990203"/>
                      <a:gd name="connsiteX4" fmla="*/ 565830 w 565830"/>
                      <a:gd name="connsiteY4" fmla="*/ 331954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331954"/>
                        </a:moveTo>
                        <a:lnTo>
                          <a:pt x="565830" y="990203"/>
                        </a:lnTo>
                        <a:lnTo>
                          <a:pt x="0" y="658249"/>
                        </a:lnTo>
                        <a:lnTo>
                          <a:pt x="0" y="0"/>
                        </a:lnTo>
                        <a:lnTo>
                          <a:pt x="565830" y="331954"/>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5" name="Freeform: Shape 194">
                    <a:extLst>
                      <a:ext uri="{FF2B5EF4-FFF2-40B4-BE49-F238E27FC236}">
                        <a16:creationId xmlns:a16="http://schemas.microsoft.com/office/drawing/2014/main" id="{1C3F68A9-17BB-3DB1-12E7-D41016B05AC6}"/>
                      </a:ext>
                    </a:extLst>
                  </p:cNvPr>
                  <p:cNvSpPr/>
                  <p:nvPr/>
                </p:nvSpPr>
                <p:spPr>
                  <a:xfrm>
                    <a:off x="5507535" y="3148839"/>
                    <a:ext cx="565830" cy="660135"/>
                  </a:xfrm>
                  <a:custGeom>
                    <a:avLst/>
                    <a:gdLst>
                      <a:gd name="connsiteX0" fmla="*/ 0 w 565830"/>
                      <a:gd name="connsiteY0" fmla="*/ 328182 h 660135"/>
                      <a:gd name="connsiteX1" fmla="*/ 565830 w 565830"/>
                      <a:gd name="connsiteY1" fmla="*/ 0 h 660135"/>
                      <a:gd name="connsiteX2" fmla="*/ 565830 w 565830"/>
                      <a:gd name="connsiteY2" fmla="*/ 660135 h 660135"/>
                      <a:gd name="connsiteX3" fmla="*/ 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0" y="328182"/>
                        </a:moveTo>
                        <a:lnTo>
                          <a:pt x="565830" y="0"/>
                        </a:lnTo>
                        <a:lnTo>
                          <a:pt x="565830" y="660135"/>
                        </a:lnTo>
                        <a:lnTo>
                          <a:pt x="0" y="328182"/>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91" name="Freeform: Shape 190">
                  <a:extLst>
                    <a:ext uri="{FF2B5EF4-FFF2-40B4-BE49-F238E27FC236}">
                      <a16:creationId xmlns:a16="http://schemas.microsoft.com/office/drawing/2014/main" id="{D9A9B7E3-046A-15F2-164F-FC186EA818B3}"/>
                    </a:ext>
                  </a:extLst>
                </p:cNvPr>
                <p:cNvSpPr/>
                <p:nvPr/>
              </p:nvSpPr>
              <p:spPr>
                <a:xfrm>
                  <a:off x="6073365" y="3148839"/>
                  <a:ext cx="565830" cy="660135"/>
                </a:xfrm>
                <a:custGeom>
                  <a:avLst/>
                  <a:gdLst>
                    <a:gd name="connsiteX0" fmla="*/ 565830 w 565830"/>
                    <a:gd name="connsiteY0" fmla="*/ 328182 h 660135"/>
                    <a:gd name="connsiteX1" fmla="*/ 0 w 565830"/>
                    <a:gd name="connsiteY1" fmla="*/ 0 h 660135"/>
                    <a:gd name="connsiteX2" fmla="*/ 0 w 565830"/>
                    <a:gd name="connsiteY2" fmla="*/ 660135 h 660135"/>
                    <a:gd name="connsiteX3" fmla="*/ 56583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565830" y="328182"/>
                      </a:moveTo>
                      <a:lnTo>
                        <a:pt x="0" y="0"/>
                      </a:lnTo>
                      <a:lnTo>
                        <a:pt x="0" y="660135"/>
                      </a:lnTo>
                      <a:lnTo>
                        <a:pt x="565830" y="328182"/>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69" name="Group 168">
                <a:extLst>
                  <a:ext uri="{FF2B5EF4-FFF2-40B4-BE49-F238E27FC236}">
                    <a16:creationId xmlns:a16="http://schemas.microsoft.com/office/drawing/2014/main" id="{FA5CDCE5-9843-F969-B3A0-A7EFFDEE1615}"/>
                  </a:ext>
                </a:extLst>
              </p:cNvPr>
              <p:cNvGrpSpPr/>
              <p:nvPr/>
            </p:nvGrpSpPr>
            <p:grpSpPr>
              <a:xfrm>
                <a:off x="5815890" y="2647111"/>
                <a:ext cx="751794" cy="877092"/>
                <a:chOff x="5507535" y="2488704"/>
                <a:chExt cx="1131660" cy="1320271"/>
              </a:xfrm>
              <a:effectLst>
                <a:outerShdw blurRad="63500" sx="102000" sy="102000" algn="ctr" rotWithShape="0">
                  <a:prstClr val="black">
                    <a:alpha val="40000"/>
                  </a:prstClr>
                </a:outerShdw>
              </a:effectLst>
            </p:grpSpPr>
            <p:grpSp>
              <p:nvGrpSpPr>
                <p:cNvPr id="184" name="Group 183">
                  <a:extLst>
                    <a:ext uri="{FF2B5EF4-FFF2-40B4-BE49-F238E27FC236}">
                      <a16:creationId xmlns:a16="http://schemas.microsoft.com/office/drawing/2014/main" id="{C91EACC7-43DF-C07E-4FFF-BE9458F766CF}"/>
                    </a:ext>
                  </a:extLst>
                </p:cNvPr>
                <p:cNvGrpSpPr/>
                <p:nvPr/>
              </p:nvGrpSpPr>
              <p:grpSpPr>
                <a:xfrm>
                  <a:off x="5507535" y="2488704"/>
                  <a:ext cx="1131660" cy="1320271"/>
                  <a:chOff x="5507535" y="2488704"/>
                  <a:chExt cx="1131660" cy="1320271"/>
                </a:xfrm>
              </p:grpSpPr>
              <p:sp>
                <p:nvSpPr>
                  <p:cNvPr id="186" name="Freeform: Shape 185">
                    <a:extLst>
                      <a:ext uri="{FF2B5EF4-FFF2-40B4-BE49-F238E27FC236}">
                        <a16:creationId xmlns:a16="http://schemas.microsoft.com/office/drawing/2014/main" id="{452B246B-CFD5-2859-F2E0-91B9517FCCF9}"/>
                      </a:ext>
                    </a:extLst>
                  </p:cNvPr>
                  <p:cNvSpPr/>
                  <p:nvPr/>
                </p:nvSpPr>
                <p:spPr>
                  <a:xfrm>
                    <a:off x="6073365" y="2818772"/>
                    <a:ext cx="565830" cy="990203"/>
                  </a:xfrm>
                  <a:custGeom>
                    <a:avLst/>
                    <a:gdLst>
                      <a:gd name="connsiteX0" fmla="*/ 565830 w 565830"/>
                      <a:gd name="connsiteY0" fmla="*/ 0 h 990203"/>
                      <a:gd name="connsiteX1" fmla="*/ 565830 w 565830"/>
                      <a:gd name="connsiteY1" fmla="*/ 658249 h 990203"/>
                      <a:gd name="connsiteX2" fmla="*/ 0 w 565830"/>
                      <a:gd name="connsiteY2" fmla="*/ 990203 h 990203"/>
                      <a:gd name="connsiteX3" fmla="*/ 0 w 565830"/>
                      <a:gd name="connsiteY3" fmla="*/ 330068 h 990203"/>
                      <a:gd name="connsiteX4" fmla="*/ 565830 w 565830"/>
                      <a:gd name="connsiteY4" fmla="*/ 0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0"/>
                        </a:moveTo>
                        <a:lnTo>
                          <a:pt x="565830" y="658249"/>
                        </a:lnTo>
                        <a:lnTo>
                          <a:pt x="0" y="990203"/>
                        </a:lnTo>
                        <a:lnTo>
                          <a:pt x="0" y="330068"/>
                        </a:lnTo>
                        <a:lnTo>
                          <a:pt x="565830" y="0"/>
                        </a:lnTo>
                        <a:close/>
                      </a:path>
                    </a:pathLst>
                  </a:custGeom>
                  <a:solidFill>
                    <a:srgbClr val="50E6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Freeform: Shape 186">
                    <a:extLst>
                      <a:ext uri="{FF2B5EF4-FFF2-40B4-BE49-F238E27FC236}">
                        <a16:creationId xmlns:a16="http://schemas.microsoft.com/office/drawing/2014/main" id="{5F8F9404-CDBC-C438-68EA-20E0FCEA840B}"/>
                      </a:ext>
                    </a:extLst>
                  </p:cNvPr>
                  <p:cNvSpPr/>
                  <p:nvPr/>
                </p:nvSpPr>
                <p:spPr>
                  <a:xfrm>
                    <a:off x="5507535" y="2488704"/>
                    <a:ext cx="1131660" cy="662021"/>
                  </a:xfrm>
                  <a:custGeom>
                    <a:avLst/>
                    <a:gdLst>
                      <a:gd name="connsiteX0" fmla="*/ 1131661 w 1131660"/>
                      <a:gd name="connsiteY0" fmla="*/ 330068 h 662021"/>
                      <a:gd name="connsiteX1" fmla="*/ 565830 w 1131660"/>
                      <a:gd name="connsiteY1" fmla="*/ 662021 h 662021"/>
                      <a:gd name="connsiteX2" fmla="*/ 0 w 1131660"/>
                      <a:gd name="connsiteY2" fmla="*/ 330068 h 662021"/>
                      <a:gd name="connsiteX3" fmla="*/ 565830 w 1131660"/>
                      <a:gd name="connsiteY3" fmla="*/ 0 h 662021"/>
                      <a:gd name="connsiteX4" fmla="*/ 1131661 w 1131660"/>
                      <a:gd name="connsiteY4" fmla="*/ 330068 h 662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660" h="662021">
                        <a:moveTo>
                          <a:pt x="1131661" y="330068"/>
                        </a:moveTo>
                        <a:lnTo>
                          <a:pt x="565830" y="662021"/>
                        </a:lnTo>
                        <a:lnTo>
                          <a:pt x="0" y="330068"/>
                        </a:lnTo>
                        <a:lnTo>
                          <a:pt x="565830" y="0"/>
                        </a:lnTo>
                        <a:lnTo>
                          <a:pt x="1131661" y="330068"/>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 name="Freeform: Shape 187">
                    <a:extLst>
                      <a:ext uri="{FF2B5EF4-FFF2-40B4-BE49-F238E27FC236}">
                        <a16:creationId xmlns:a16="http://schemas.microsoft.com/office/drawing/2014/main" id="{5CEF66E7-273B-0851-3E7E-7AF4092FE840}"/>
                      </a:ext>
                    </a:extLst>
                  </p:cNvPr>
                  <p:cNvSpPr/>
                  <p:nvPr/>
                </p:nvSpPr>
                <p:spPr>
                  <a:xfrm>
                    <a:off x="5507535" y="2818772"/>
                    <a:ext cx="565830" cy="990203"/>
                  </a:xfrm>
                  <a:custGeom>
                    <a:avLst/>
                    <a:gdLst>
                      <a:gd name="connsiteX0" fmla="*/ 565830 w 565830"/>
                      <a:gd name="connsiteY0" fmla="*/ 331954 h 990203"/>
                      <a:gd name="connsiteX1" fmla="*/ 565830 w 565830"/>
                      <a:gd name="connsiteY1" fmla="*/ 990203 h 990203"/>
                      <a:gd name="connsiteX2" fmla="*/ 0 w 565830"/>
                      <a:gd name="connsiteY2" fmla="*/ 658249 h 990203"/>
                      <a:gd name="connsiteX3" fmla="*/ 0 w 565830"/>
                      <a:gd name="connsiteY3" fmla="*/ 0 h 990203"/>
                      <a:gd name="connsiteX4" fmla="*/ 565830 w 565830"/>
                      <a:gd name="connsiteY4" fmla="*/ 331954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331954"/>
                        </a:moveTo>
                        <a:lnTo>
                          <a:pt x="565830" y="990203"/>
                        </a:lnTo>
                        <a:lnTo>
                          <a:pt x="0" y="658249"/>
                        </a:lnTo>
                        <a:lnTo>
                          <a:pt x="0" y="0"/>
                        </a:lnTo>
                        <a:lnTo>
                          <a:pt x="565830" y="331954"/>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Freeform: Shape 188">
                    <a:extLst>
                      <a:ext uri="{FF2B5EF4-FFF2-40B4-BE49-F238E27FC236}">
                        <a16:creationId xmlns:a16="http://schemas.microsoft.com/office/drawing/2014/main" id="{26F04DB4-BE84-938B-C002-935037231481}"/>
                      </a:ext>
                    </a:extLst>
                  </p:cNvPr>
                  <p:cNvSpPr/>
                  <p:nvPr/>
                </p:nvSpPr>
                <p:spPr>
                  <a:xfrm>
                    <a:off x="5507535" y="3148839"/>
                    <a:ext cx="565830" cy="660135"/>
                  </a:xfrm>
                  <a:custGeom>
                    <a:avLst/>
                    <a:gdLst>
                      <a:gd name="connsiteX0" fmla="*/ 0 w 565830"/>
                      <a:gd name="connsiteY0" fmla="*/ 328182 h 660135"/>
                      <a:gd name="connsiteX1" fmla="*/ 565830 w 565830"/>
                      <a:gd name="connsiteY1" fmla="*/ 0 h 660135"/>
                      <a:gd name="connsiteX2" fmla="*/ 565830 w 565830"/>
                      <a:gd name="connsiteY2" fmla="*/ 660135 h 660135"/>
                      <a:gd name="connsiteX3" fmla="*/ 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0" y="328182"/>
                        </a:moveTo>
                        <a:lnTo>
                          <a:pt x="565830" y="0"/>
                        </a:lnTo>
                        <a:lnTo>
                          <a:pt x="565830" y="660135"/>
                        </a:lnTo>
                        <a:lnTo>
                          <a:pt x="0" y="328182"/>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85" name="Freeform: Shape 184">
                  <a:extLst>
                    <a:ext uri="{FF2B5EF4-FFF2-40B4-BE49-F238E27FC236}">
                      <a16:creationId xmlns:a16="http://schemas.microsoft.com/office/drawing/2014/main" id="{2DB13EEB-7F72-3CCF-2E7B-12204522E967}"/>
                    </a:ext>
                  </a:extLst>
                </p:cNvPr>
                <p:cNvSpPr/>
                <p:nvPr/>
              </p:nvSpPr>
              <p:spPr>
                <a:xfrm>
                  <a:off x="6073365" y="3148839"/>
                  <a:ext cx="565830" cy="660135"/>
                </a:xfrm>
                <a:custGeom>
                  <a:avLst/>
                  <a:gdLst>
                    <a:gd name="connsiteX0" fmla="*/ 565830 w 565830"/>
                    <a:gd name="connsiteY0" fmla="*/ 328182 h 660135"/>
                    <a:gd name="connsiteX1" fmla="*/ 0 w 565830"/>
                    <a:gd name="connsiteY1" fmla="*/ 0 h 660135"/>
                    <a:gd name="connsiteX2" fmla="*/ 0 w 565830"/>
                    <a:gd name="connsiteY2" fmla="*/ 660135 h 660135"/>
                    <a:gd name="connsiteX3" fmla="*/ 56583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565830" y="328182"/>
                      </a:moveTo>
                      <a:lnTo>
                        <a:pt x="0" y="0"/>
                      </a:lnTo>
                      <a:lnTo>
                        <a:pt x="0" y="660135"/>
                      </a:lnTo>
                      <a:lnTo>
                        <a:pt x="565830" y="328182"/>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70" name="Group 169">
                <a:extLst>
                  <a:ext uri="{FF2B5EF4-FFF2-40B4-BE49-F238E27FC236}">
                    <a16:creationId xmlns:a16="http://schemas.microsoft.com/office/drawing/2014/main" id="{BFDAE941-48B6-0A8B-B306-7D222CCC100A}"/>
                  </a:ext>
                </a:extLst>
              </p:cNvPr>
              <p:cNvGrpSpPr/>
              <p:nvPr/>
            </p:nvGrpSpPr>
            <p:grpSpPr>
              <a:xfrm>
                <a:off x="6048831" y="2484649"/>
                <a:ext cx="751794" cy="877092"/>
                <a:chOff x="5507535" y="2488704"/>
                <a:chExt cx="1131660" cy="1320271"/>
              </a:xfrm>
              <a:effectLst>
                <a:outerShdw blurRad="63500" sx="102000" sy="102000" algn="ctr" rotWithShape="0">
                  <a:prstClr val="black">
                    <a:alpha val="40000"/>
                  </a:prstClr>
                </a:outerShdw>
              </a:effectLst>
            </p:grpSpPr>
            <p:grpSp>
              <p:nvGrpSpPr>
                <p:cNvPr id="178" name="Group 177">
                  <a:extLst>
                    <a:ext uri="{FF2B5EF4-FFF2-40B4-BE49-F238E27FC236}">
                      <a16:creationId xmlns:a16="http://schemas.microsoft.com/office/drawing/2014/main" id="{A20F5821-FB30-599E-8521-A59ACF704DB3}"/>
                    </a:ext>
                  </a:extLst>
                </p:cNvPr>
                <p:cNvGrpSpPr/>
                <p:nvPr/>
              </p:nvGrpSpPr>
              <p:grpSpPr>
                <a:xfrm>
                  <a:off x="5507535" y="2488704"/>
                  <a:ext cx="1131660" cy="1320271"/>
                  <a:chOff x="5507535" y="2488704"/>
                  <a:chExt cx="1131660" cy="1320271"/>
                </a:xfrm>
              </p:grpSpPr>
              <p:sp>
                <p:nvSpPr>
                  <p:cNvPr id="180" name="Freeform: Shape 179">
                    <a:extLst>
                      <a:ext uri="{FF2B5EF4-FFF2-40B4-BE49-F238E27FC236}">
                        <a16:creationId xmlns:a16="http://schemas.microsoft.com/office/drawing/2014/main" id="{055883B9-2951-9228-FEC3-2C9E70EEE70B}"/>
                      </a:ext>
                    </a:extLst>
                  </p:cNvPr>
                  <p:cNvSpPr/>
                  <p:nvPr/>
                </p:nvSpPr>
                <p:spPr>
                  <a:xfrm>
                    <a:off x="6073365" y="2818772"/>
                    <a:ext cx="565830" cy="990203"/>
                  </a:xfrm>
                  <a:custGeom>
                    <a:avLst/>
                    <a:gdLst>
                      <a:gd name="connsiteX0" fmla="*/ 565830 w 565830"/>
                      <a:gd name="connsiteY0" fmla="*/ 0 h 990203"/>
                      <a:gd name="connsiteX1" fmla="*/ 565830 w 565830"/>
                      <a:gd name="connsiteY1" fmla="*/ 658249 h 990203"/>
                      <a:gd name="connsiteX2" fmla="*/ 0 w 565830"/>
                      <a:gd name="connsiteY2" fmla="*/ 990203 h 990203"/>
                      <a:gd name="connsiteX3" fmla="*/ 0 w 565830"/>
                      <a:gd name="connsiteY3" fmla="*/ 330068 h 990203"/>
                      <a:gd name="connsiteX4" fmla="*/ 565830 w 565830"/>
                      <a:gd name="connsiteY4" fmla="*/ 0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0"/>
                        </a:moveTo>
                        <a:lnTo>
                          <a:pt x="565830" y="658249"/>
                        </a:lnTo>
                        <a:lnTo>
                          <a:pt x="0" y="990203"/>
                        </a:lnTo>
                        <a:lnTo>
                          <a:pt x="0" y="330068"/>
                        </a:lnTo>
                        <a:lnTo>
                          <a:pt x="565830" y="0"/>
                        </a:lnTo>
                        <a:close/>
                      </a:path>
                    </a:pathLst>
                  </a:custGeom>
                  <a:solidFill>
                    <a:srgbClr val="50E6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Freeform: Shape 180">
                    <a:extLst>
                      <a:ext uri="{FF2B5EF4-FFF2-40B4-BE49-F238E27FC236}">
                        <a16:creationId xmlns:a16="http://schemas.microsoft.com/office/drawing/2014/main" id="{FC914957-F599-0706-CA1B-624EE12F9E79}"/>
                      </a:ext>
                    </a:extLst>
                  </p:cNvPr>
                  <p:cNvSpPr/>
                  <p:nvPr/>
                </p:nvSpPr>
                <p:spPr>
                  <a:xfrm>
                    <a:off x="5507535" y="2488704"/>
                    <a:ext cx="1131660" cy="662021"/>
                  </a:xfrm>
                  <a:custGeom>
                    <a:avLst/>
                    <a:gdLst>
                      <a:gd name="connsiteX0" fmla="*/ 1131661 w 1131660"/>
                      <a:gd name="connsiteY0" fmla="*/ 330068 h 662021"/>
                      <a:gd name="connsiteX1" fmla="*/ 565830 w 1131660"/>
                      <a:gd name="connsiteY1" fmla="*/ 662021 h 662021"/>
                      <a:gd name="connsiteX2" fmla="*/ 0 w 1131660"/>
                      <a:gd name="connsiteY2" fmla="*/ 330068 h 662021"/>
                      <a:gd name="connsiteX3" fmla="*/ 565830 w 1131660"/>
                      <a:gd name="connsiteY3" fmla="*/ 0 h 662021"/>
                      <a:gd name="connsiteX4" fmla="*/ 1131661 w 1131660"/>
                      <a:gd name="connsiteY4" fmla="*/ 330068 h 662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660" h="662021">
                        <a:moveTo>
                          <a:pt x="1131661" y="330068"/>
                        </a:moveTo>
                        <a:lnTo>
                          <a:pt x="565830" y="662021"/>
                        </a:lnTo>
                        <a:lnTo>
                          <a:pt x="0" y="330068"/>
                        </a:lnTo>
                        <a:lnTo>
                          <a:pt x="565830" y="0"/>
                        </a:lnTo>
                        <a:lnTo>
                          <a:pt x="1131661" y="330068"/>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Freeform: Shape 181">
                    <a:extLst>
                      <a:ext uri="{FF2B5EF4-FFF2-40B4-BE49-F238E27FC236}">
                        <a16:creationId xmlns:a16="http://schemas.microsoft.com/office/drawing/2014/main" id="{04ECA96A-D294-DE56-6170-6B878C967266}"/>
                      </a:ext>
                    </a:extLst>
                  </p:cNvPr>
                  <p:cNvSpPr/>
                  <p:nvPr/>
                </p:nvSpPr>
                <p:spPr>
                  <a:xfrm>
                    <a:off x="5507535" y="2818772"/>
                    <a:ext cx="565830" cy="990203"/>
                  </a:xfrm>
                  <a:custGeom>
                    <a:avLst/>
                    <a:gdLst>
                      <a:gd name="connsiteX0" fmla="*/ 565830 w 565830"/>
                      <a:gd name="connsiteY0" fmla="*/ 331954 h 990203"/>
                      <a:gd name="connsiteX1" fmla="*/ 565830 w 565830"/>
                      <a:gd name="connsiteY1" fmla="*/ 990203 h 990203"/>
                      <a:gd name="connsiteX2" fmla="*/ 0 w 565830"/>
                      <a:gd name="connsiteY2" fmla="*/ 658249 h 990203"/>
                      <a:gd name="connsiteX3" fmla="*/ 0 w 565830"/>
                      <a:gd name="connsiteY3" fmla="*/ 0 h 990203"/>
                      <a:gd name="connsiteX4" fmla="*/ 565830 w 565830"/>
                      <a:gd name="connsiteY4" fmla="*/ 331954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331954"/>
                        </a:moveTo>
                        <a:lnTo>
                          <a:pt x="565830" y="990203"/>
                        </a:lnTo>
                        <a:lnTo>
                          <a:pt x="0" y="658249"/>
                        </a:lnTo>
                        <a:lnTo>
                          <a:pt x="0" y="0"/>
                        </a:lnTo>
                        <a:lnTo>
                          <a:pt x="565830" y="331954"/>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Freeform: Shape 182">
                    <a:extLst>
                      <a:ext uri="{FF2B5EF4-FFF2-40B4-BE49-F238E27FC236}">
                        <a16:creationId xmlns:a16="http://schemas.microsoft.com/office/drawing/2014/main" id="{6DF81EB4-AACF-C245-3109-36DCF1520F30}"/>
                      </a:ext>
                    </a:extLst>
                  </p:cNvPr>
                  <p:cNvSpPr/>
                  <p:nvPr/>
                </p:nvSpPr>
                <p:spPr>
                  <a:xfrm>
                    <a:off x="5507535" y="3148839"/>
                    <a:ext cx="565830" cy="660135"/>
                  </a:xfrm>
                  <a:custGeom>
                    <a:avLst/>
                    <a:gdLst>
                      <a:gd name="connsiteX0" fmla="*/ 0 w 565830"/>
                      <a:gd name="connsiteY0" fmla="*/ 328182 h 660135"/>
                      <a:gd name="connsiteX1" fmla="*/ 565830 w 565830"/>
                      <a:gd name="connsiteY1" fmla="*/ 0 h 660135"/>
                      <a:gd name="connsiteX2" fmla="*/ 565830 w 565830"/>
                      <a:gd name="connsiteY2" fmla="*/ 660135 h 660135"/>
                      <a:gd name="connsiteX3" fmla="*/ 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0" y="328182"/>
                        </a:moveTo>
                        <a:lnTo>
                          <a:pt x="565830" y="0"/>
                        </a:lnTo>
                        <a:lnTo>
                          <a:pt x="565830" y="660135"/>
                        </a:lnTo>
                        <a:lnTo>
                          <a:pt x="0" y="328182"/>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79" name="Freeform: Shape 178">
                  <a:extLst>
                    <a:ext uri="{FF2B5EF4-FFF2-40B4-BE49-F238E27FC236}">
                      <a16:creationId xmlns:a16="http://schemas.microsoft.com/office/drawing/2014/main" id="{FD948867-0745-6D6F-726D-67C0B5C53897}"/>
                    </a:ext>
                  </a:extLst>
                </p:cNvPr>
                <p:cNvSpPr/>
                <p:nvPr/>
              </p:nvSpPr>
              <p:spPr>
                <a:xfrm>
                  <a:off x="6073365" y="3148839"/>
                  <a:ext cx="565830" cy="660135"/>
                </a:xfrm>
                <a:custGeom>
                  <a:avLst/>
                  <a:gdLst>
                    <a:gd name="connsiteX0" fmla="*/ 565830 w 565830"/>
                    <a:gd name="connsiteY0" fmla="*/ 328182 h 660135"/>
                    <a:gd name="connsiteX1" fmla="*/ 0 w 565830"/>
                    <a:gd name="connsiteY1" fmla="*/ 0 h 660135"/>
                    <a:gd name="connsiteX2" fmla="*/ 0 w 565830"/>
                    <a:gd name="connsiteY2" fmla="*/ 660135 h 660135"/>
                    <a:gd name="connsiteX3" fmla="*/ 56583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565830" y="328182"/>
                      </a:moveTo>
                      <a:lnTo>
                        <a:pt x="0" y="0"/>
                      </a:lnTo>
                      <a:lnTo>
                        <a:pt x="0" y="660135"/>
                      </a:lnTo>
                      <a:lnTo>
                        <a:pt x="565830" y="328182"/>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71" name="Group 170">
                <a:extLst>
                  <a:ext uri="{FF2B5EF4-FFF2-40B4-BE49-F238E27FC236}">
                    <a16:creationId xmlns:a16="http://schemas.microsoft.com/office/drawing/2014/main" id="{854DBAAA-DB10-1525-52E7-19B2022691C7}"/>
                  </a:ext>
                </a:extLst>
              </p:cNvPr>
              <p:cNvGrpSpPr/>
              <p:nvPr/>
            </p:nvGrpSpPr>
            <p:grpSpPr>
              <a:xfrm>
                <a:off x="6281772" y="2295504"/>
                <a:ext cx="751794" cy="877092"/>
                <a:chOff x="5507535" y="2488704"/>
                <a:chExt cx="1131660" cy="1320271"/>
              </a:xfrm>
              <a:effectLst>
                <a:outerShdw blurRad="63500" sx="102000" sy="102000" algn="ctr" rotWithShape="0">
                  <a:prstClr val="black">
                    <a:alpha val="40000"/>
                  </a:prstClr>
                </a:outerShdw>
              </a:effectLst>
            </p:grpSpPr>
            <p:grpSp>
              <p:nvGrpSpPr>
                <p:cNvPr id="172" name="Group 171">
                  <a:extLst>
                    <a:ext uri="{FF2B5EF4-FFF2-40B4-BE49-F238E27FC236}">
                      <a16:creationId xmlns:a16="http://schemas.microsoft.com/office/drawing/2014/main" id="{7E17B0F9-F958-BD9D-DD50-DA84F593878F}"/>
                    </a:ext>
                  </a:extLst>
                </p:cNvPr>
                <p:cNvGrpSpPr/>
                <p:nvPr/>
              </p:nvGrpSpPr>
              <p:grpSpPr>
                <a:xfrm>
                  <a:off x="5507535" y="2488704"/>
                  <a:ext cx="1131660" cy="1320271"/>
                  <a:chOff x="5507535" y="2488704"/>
                  <a:chExt cx="1131660" cy="1320271"/>
                </a:xfrm>
              </p:grpSpPr>
              <p:sp>
                <p:nvSpPr>
                  <p:cNvPr id="174" name="Freeform: Shape 173">
                    <a:extLst>
                      <a:ext uri="{FF2B5EF4-FFF2-40B4-BE49-F238E27FC236}">
                        <a16:creationId xmlns:a16="http://schemas.microsoft.com/office/drawing/2014/main" id="{CC99391F-E9C3-3ED1-47B0-FB4AB152B4B7}"/>
                      </a:ext>
                    </a:extLst>
                  </p:cNvPr>
                  <p:cNvSpPr/>
                  <p:nvPr/>
                </p:nvSpPr>
                <p:spPr>
                  <a:xfrm>
                    <a:off x="6073365" y="2818772"/>
                    <a:ext cx="565830" cy="990203"/>
                  </a:xfrm>
                  <a:custGeom>
                    <a:avLst/>
                    <a:gdLst>
                      <a:gd name="connsiteX0" fmla="*/ 565830 w 565830"/>
                      <a:gd name="connsiteY0" fmla="*/ 0 h 990203"/>
                      <a:gd name="connsiteX1" fmla="*/ 565830 w 565830"/>
                      <a:gd name="connsiteY1" fmla="*/ 658249 h 990203"/>
                      <a:gd name="connsiteX2" fmla="*/ 0 w 565830"/>
                      <a:gd name="connsiteY2" fmla="*/ 990203 h 990203"/>
                      <a:gd name="connsiteX3" fmla="*/ 0 w 565830"/>
                      <a:gd name="connsiteY3" fmla="*/ 330068 h 990203"/>
                      <a:gd name="connsiteX4" fmla="*/ 565830 w 565830"/>
                      <a:gd name="connsiteY4" fmla="*/ 0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0"/>
                        </a:moveTo>
                        <a:lnTo>
                          <a:pt x="565830" y="658249"/>
                        </a:lnTo>
                        <a:lnTo>
                          <a:pt x="0" y="990203"/>
                        </a:lnTo>
                        <a:lnTo>
                          <a:pt x="0" y="330068"/>
                        </a:lnTo>
                        <a:lnTo>
                          <a:pt x="565830" y="0"/>
                        </a:lnTo>
                        <a:close/>
                      </a:path>
                    </a:pathLst>
                  </a:custGeom>
                  <a:solidFill>
                    <a:srgbClr val="50E6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 name="Freeform: Shape 174">
                    <a:extLst>
                      <a:ext uri="{FF2B5EF4-FFF2-40B4-BE49-F238E27FC236}">
                        <a16:creationId xmlns:a16="http://schemas.microsoft.com/office/drawing/2014/main" id="{78200F90-1E53-5628-5BC4-03BDFC906EB2}"/>
                      </a:ext>
                    </a:extLst>
                  </p:cNvPr>
                  <p:cNvSpPr/>
                  <p:nvPr/>
                </p:nvSpPr>
                <p:spPr>
                  <a:xfrm>
                    <a:off x="5507535" y="2488704"/>
                    <a:ext cx="1131660" cy="662021"/>
                  </a:xfrm>
                  <a:custGeom>
                    <a:avLst/>
                    <a:gdLst>
                      <a:gd name="connsiteX0" fmla="*/ 1131661 w 1131660"/>
                      <a:gd name="connsiteY0" fmla="*/ 330068 h 662021"/>
                      <a:gd name="connsiteX1" fmla="*/ 565830 w 1131660"/>
                      <a:gd name="connsiteY1" fmla="*/ 662021 h 662021"/>
                      <a:gd name="connsiteX2" fmla="*/ 0 w 1131660"/>
                      <a:gd name="connsiteY2" fmla="*/ 330068 h 662021"/>
                      <a:gd name="connsiteX3" fmla="*/ 565830 w 1131660"/>
                      <a:gd name="connsiteY3" fmla="*/ 0 h 662021"/>
                      <a:gd name="connsiteX4" fmla="*/ 1131661 w 1131660"/>
                      <a:gd name="connsiteY4" fmla="*/ 330068 h 662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660" h="662021">
                        <a:moveTo>
                          <a:pt x="1131661" y="330068"/>
                        </a:moveTo>
                        <a:lnTo>
                          <a:pt x="565830" y="662021"/>
                        </a:lnTo>
                        <a:lnTo>
                          <a:pt x="0" y="330068"/>
                        </a:lnTo>
                        <a:lnTo>
                          <a:pt x="565830" y="0"/>
                        </a:lnTo>
                        <a:lnTo>
                          <a:pt x="1131661" y="330068"/>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 name="Freeform: Shape 175">
                    <a:extLst>
                      <a:ext uri="{FF2B5EF4-FFF2-40B4-BE49-F238E27FC236}">
                        <a16:creationId xmlns:a16="http://schemas.microsoft.com/office/drawing/2014/main" id="{D95F9A5D-4FA0-0841-C893-915326185494}"/>
                      </a:ext>
                    </a:extLst>
                  </p:cNvPr>
                  <p:cNvSpPr/>
                  <p:nvPr/>
                </p:nvSpPr>
                <p:spPr>
                  <a:xfrm>
                    <a:off x="5507535" y="2818772"/>
                    <a:ext cx="565830" cy="990203"/>
                  </a:xfrm>
                  <a:custGeom>
                    <a:avLst/>
                    <a:gdLst>
                      <a:gd name="connsiteX0" fmla="*/ 565830 w 565830"/>
                      <a:gd name="connsiteY0" fmla="*/ 331954 h 990203"/>
                      <a:gd name="connsiteX1" fmla="*/ 565830 w 565830"/>
                      <a:gd name="connsiteY1" fmla="*/ 990203 h 990203"/>
                      <a:gd name="connsiteX2" fmla="*/ 0 w 565830"/>
                      <a:gd name="connsiteY2" fmla="*/ 658249 h 990203"/>
                      <a:gd name="connsiteX3" fmla="*/ 0 w 565830"/>
                      <a:gd name="connsiteY3" fmla="*/ 0 h 990203"/>
                      <a:gd name="connsiteX4" fmla="*/ 565830 w 565830"/>
                      <a:gd name="connsiteY4" fmla="*/ 331954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331954"/>
                        </a:moveTo>
                        <a:lnTo>
                          <a:pt x="565830" y="990203"/>
                        </a:lnTo>
                        <a:lnTo>
                          <a:pt x="0" y="658249"/>
                        </a:lnTo>
                        <a:lnTo>
                          <a:pt x="0" y="0"/>
                        </a:lnTo>
                        <a:lnTo>
                          <a:pt x="565830" y="331954"/>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 name="Freeform: Shape 176">
                    <a:extLst>
                      <a:ext uri="{FF2B5EF4-FFF2-40B4-BE49-F238E27FC236}">
                        <a16:creationId xmlns:a16="http://schemas.microsoft.com/office/drawing/2014/main" id="{FE16CAC2-5D1C-E84B-EE35-A3EF89921647}"/>
                      </a:ext>
                    </a:extLst>
                  </p:cNvPr>
                  <p:cNvSpPr/>
                  <p:nvPr/>
                </p:nvSpPr>
                <p:spPr>
                  <a:xfrm>
                    <a:off x="5507535" y="3148839"/>
                    <a:ext cx="565830" cy="660135"/>
                  </a:xfrm>
                  <a:custGeom>
                    <a:avLst/>
                    <a:gdLst>
                      <a:gd name="connsiteX0" fmla="*/ 0 w 565830"/>
                      <a:gd name="connsiteY0" fmla="*/ 328182 h 660135"/>
                      <a:gd name="connsiteX1" fmla="*/ 565830 w 565830"/>
                      <a:gd name="connsiteY1" fmla="*/ 0 h 660135"/>
                      <a:gd name="connsiteX2" fmla="*/ 565830 w 565830"/>
                      <a:gd name="connsiteY2" fmla="*/ 660135 h 660135"/>
                      <a:gd name="connsiteX3" fmla="*/ 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0" y="328182"/>
                        </a:moveTo>
                        <a:lnTo>
                          <a:pt x="565830" y="0"/>
                        </a:lnTo>
                        <a:lnTo>
                          <a:pt x="565830" y="660135"/>
                        </a:lnTo>
                        <a:lnTo>
                          <a:pt x="0" y="328182"/>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73" name="Freeform: Shape 172">
                  <a:extLst>
                    <a:ext uri="{FF2B5EF4-FFF2-40B4-BE49-F238E27FC236}">
                      <a16:creationId xmlns:a16="http://schemas.microsoft.com/office/drawing/2014/main" id="{35951CA3-063E-3B58-4625-9A292CDB2926}"/>
                    </a:ext>
                  </a:extLst>
                </p:cNvPr>
                <p:cNvSpPr/>
                <p:nvPr/>
              </p:nvSpPr>
              <p:spPr>
                <a:xfrm>
                  <a:off x="6073365" y="3148839"/>
                  <a:ext cx="565830" cy="660135"/>
                </a:xfrm>
                <a:custGeom>
                  <a:avLst/>
                  <a:gdLst>
                    <a:gd name="connsiteX0" fmla="*/ 565830 w 565830"/>
                    <a:gd name="connsiteY0" fmla="*/ 328182 h 660135"/>
                    <a:gd name="connsiteX1" fmla="*/ 0 w 565830"/>
                    <a:gd name="connsiteY1" fmla="*/ 0 h 660135"/>
                    <a:gd name="connsiteX2" fmla="*/ 0 w 565830"/>
                    <a:gd name="connsiteY2" fmla="*/ 660135 h 660135"/>
                    <a:gd name="connsiteX3" fmla="*/ 56583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565830" y="328182"/>
                      </a:moveTo>
                      <a:lnTo>
                        <a:pt x="0" y="0"/>
                      </a:lnTo>
                      <a:lnTo>
                        <a:pt x="0" y="660135"/>
                      </a:lnTo>
                      <a:lnTo>
                        <a:pt x="565830" y="328182"/>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4" name="Group 53">
              <a:extLst>
                <a:ext uri="{FF2B5EF4-FFF2-40B4-BE49-F238E27FC236}">
                  <a16:creationId xmlns:a16="http://schemas.microsoft.com/office/drawing/2014/main" id="{4677C96F-F955-8AB5-EDF9-00F5DA6DFACF}"/>
                </a:ext>
                <a:ext uri="{C183D7F6-B498-43B3-948B-1728B52AA6E4}">
                  <adec:decorative xmlns:adec="http://schemas.microsoft.com/office/drawing/2017/decorative" val="1"/>
                </a:ext>
              </a:extLst>
            </p:cNvPr>
            <p:cNvGrpSpPr/>
            <p:nvPr/>
          </p:nvGrpSpPr>
          <p:grpSpPr>
            <a:xfrm>
              <a:off x="4864413" y="2347075"/>
              <a:ext cx="2442952" cy="2257015"/>
              <a:chOff x="4375874" y="2017179"/>
              <a:chExt cx="3394982" cy="3136585"/>
            </a:xfrm>
            <a:effectLst>
              <a:outerShdw blurRad="63500" sx="102000" sy="102000" algn="ctr" rotWithShape="0">
                <a:prstClr val="black">
                  <a:alpha val="40000"/>
                </a:prstClr>
              </a:outerShdw>
            </a:effectLst>
          </p:grpSpPr>
          <p:sp>
            <p:nvSpPr>
              <p:cNvPr id="128" name="Freeform: Shape 127">
                <a:extLst>
                  <a:ext uri="{FF2B5EF4-FFF2-40B4-BE49-F238E27FC236}">
                    <a16:creationId xmlns:a16="http://schemas.microsoft.com/office/drawing/2014/main" id="{5BBE5272-BD71-2781-3B08-D311998A3ED8}"/>
                  </a:ext>
                </a:extLst>
              </p:cNvPr>
              <p:cNvSpPr/>
              <p:nvPr/>
            </p:nvSpPr>
            <p:spPr>
              <a:xfrm>
                <a:off x="4375874" y="2017179"/>
                <a:ext cx="3394982" cy="2263321"/>
              </a:xfrm>
              <a:custGeom>
                <a:avLst/>
                <a:gdLst>
                  <a:gd name="connsiteX0" fmla="*/ 3281816 w 3394982"/>
                  <a:gd name="connsiteY0" fmla="*/ 0 h 2263321"/>
                  <a:gd name="connsiteX1" fmla="*/ 3394982 w 3394982"/>
                  <a:gd name="connsiteY1" fmla="*/ 0 h 2263321"/>
                  <a:gd name="connsiteX2" fmla="*/ 3394982 w 3394982"/>
                  <a:gd name="connsiteY2" fmla="*/ 2263321 h 2263321"/>
                  <a:gd name="connsiteX3" fmla="*/ 3281816 w 3394982"/>
                  <a:gd name="connsiteY3" fmla="*/ 2263321 h 2263321"/>
                  <a:gd name="connsiteX4" fmla="*/ 113166 w 3394982"/>
                  <a:gd name="connsiteY4" fmla="*/ 2263321 h 2263321"/>
                  <a:gd name="connsiteX5" fmla="*/ 0 w 3394982"/>
                  <a:gd name="connsiteY5" fmla="*/ 2263321 h 2263321"/>
                  <a:gd name="connsiteX6" fmla="*/ 0 w 3394982"/>
                  <a:gd name="connsiteY6" fmla="*/ 0 h 2263321"/>
                  <a:gd name="connsiteX7" fmla="*/ 113166 w 3394982"/>
                  <a:gd name="connsiteY7" fmla="*/ 0 h 2263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4982" h="2263321">
                    <a:moveTo>
                      <a:pt x="3281816" y="0"/>
                    </a:moveTo>
                    <a:cubicBezTo>
                      <a:pt x="3344316" y="0"/>
                      <a:pt x="3394982" y="0"/>
                      <a:pt x="3394982" y="0"/>
                    </a:cubicBezTo>
                    <a:lnTo>
                      <a:pt x="3394982" y="2263321"/>
                    </a:lnTo>
                    <a:cubicBezTo>
                      <a:pt x="3394982" y="2263321"/>
                      <a:pt x="3344316" y="2263321"/>
                      <a:pt x="3281816" y="2263321"/>
                    </a:cubicBezTo>
                    <a:lnTo>
                      <a:pt x="113166" y="2263321"/>
                    </a:lnTo>
                    <a:cubicBezTo>
                      <a:pt x="50666" y="2263321"/>
                      <a:pt x="0" y="2263321"/>
                      <a:pt x="0" y="2263321"/>
                    </a:cubicBezTo>
                    <a:lnTo>
                      <a:pt x="0" y="0"/>
                    </a:lnTo>
                    <a:cubicBezTo>
                      <a:pt x="0" y="0"/>
                      <a:pt x="50666" y="0"/>
                      <a:pt x="113166" y="0"/>
                    </a:cubicBezTo>
                    <a:close/>
                  </a:path>
                </a:pathLst>
              </a:custGeom>
              <a:solidFill>
                <a:srgbClr val="0078D4"/>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29" name="Group 128">
                <a:extLst>
                  <a:ext uri="{FF2B5EF4-FFF2-40B4-BE49-F238E27FC236}">
                    <a16:creationId xmlns:a16="http://schemas.microsoft.com/office/drawing/2014/main" id="{CA8D8F14-9E16-4651-0A24-D0E29C3D20B4}"/>
                  </a:ext>
                </a:extLst>
              </p:cNvPr>
              <p:cNvGrpSpPr/>
              <p:nvPr/>
            </p:nvGrpSpPr>
            <p:grpSpPr>
              <a:xfrm>
                <a:off x="5344212" y="3032831"/>
                <a:ext cx="751794" cy="877092"/>
                <a:chOff x="5507535" y="2488704"/>
                <a:chExt cx="1131660" cy="1320271"/>
              </a:xfrm>
              <a:effectLst>
                <a:outerShdw blurRad="63500" sx="102000" sy="102000" algn="ctr" rotWithShape="0">
                  <a:prstClr val="black">
                    <a:alpha val="40000"/>
                  </a:prstClr>
                </a:outerShdw>
              </a:effectLst>
            </p:grpSpPr>
            <p:grpSp>
              <p:nvGrpSpPr>
                <p:cNvPr id="159" name="Group 158">
                  <a:extLst>
                    <a:ext uri="{FF2B5EF4-FFF2-40B4-BE49-F238E27FC236}">
                      <a16:creationId xmlns:a16="http://schemas.microsoft.com/office/drawing/2014/main" id="{D64FFE8A-6919-6161-F8B8-D76C53ABDB60}"/>
                    </a:ext>
                  </a:extLst>
                </p:cNvPr>
                <p:cNvGrpSpPr/>
                <p:nvPr/>
              </p:nvGrpSpPr>
              <p:grpSpPr>
                <a:xfrm>
                  <a:off x="5507535" y="2488704"/>
                  <a:ext cx="1131660" cy="1320271"/>
                  <a:chOff x="5507535" y="2488704"/>
                  <a:chExt cx="1131660" cy="1320271"/>
                </a:xfrm>
              </p:grpSpPr>
              <p:sp>
                <p:nvSpPr>
                  <p:cNvPr id="161" name="Freeform: Shape 160">
                    <a:extLst>
                      <a:ext uri="{FF2B5EF4-FFF2-40B4-BE49-F238E27FC236}">
                        <a16:creationId xmlns:a16="http://schemas.microsoft.com/office/drawing/2014/main" id="{B840D118-CD03-257C-72F4-66861F0F0F8A}"/>
                      </a:ext>
                    </a:extLst>
                  </p:cNvPr>
                  <p:cNvSpPr/>
                  <p:nvPr/>
                </p:nvSpPr>
                <p:spPr>
                  <a:xfrm>
                    <a:off x="6073365" y="2818772"/>
                    <a:ext cx="565830" cy="990203"/>
                  </a:xfrm>
                  <a:custGeom>
                    <a:avLst/>
                    <a:gdLst>
                      <a:gd name="connsiteX0" fmla="*/ 565830 w 565830"/>
                      <a:gd name="connsiteY0" fmla="*/ 0 h 990203"/>
                      <a:gd name="connsiteX1" fmla="*/ 565830 w 565830"/>
                      <a:gd name="connsiteY1" fmla="*/ 658249 h 990203"/>
                      <a:gd name="connsiteX2" fmla="*/ 0 w 565830"/>
                      <a:gd name="connsiteY2" fmla="*/ 990203 h 990203"/>
                      <a:gd name="connsiteX3" fmla="*/ 0 w 565830"/>
                      <a:gd name="connsiteY3" fmla="*/ 330068 h 990203"/>
                      <a:gd name="connsiteX4" fmla="*/ 565830 w 565830"/>
                      <a:gd name="connsiteY4" fmla="*/ 0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0"/>
                        </a:moveTo>
                        <a:lnTo>
                          <a:pt x="565830" y="658249"/>
                        </a:lnTo>
                        <a:lnTo>
                          <a:pt x="0" y="990203"/>
                        </a:lnTo>
                        <a:lnTo>
                          <a:pt x="0" y="330068"/>
                        </a:lnTo>
                        <a:lnTo>
                          <a:pt x="565830" y="0"/>
                        </a:lnTo>
                        <a:close/>
                      </a:path>
                    </a:pathLst>
                  </a:custGeom>
                  <a:solidFill>
                    <a:srgbClr val="50E6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 name="Freeform: Shape 161">
                    <a:extLst>
                      <a:ext uri="{FF2B5EF4-FFF2-40B4-BE49-F238E27FC236}">
                        <a16:creationId xmlns:a16="http://schemas.microsoft.com/office/drawing/2014/main" id="{86809479-BCE1-BCE8-EC0D-0319F6075B54}"/>
                      </a:ext>
                    </a:extLst>
                  </p:cNvPr>
                  <p:cNvSpPr/>
                  <p:nvPr/>
                </p:nvSpPr>
                <p:spPr>
                  <a:xfrm>
                    <a:off x="5507535" y="2488704"/>
                    <a:ext cx="1131660" cy="662021"/>
                  </a:xfrm>
                  <a:custGeom>
                    <a:avLst/>
                    <a:gdLst>
                      <a:gd name="connsiteX0" fmla="*/ 1131661 w 1131660"/>
                      <a:gd name="connsiteY0" fmla="*/ 330068 h 662021"/>
                      <a:gd name="connsiteX1" fmla="*/ 565830 w 1131660"/>
                      <a:gd name="connsiteY1" fmla="*/ 662021 h 662021"/>
                      <a:gd name="connsiteX2" fmla="*/ 0 w 1131660"/>
                      <a:gd name="connsiteY2" fmla="*/ 330068 h 662021"/>
                      <a:gd name="connsiteX3" fmla="*/ 565830 w 1131660"/>
                      <a:gd name="connsiteY3" fmla="*/ 0 h 662021"/>
                      <a:gd name="connsiteX4" fmla="*/ 1131661 w 1131660"/>
                      <a:gd name="connsiteY4" fmla="*/ 330068 h 662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660" h="662021">
                        <a:moveTo>
                          <a:pt x="1131661" y="330068"/>
                        </a:moveTo>
                        <a:lnTo>
                          <a:pt x="565830" y="662021"/>
                        </a:lnTo>
                        <a:lnTo>
                          <a:pt x="0" y="330068"/>
                        </a:lnTo>
                        <a:lnTo>
                          <a:pt x="565830" y="0"/>
                        </a:lnTo>
                        <a:lnTo>
                          <a:pt x="1131661" y="330068"/>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 name="Freeform: Shape 162">
                    <a:extLst>
                      <a:ext uri="{FF2B5EF4-FFF2-40B4-BE49-F238E27FC236}">
                        <a16:creationId xmlns:a16="http://schemas.microsoft.com/office/drawing/2014/main" id="{EB147FE2-862E-5BD0-D782-557EF541A739}"/>
                      </a:ext>
                    </a:extLst>
                  </p:cNvPr>
                  <p:cNvSpPr/>
                  <p:nvPr/>
                </p:nvSpPr>
                <p:spPr>
                  <a:xfrm>
                    <a:off x="5507535" y="2818772"/>
                    <a:ext cx="565830" cy="990203"/>
                  </a:xfrm>
                  <a:custGeom>
                    <a:avLst/>
                    <a:gdLst>
                      <a:gd name="connsiteX0" fmla="*/ 565830 w 565830"/>
                      <a:gd name="connsiteY0" fmla="*/ 331954 h 990203"/>
                      <a:gd name="connsiteX1" fmla="*/ 565830 w 565830"/>
                      <a:gd name="connsiteY1" fmla="*/ 990203 h 990203"/>
                      <a:gd name="connsiteX2" fmla="*/ 0 w 565830"/>
                      <a:gd name="connsiteY2" fmla="*/ 658249 h 990203"/>
                      <a:gd name="connsiteX3" fmla="*/ 0 w 565830"/>
                      <a:gd name="connsiteY3" fmla="*/ 0 h 990203"/>
                      <a:gd name="connsiteX4" fmla="*/ 565830 w 565830"/>
                      <a:gd name="connsiteY4" fmla="*/ 331954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331954"/>
                        </a:moveTo>
                        <a:lnTo>
                          <a:pt x="565830" y="990203"/>
                        </a:lnTo>
                        <a:lnTo>
                          <a:pt x="0" y="658249"/>
                        </a:lnTo>
                        <a:lnTo>
                          <a:pt x="0" y="0"/>
                        </a:lnTo>
                        <a:lnTo>
                          <a:pt x="565830" y="331954"/>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 name="Freeform: Shape 163">
                    <a:extLst>
                      <a:ext uri="{FF2B5EF4-FFF2-40B4-BE49-F238E27FC236}">
                        <a16:creationId xmlns:a16="http://schemas.microsoft.com/office/drawing/2014/main" id="{647A9ABB-758E-9DE8-39D0-DA79F0ECC4B8}"/>
                      </a:ext>
                    </a:extLst>
                  </p:cNvPr>
                  <p:cNvSpPr/>
                  <p:nvPr/>
                </p:nvSpPr>
                <p:spPr>
                  <a:xfrm>
                    <a:off x="5507535" y="3148839"/>
                    <a:ext cx="565830" cy="660135"/>
                  </a:xfrm>
                  <a:custGeom>
                    <a:avLst/>
                    <a:gdLst>
                      <a:gd name="connsiteX0" fmla="*/ 0 w 565830"/>
                      <a:gd name="connsiteY0" fmla="*/ 328182 h 660135"/>
                      <a:gd name="connsiteX1" fmla="*/ 565830 w 565830"/>
                      <a:gd name="connsiteY1" fmla="*/ 0 h 660135"/>
                      <a:gd name="connsiteX2" fmla="*/ 565830 w 565830"/>
                      <a:gd name="connsiteY2" fmla="*/ 660135 h 660135"/>
                      <a:gd name="connsiteX3" fmla="*/ 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0" y="328182"/>
                        </a:moveTo>
                        <a:lnTo>
                          <a:pt x="565830" y="0"/>
                        </a:lnTo>
                        <a:lnTo>
                          <a:pt x="565830" y="660135"/>
                        </a:lnTo>
                        <a:lnTo>
                          <a:pt x="0" y="328182"/>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0" name="Freeform: Shape 159">
                  <a:extLst>
                    <a:ext uri="{FF2B5EF4-FFF2-40B4-BE49-F238E27FC236}">
                      <a16:creationId xmlns:a16="http://schemas.microsoft.com/office/drawing/2014/main" id="{C72BD1C9-D598-AC71-CA1F-818F2C32C935}"/>
                    </a:ext>
                  </a:extLst>
                </p:cNvPr>
                <p:cNvSpPr/>
                <p:nvPr/>
              </p:nvSpPr>
              <p:spPr>
                <a:xfrm>
                  <a:off x="6073365" y="3148839"/>
                  <a:ext cx="565830" cy="660135"/>
                </a:xfrm>
                <a:custGeom>
                  <a:avLst/>
                  <a:gdLst>
                    <a:gd name="connsiteX0" fmla="*/ 565830 w 565830"/>
                    <a:gd name="connsiteY0" fmla="*/ 328182 h 660135"/>
                    <a:gd name="connsiteX1" fmla="*/ 0 w 565830"/>
                    <a:gd name="connsiteY1" fmla="*/ 0 h 660135"/>
                    <a:gd name="connsiteX2" fmla="*/ 0 w 565830"/>
                    <a:gd name="connsiteY2" fmla="*/ 660135 h 660135"/>
                    <a:gd name="connsiteX3" fmla="*/ 56583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565830" y="328182"/>
                      </a:moveTo>
                      <a:lnTo>
                        <a:pt x="0" y="0"/>
                      </a:lnTo>
                      <a:lnTo>
                        <a:pt x="0" y="660135"/>
                      </a:lnTo>
                      <a:lnTo>
                        <a:pt x="565830" y="328182"/>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0" name="Freeform: Shape 129">
                <a:extLst>
                  <a:ext uri="{FF2B5EF4-FFF2-40B4-BE49-F238E27FC236}">
                    <a16:creationId xmlns:a16="http://schemas.microsoft.com/office/drawing/2014/main" id="{144F10FC-25CE-6C35-5FBD-B5309AB1869B}"/>
                  </a:ext>
                </a:extLst>
              </p:cNvPr>
              <p:cNvSpPr/>
              <p:nvPr/>
            </p:nvSpPr>
            <p:spPr>
              <a:xfrm>
                <a:off x="5224616" y="4280500"/>
                <a:ext cx="1697498" cy="873264"/>
              </a:xfrm>
              <a:custGeom>
                <a:avLst/>
                <a:gdLst>
                  <a:gd name="connsiteX0" fmla="*/ 1529632 w 1697498"/>
                  <a:gd name="connsiteY0" fmla="*/ 684655 h 873264"/>
                  <a:gd name="connsiteX1" fmla="*/ 1180703 w 1697498"/>
                  <a:gd name="connsiteY1" fmla="*/ 0 h 873264"/>
                  <a:gd name="connsiteX2" fmla="*/ 514909 w 1697498"/>
                  <a:gd name="connsiteY2" fmla="*/ 0 h 873264"/>
                  <a:gd name="connsiteX3" fmla="*/ 167867 w 1697498"/>
                  <a:gd name="connsiteY3" fmla="*/ 684655 h 873264"/>
                  <a:gd name="connsiteX4" fmla="*/ 4 w 1697498"/>
                  <a:gd name="connsiteY4" fmla="*/ 873265 h 873264"/>
                  <a:gd name="connsiteX5" fmla="*/ 1697495 w 1697498"/>
                  <a:gd name="connsiteY5" fmla="*/ 873265 h 873264"/>
                  <a:gd name="connsiteX6" fmla="*/ 1529632 w 1697498"/>
                  <a:gd name="connsiteY6" fmla="*/ 684655 h 87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7498" h="873264">
                    <a:moveTo>
                      <a:pt x="1529632" y="684655"/>
                    </a:moveTo>
                    <a:cubicBezTo>
                      <a:pt x="1193906" y="631844"/>
                      <a:pt x="1180703" y="390423"/>
                      <a:pt x="1180703" y="0"/>
                    </a:cubicBezTo>
                    <a:lnTo>
                      <a:pt x="514909" y="0"/>
                    </a:lnTo>
                    <a:cubicBezTo>
                      <a:pt x="514909" y="390423"/>
                      <a:pt x="503593" y="631844"/>
                      <a:pt x="167867" y="684655"/>
                    </a:cubicBezTo>
                    <a:cubicBezTo>
                      <a:pt x="71877" y="695274"/>
                      <a:pt x="-583" y="776696"/>
                      <a:pt x="4" y="873265"/>
                    </a:cubicBezTo>
                    <a:lnTo>
                      <a:pt x="1697495" y="873265"/>
                    </a:lnTo>
                    <a:cubicBezTo>
                      <a:pt x="1698079" y="776696"/>
                      <a:pt x="1625615" y="695274"/>
                      <a:pt x="1529632" y="684655"/>
                    </a:cubicBezTo>
                    <a:close/>
                  </a:path>
                </a:pathLst>
              </a:custGeom>
              <a:solidFill>
                <a:srgbClr val="CCCCCC"/>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31" name="Group 130">
                <a:extLst>
                  <a:ext uri="{FF2B5EF4-FFF2-40B4-BE49-F238E27FC236}">
                    <a16:creationId xmlns:a16="http://schemas.microsoft.com/office/drawing/2014/main" id="{E4B13460-2044-3230-7E70-E47699B9A006}"/>
                  </a:ext>
                </a:extLst>
              </p:cNvPr>
              <p:cNvGrpSpPr/>
              <p:nvPr/>
            </p:nvGrpSpPr>
            <p:grpSpPr>
              <a:xfrm>
                <a:off x="5582949" y="2836256"/>
                <a:ext cx="751794" cy="877092"/>
                <a:chOff x="5507535" y="2488704"/>
                <a:chExt cx="1131660" cy="1320271"/>
              </a:xfrm>
              <a:effectLst>
                <a:outerShdw blurRad="63500" sx="102000" sy="102000" algn="ctr" rotWithShape="0">
                  <a:prstClr val="black">
                    <a:alpha val="40000"/>
                  </a:prstClr>
                </a:outerShdw>
              </a:effectLst>
            </p:grpSpPr>
            <p:grpSp>
              <p:nvGrpSpPr>
                <p:cNvPr id="153" name="Group 152">
                  <a:extLst>
                    <a:ext uri="{FF2B5EF4-FFF2-40B4-BE49-F238E27FC236}">
                      <a16:creationId xmlns:a16="http://schemas.microsoft.com/office/drawing/2014/main" id="{C3A9E3C0-86E7-CB84-3247-21D167E6B978}"/>
                    </a:ext>
                  </a:extLst>
                </p:cNvPr>
                <p:cNvGrpSpPr/>
                <p:nvPr/>
              </p:nvGrpSpPr>
              <p:grpSpPr>
                <a:xfrm>
                  <a:off x="5507535" y="2488704"/>
                  <a:ext cx="1131660" cy="1320271"/>
                  <a:chOff x="5507535" y="2488704"/>
                  <a:chExt cx="1131660" cy="1320271"/>
                </a:xfrm>
              </p:grpSpPr>
              <p:sp>
                <p:nvSpPr>
                  <p:cNvPr id="155" name="Freeform: Shape 154">
                    <a:extLst>
                      <a:ext uri="{FF2B5EF4-FFF2-40B4-BE49-F238E27FC236}">
                        <a16:creationId xmlns:a16="http://schemas.microsoft.com/office/drawing/2014/main" id="{08C927E1-7051-3B7C-9028-668AF0AA937A}"/>
                      </a:ext>
                    </a:extLst>
                  </p:cNvPr>
                  <p:cNvSpPr/>
                  <p:nvPr/>
                </p:nvSpPr>
                <p:spPr>
                  <a:xfrm>
                    <a:off x="6073365" y="2818772"/>
                    <a:ext cx="565830" cy="990203"/>
                  </a:xfrm>
                  <a:custGeom>
                    <a:avLst/>
                    <a:gdLst>
                      <a:gd name="connsiteX0" fmla="*/ 565830 w 565830"/>
                      <a:gd name="connsiteY0" fmla="*/ 0 h 990203"/>
                      <a:gd name="connsiteX1" fmla="*/ 565830 w 565830"/>
                      <a:gd name="connsiteY1" fmla="*/ 658249 h 990203"/>
                      <a:gd name="connsiteX2" fmla="*/ 0 w 565830"/>
                      <a:gd name="connsiteY2" fmla="*/ 990203 h 990203"/>
                      <a:gd name="connsiteX3" fmla="*/ 0 w 565830"/>
                      <a:gd name="connsiteY3" fmla="*/ 330068 h 990203"/>
                      <a:gd name="connsiteX4" fmla="*/ 565830 w 565830"/>
                      <a:gd name="connsiteY4" fmla="*/ 0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0"/>
                        </a:moveTo>
                        <a:lnTo>
                          <a:pt x="565830" y="658249"/>
                        </a:lnTo>
                        <a:lnTo>
                          <a:pt x="0" y="990203"/>
                        </a:lnTo>
                        <a:lnTo>
                          <a:pt x="0" y="330068"/>
                        </a:lnTo>
                        <a:lnTo>
                          <a:pt x="565830" y="0"/>
                        </a:lnTo>
                        <a:close/>
                      </a:path>
                    </a:pathLst>
                  </a:custGeom>
                  <a:solidFill>
                    <a:srgbClr val="50E6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 name="Freeform: Shape 155">
                    <a:extLst>
                      <a:ext uri="{FF2B5EF4-FFF2-40B4-BE49-F238E27FC236}">
                        <a16:creationId xmlns:a16="http://schemas.microsoft.com/office/drawing/2014/main" id="{8F2F451B-E370-39D7-2B56-F42688811DE3}"/>
                      </a:ext>
                    </a:extLst>
                  </p:cNvPr>
                  <p:cNvSpPr/>
                  <p:nvPr/>
                </p:nvSpPr>
                <p:spPr>
                  <a:xfrm>
                    <a:off x="5507535" y="2488704"/>
                    <a:ext cx="1131660" cy="662021"/>
                  </a:xfrm>
                  <a:custGeom>
                    <a:avLst/>
                    <a:gdLst>
                      <a:gd name="connsiteX0" fmla="*/ 1131661 w 1131660"/>
                      <a:gd name="connsiteY0" fmla="*/ 330068 h 662021"/>
                      <a:gd name="connsiteX1" fmla="*/ 565830 w 1131660"/>
                      <a:gd name="connsiteY1" fmla="*/ 662021 h 662021"/>
                      <a:gd name="connsiteX2" fmla="*/ 0 w 1131660"/>
                      <a:gd name="connsiteY2" fmla="*/ 330068 h 662021"/>
                      <a:gd name="connsiteX3" fmla="*/ 565830 w 1131660"/>
                      <a:gd name="connsiteY3" fmla="*/ 0 h 662021"/>
                      <a:gd name="connsiteX4" fmla="*/ 1131661 w 1131660"/>
                      <a:gd name="connsiteY4" fmla="*/ 330068 h 662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660" h="662021">
                        <a:moveTo>
                          <a:pt x="1131661" y="330068"/>
                        </a:moveTo>
                        <a:lnTo>
                          <a:pt x="565830" y="662021"/>
                        </a:lnTo>
                        <a:lnTo>
                          <a:pt x="0" y="330068"/>
                        </a:lnTo>
                        <a:lnTo>
                          <a:pt x="565830" y="0"/>
                        </a:lnTo>
                        <a:lnTo>
                          <a:pt x="1131661" y="330068"/>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 name="Freeform: Shape 156">
                    <a:extLst>
                      <a:ext uri="{FF2B5EF4-FFF2-40B4-BE49-F238E27FC236}">
                        <a16:creationId xmlns:a16="http://schemas.microsoft.com/office/drawing/2014/main" id="{BE2C3225-E9FA-26FF-0160-315F239DD98C}"/>
                      </a:ext>
                    </a:extLst>
                  </p:cNvPr>
                  <p:cNvSpPr/>
                  <p:nvPr/>
                </p:nvSpPr>
                <p:spPr>
                  <a:xfrm>
                    <a:off x="5507535" y="2818772"/>
                    <a:ext cx="565830" cy="990203"/>
                  </a:xfrm>
                  <a:custGeom>
                    <a:avLst/>
                    <a:gdLst>
                      <a:gd name="connsiteX0" fmla="*/ 565830 w 565830"/>
                      <a:gd name="connsiteY0" fmla="*/ 331954 h 990203"/>
                      <a:gd name="connsiteX1" fmla="*/ 565830 w 565830"/>
                      <a:gd name="connsiteY1" fmla="*/ 990203 h 990203"/>
                      <a:gd name="connsiteX2" fmla="*/ 0 w 565830"/>
                      <a:gd name="connsiteY2" fmla="*/ 658249 h 990203"/>
                      <a:gd name="connsiteX3" fmla="*/ 0 w 565830"/>
                      <a:gd name="connsiteY3" fmla="*/ 0 h 990203"/>
                      <a:gd name="connsiteX4" fmla="*/ 565830 w 565830"/>
                      <a:gd name="connsiteY4" fmla="*/ 331954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331954"/>
                        </a:moveTo>
                        <a:lnTo>
                          <a:pt x="565830" y="990203"/>
                        </a:lnTo>
                        <a:lnTo>
                          <a:pt x="0" y="658249"/>
                        </a:lnTo>
                        <a:lnTo>
                          <a:pt x="0" y="0"/>
                        </a:lnTo>
                        <a:lnTo>
                          <a:pt x="565830" y="331954"/>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 name="Freeform: Shape 157">
                    <a:extLst>
                      <a:ext uri="{FF2B5EF4-FFF2-40B4-BE49-F238E27FC236}">
                        <a16:creationId xmlns:a16="http://schemas.microsoft.com/office/drawing/2014/main" id="{2B609240-E004-C215-2B54-EB3887931D70}"/>
                      </a:ext>
                    </a:extLst>
                  </p:cNvPr>
                  <p:cNvSpPr/>
                  <p:nvPr/>
                </p:nvSpPr>
                <p:spPr>
                  <a:xfrm>
                    <a:off x="5507535" y="3148839"/>
                    <a:ext cx="565830" cy="660135"/>
                  </a:xfrm>
                  <a:custGeom>
                    <a:avLst/>
                    <a:gdLst>
                      <a:gd name="connsiteX0" fmla="*/ 0 w 565830"/>
                      <a:gd name="connsiteY0" fmla="*/ 328182 h 660135"/>
                      <a:gd name="connsiteX1" fmla="*/ 565830 w 565830"/>
                      <a:gd name="connsiteY1" fmla="*/ 0 h 660135"/>
                      <a:gd name="connsiteX2" fmla="*/ 565830 w 565830"/>
                      <a:gd name="connsiteY2" fmla="*/ 660135 h 660135"/>
                      <a:gd name="connsiteX3" fmla="*/ 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0" y="328182"/>
                        </a:moveTo>
                        <a:lnTo>
                          <a:pt x="565830" y="0"/>
                        </a:lnTo>
                        <a:lnTo>
                          <a:pt x="565830" y="660135"/>
                        </a:lnTo>
                        <a:lnTo>
                          <a:pt x="0" y="328182"/>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4" name="Freeform: Shape 153">
                  <a:extLst>
                    <a:ext uri="{FF2B5EF4-FFF2-40B4-BE49-F238E27FC236}">
                      <a16:creationId xmlns:a16="http://schemas.microsoft.com/office/drawing/2014/main" id="{B7ACEE05-F192-F06D-5F7F-3D17F2D1EDBE}"/>
                    </a:ext>
                  </a:extLst>
                </p:cNvPr>
                <p:cNvSpPr/>
                <p:nvPr/>
              </p:nvSpPr>
              <p:spPr>
                <a:xfrm>
                  <a:off x="6073365" y="3148839"/>
                  <a:ext cx="565830" cy="660135"/>
                </a:xfrm>
                <a:custGeom>
                  <a:avLst/>
                  <a:gdLst>
                    <a:gd name="connsiteX0" fmla="*/ 565830 w 565830"/>
                    <a:gd name="connsiteY0" fmla="*/ 328182 h 660135"/>
                    <a:gd name="connsiteX1" fmla="*/ 0 w 565830"/>
                    <a:gd name="connsiteY1" fmla="*/ 0 h 660135"/>
                    <a:gd name="connsiteX2" fmla="*/ 0 w 565830"/>
                    <a:gd name="connsiteY2" fmla="*/ 660135 h 660135"/>
                    <a:gd name="connsiteX3" fmla="*/ 56583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565830" y="328182"/>
                      </a:moveTo>
                      <a:lnTo>
                        <a:pt x="0" y="0"/>
                      </a:lnTo>
                      <a:lnTo>
                        <a:pt x="0" y="660135"/>
                      </a:lnTo>
                      <a:lnTo>
                        <a:pt x="565830" y="328182"/>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32" name="Group 131">
                <a:extLst>
                  <a:ext uri="{FF2B5EF4-FFF2-40B4-BE49-F238E27FC236}">
                    <a16:creationId xmlns:a16="http://schemas.microsoft.com/office/drawing/2014/main" id="{4E84C0AB-9A56-3432-6F4B-11AEA7B83A89}"/>
                  </a:ext>
                </a:extLst>
              </p:cNvPr>
              <p:cNvGrpSpPr/>
              <p:nvPr/>
            </p:nvGrpSpPr>
            <p:grpSpPr>
              <a:xfrm>
                <a:off x="5815890" y="2647111"/>
                <a:ext cx="751794" cy="877092"/>
                <a:chOff x="5507535" y="2488704"/>
                <a:chExt cx="1131660" cy="1320271"/>
              </a:xfrm>
              <a:effectLst>
                <a:outerShdw blurRad="63500" sx="102000" sy="102000" algn="ctr" rotWithShape="0">
                  <a:prstClr val="black">
                    <a:alpha val="40000"/>
                  </a:prstClr>
                </a:outerShdw>
              </a:effectLst>
            </p:grpSpPr>
            <p:grpSp>
              <p:nvGrpSpPr>
                <p:cNvPr id="147" name="Group 146">
                  <a:extLst>
                    <a:ext uri="{FF2B5EF4-FFF2-40B4-BE49-F238E27FC236}">
                      <a16:creationId xmlns:a16="http://schemas.microsoft.com/office/drawing/2014/main" id="{0D11D7AB-5937-D3FD-DB91-A86A600DD82C}"/>
                    </a:ext>
                  </a:extLst>
                </p:cNvPr>
                <p:cNvGrpSpPr/>
                <p:nvPr/>
              </p:nvGrpSpPr>
              <p:grpSpPr>
                <a:xfrm>
                  <a:off x="5507535" y="2488704"/>
                  <a:ext cx="1131660" cy="1320271"/>
                  <a:chOff x="5507535" y="2488704"/>
                  <a:chExt cx="1131660" cy="1320271"/>
                </a:xfrm>
              </p:grpSpPr>
              <p:sp>
                <p:nvSpPr>
                  <p:cNvPr id="149" name="Freeform: Shape 148">
                    <a:extLst>
                      <a:ext uri="{FF2B5EF4-FFF2-40B4-BE49-F238E27FC236}">
                        <a16:creationId xmlns:a16="http://schemas.microsoft.com/office/drawing/2014/main" id="{63087DE0-5826-42E6-3FD5-E3C9A1451E39}"/>
                      </a:ext>
                    </a:extLst>
                  </p:cNvPr>
                  <p:cNvSpPr/>
                  <p:nvPr/>
                </p:nvSpPr>
                <p:spPr>
                  <a:xfrm>
                    <a:off x="6073365" y="2818772"/>
                    <a:ext cx="565830" cy="990203"/>
                  </a:xfrm>
                  <a:custGeom>
                    <a:avLst/>
                    <a:gdLst>
                      <a:gd name="connsiteX0" fmla="*/ 565830 w 565830"/>
                      <a:gd name="connsiteY0" fmla="*/ 0 h 990203"/>
                      <a:gd name="connsiteX1" fmla="*/ 565830 w 565830"/>
                      <a:gd name="connsiteY1" fmla="*/ 658249 h 990203"/>
                      <a:gd name="connsiteX2" fmla="*/ 0 w 565830"/>
                      <a:gd name="connsiteY2" fmla="*/ 990203 h 990203"/>
                      <a:gd name="connsiteX3" fmla="*/ 0 w 565830"/>
                      <a:gd name="connsiteY3" fmla="*/ 330068 h 990203"/>
                      <a:gd name="connsiteX4" fmla="*/ 565830 w 565830"/>
                      <a:gd name="connsiteY4" fmla="*/ 0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0"/>
                        </a:moveTo>
                        <a:lnTo>
                          <a:pt x="565830" y="658249"/>
                        </a:lnTo>
                        <a:lnTo>
                          <a:pt x="0" y="990203"/>
                        </a:lnTo>
                        <a:lnTo>
                          <a:pt x="0" y="330068"/>
                        </a:lnTo>
                        <a:lnTo>
                          <a:pt x="565830" y="0"/>
                        </a:lnTo>
                        <a:close/>
                      </a:path>
                    </a:pathLst>
                  </a:custGeom>
                  <a:solidFill>
                    <a:srgbClr val="50E6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 name="Freeform: Shape 149">
                    <a:extLst>
                      <a:ext uri="{FF2B5EF4-FFF2-40B4-BE49-F238E27FC236}">
                        <a16:creationId xmlns:a16="http://schemas.microsoft.com/office/drawing/2014/main" id="{1DF67A2F-DBD3-1817-B264-F31281D10E9E}"/>
                      </a:ext>
                    </a:extLst>
                  </p:cNvPr>
                  <p:cNvSpPr/>
                  <p:nvPr/>
                </p:nvSpPr>
                <p:spPr>
                  <a:xfrm>
                    <a:off x="5507535" y="2488704"/>
                    <a:ext cx="1131660" cy="662021"/>
                  </a:xfrm>
                  <a:custGeom>
                    <a:avLst/>
                    <a:gdLst>
                      <a:gd name="connsiteX0" fmla="*/ 1131661 w 1131660"/>
                      <a:gd name="connsiteY0" fmla="*/ 330068 h 662021"/>
                      <a:gd name="connsiteX1" fmla="*/ 565830 w 1131660"/>
                      <a:gd name="connsiteY1" fmla="*/ 662021 h 662021"/>
                      <a:gd name="connsiteX2" fmla="*/ 0 w 1131660"/>
                      <a:gd name="connsiteY2" fmla="*/ 330068 h 662021"/>
                      <a:gd name="connsiteX3" fmla="*/ 565830 w 1131660"/>
                      <a:gd name="connsiteY3" fmla="*/ 0 h 662021"/>
                      <a:gd name="connsiteX4" fmla="*/ 1131661 w 1131660"/>
                      <a:gd name="connsiteY4" fmla="*/ 330068 h 662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660" h="662021">
                        <a:moveTo>
                          <a:pt x="1131661" y="330068"/>
                        </a:moveTo>
                        <a:lnTo>
                          <a:pt x="565830" y="662021"/>
                        </a:lnTo>
                        <a:lnTo>
                          <a:pt x="0" y="330068"/>
                        </a:lnTo>
                        <a:lnTo>
                          <a:pt x="565830" y="0"/>
                        </a:lnTo>
                        <a:lnTo>
                          <a:pt x="1131661" y="330068"/>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Freeform: Shape 150">
                    <a:extLst>
                      <a:ext uri="{FF2B5EF4-FFF2-40B4-BE49-F238E27FC236}">
                        <a16:creationId xmlns:a16="http://schemas.microsoft.com/office/drawing/2014/main" id="{66A99FF0-6D96-91D4-5E05-3CD91E9A20B3}"/>
                      </a:ext>
                    </a:extLst>
                  </p:cNvPr>
                  <p:cNvSpPr/>
                  <p:nvPr/>
                </p:nvSpPr>
                <p:spPr>
                  <a:xfrm>
                    <a:off x="5507535" y="2818772"/>
                    <a:ext cx="565830" cy="990203"/>
                  </a:xfrm>
                  <a:custGeom>
                    <a:avLst/>
                    <a:gdLst>
                      <a:gd name="connsiteX0" fmla="*/ 565830 w 565830"/>
                      <a:gd name="connsiteY0" fmla="*/ 331954 h 990203"/>
                      <a:gd name="connsiteX1" fmla="*/ 565830 w 565830"/>
                      <a:gd name="connsiteY1" fmla="*/ 990203 h 990203"/>
                      <a:gd name="connsiteX2" fmla="*/ 0 w 565830"/>
                      <a:gd name="connsiteY2" fmla="*/ 658249 h 990203"/>
                      <a:gd name="connsiteX3" fmla="*/ 0 w 565830"/>
                      <a:gd name="connsiteY3" fmla="*/ 0 h 990203"/>
                      <a:gd name="connsiteX4" fmla="*/ 565830 w 565830"/>
                      <a:gd name="connsiteY4" fmla="*/ 331954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331954"/>
                        </a:moveTo>
                        <a:lnTo>
                          <a:pt x="565830" y="990203"/>
                        </a:lnTo>
                        <a:lnTo>
                          <a:pt x="0" y="658249"/>
                        </a:lnTo>
                        <a:lnTo>
                          <a:pt x="0" y="0"/>
                        </a:lnTo>
                        <a:lnTo>
                          <a:pt x="565830" y="331954"/>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 name="Freeform: Shape 151">
                    <a:extLst>
                      <a:ext uri="{FF2B5EF4-FFF2-40B4-BE49-F238E27FC236}">
                        <a16:creationId xmlns:a16="http://schemas.microsoft.com/office/drawing/2014/main" id="{A3551FD2-A1DD-BAF9-91EE-C4D1DBD07DBC}"/>
                      </a:ext>
                    </a:extLst>
                  </p:cNvPr>
                  <p:cNvSpPr/>
                  <p:nvPr/>
                </p:nvSpPr>
                <p:spPr>
                  <a:xfrm>
                    <a:off x="5507535" y="3148839"/>
                    <a:ext cx="565830" cy="660135"/>
                  </a:xfrm>
                  <a:custGeom>
                    <a:avLst/>
                    <a:gdLst>
                      <a:gd name="connsiteX0" fmla="*/ 0 w 565830"/>
                      <a:gd name="connsiteY0" fmla="*/ 328182 h 660135"/>
                      <a:gd name="connsiteX1" fmla="*/ 565830 w 565830"/>
                      <a:gd name="connsiteY1" fmla="*/ 0 h 660135"/>
                      <a:gd name="connsiteX2" fmla="*/ 565830 w 565830"/>
                      <a:gd name="connsiteY2" fmla="*/ 660135 h 660135"/>
                      <a:gd name="connsiteX3" fmla="*/ 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0" y="328182"/>
                        </a:moveTo>
                        <a:lnTo>
                          <a:pt x="565830" y="0"/>
                        </a:lnTo>
                        <a:lnTo>
                          <a:pt x="565830" y="660135"/>
                        </a:lnTo>
                        <a:lnTo>
                          <a:pt x="0" y="328182"/>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8" name="Freeform: Shape 147">
                  <a:extLst>
                    <a:ext uri="{FF2B5EF4-FFF2-40B4-BE49-F238E27FC236}">
                      <a16:creationId xmlns:a16="http://schemas.microsoft.com/office/drawing/2014/main" id="{939F0791-604B-89BE-A521-765173CE4BA5}"/>
                    </a:ext>
                  </a:extLst>
                </p:cNvPr>
                <p:cNvSpPr/>
                <p:nvPr/>
              </p:nvSpPr>
              <p:spPr>
                <a:xfrm>
                  <a:off x="6073365" y="3148839"/>
                  <a:ext cx="565830" cy="660135"/>
                </a:xfrm>
                <a:custGeom>
                  <a:avLst/>
                  <a:gdLst>
                    <a:gd name="connsiteX0" fmla="*/ 565830 w 565830"/>
                    <a:gd name="connsiteY0" fmla="*/ 328182 h 660135"/>
                    <a:gd name="connsiteX1" fmla="*/ 0 w 565830"/>
                    <a:gd name="connsiteY1" fmla="*/ 0 h 660135"/>
                    <a:gd name="connsiteX2" fmla="*/ 0 w 565830"/>
                    <a:gd name="connsiteY2" fmla="*/ 660135 h 660135"/>
                    <a:gd name="connsiteX3" fmla="*/ 56583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565830" y="328182"/>
                      </a:moveTo>
                      <a:lnTo>
                        <a:pt x="0" y="0"/>
                      </a:lnTo>
                      <a:lnTo>
                        <a:pt x="0" y="660135"/>
                      </a:lnTo>
                      <a:lnTo>
                        <a:pt x="565830" y="328182"/>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33" name="Group 132">
                <a:extLst>
                  <a:ext uri="{FF2B5EF4-FFF2-40B4-BE49-F238E27FC236}">
                    <a16:creationId xmlns:a16="http://schemas.microsoft.com/office/drawing/2014/main" id="{EB489ED6-7221-1CE4-E8AA-B20A0C8B23EB}"/>
                  </a:ext>
                </a:extLst>
              </p:cNvPr>
              <p:cNvGrpSpPr/>
              <p:nvPr/>
            </p:nvGrpSpPr>
            <p:grpSpPr>
              <a:xfrm>
                <a:off x="6048831" y="2484649"/>
                <a:ext cx="751794" cy="877092"/>
                <a:chOff x="5507535" y="2488704"/>
                <a:chExt cx="1131660" cy="1320271"/>
              </a:xfrm>
              <a:effectLst>
                <a:outerShdw blurRad="63500" sx="102000" sy="102000" algn="ctr" rotWithShape="0">
                  <a:prstClr val="black">
                    <a:alpha val="40000"/>
                  </a:prstClr>
                </a:outerShdw>
              </a:effectLst>
            </p:grpSpPr>
            <p:grpSp>
              <p:nvGrpSpPr>
                <p:cNvPr id="141" name="Group 140">
                  <a:extLst>
                    <a:ext uri="{FF2B5EF4-FFF2-40B4-BE49-F238E27FC236}">
                      <a16:creationId xmlns:a16="http://schemas.microsoft.com/office/drawing/2014/main" id="{8EC457EF-4D6A-4F45-7911-6CF7D0C5ECB3}"/>
                    </a:ext>
                  </a:extLst>
                </p:cNvPr>
                <p:cNvGrpSpPr/>
                <p:nvPr/>
              </p:nvGrpSpPr>
              <p:grpSpPr>
                <a:xfrm>
                  <a:off x="5507535" y="2488704"/>
                  <a:ext cx="1131660" cy="1320271"/>
                  <a:chOff x="5507535" y="2488704"/>
                  <a:chExt cx="1131660" cy="1320271"/>
                </a:xfrm>
              </p:grpSpPr>
              <p:sp>
                <p:nvSpPr>
                  <p:cNvPr id="143" name="Freeform: Shape 142">
                    <a:extLst>
                      <a:ext uri="{FF2B5EF4-FFF2-40B4-BE49-F238E27FC236}">
                        <a16:creationId xmlns:a16="http://schemas.microsoft.com/office/drawing/2014/main" id="{B59C737C-8944-DC12-EED9-FB48FCE332DF}"/>
                      </a:ext>
                    </a:extLst>
                  </p:cNvPr>
                  <p:cNvSpPr/>
                  <p:nvPr/>
                </p:nvSpPr>
                <p:spPr>
                  <a:xfrm>
                    <a:off x="6073365" y="2818772"/>
                    <a:ext cx="565830" cy="990203"/>
                  </a:xfrm>
                  <a:custGeom>
                    <a:avLst/>
                    <a:gdLst>
                      <a:gd name="connsiteX0" fmla="*/ 565830 w 565830"/>
                      <a:gd name="connsiteY0" fmla="*/ 0 h 990203"/>
                      <a:gd name="connsiteX1" fmla="*/ 565830 w 565830"/>
                      <a:gd name="connsiteY1" fmla="*/ 658249 h 990203"/>
                      <a:gd name="connsiteX2" fmla="*/ 0 w 565830"/>
                      <a:gd name="connsiteY2" fmla="*/ 990203 h 990203"/>
                      <a:gd name="connsiteX3" fmla="*/ 0 w 565830"/>
                      <a:gd name="connsiteY3" fmla="*/ 330068 h 990203"/>
                      <a:gd name="connsiteX4" fmla="*/ 565830 w 565830"/>
                      <a:gd name="connsiteY4" fmla="*/ 0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0"/>
                        </a:moveTo>
                        <a:lnTo>
                          <a:pt x="565830" y="658249"/>
                        </a:lnTo>
                        <a:lnTo>
                          <a:pt x="0" y="990203"/>
                        </a:lnTo>
                        <a:lnTo>
                          <a:pt x="0" y="330068"/>
                        </a:lnTo>
                        <a:lnTo>
                          <a:pt x="565830" y="0"/>
                        </a:lnTo>
                        <a:close/>
                      </a:path>
                    </a:pathLst>
                  </a:custGeom>
                  <a:solidFill>
                    <a:srgbClr val="50E6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Freeform: Shape 143">
                    <a:extLst>
                      <a:ext uri="{FF2B5EF4-FFF2-40B4-BE49-F238E27FC236}">
                        <a16:creationId xmlns:a16="http://schemas.microsoft.com/office/drawing/2014/main" id="{D869962F-E5EF-1511-3445-A30FA5E2E016}"/>
                      </a:ext>
                    </a:extLst>
                  </p:cNvPr>
                  <p:cNvSpPr/>
                  <p:nvPr/>
                </p:nvSpPr>
                <p:spPr>
                  <a:xfrm>
                    <a:off x="5507535" y="2488704"/>
                    <a:ext cx="1131660" cy="662021"/>
                  </a:xfrm>
                  <a:custGeom>
                    <a:avLst/>
                    <a:gdLst>
                      <a:gd name="connsiteX0" fmla="*/ 1131661 w 1131660"/>
                      <a:gd name="connsiteY0" fmla="*/ 330068 h 662021"/>
                      <a:gd name="connsiteX1" fmla="*/ 565830 w 1131660"/>
                      <a:gd name="connsiteY1" fmla="*/ 662021 h 662021"/>
                      <a:gd name="connsiteX2" fmla="*/ 0 w 1131660"/>
                      <a:gd name="connsiteY2" fmla="*/ 330068 h 662021"/>
                      <a:gd name="connsiteX3" fmla="*/ 565830 w 1131660"/>
                      <a:gd name="connsiteY3" fmla="*/ 0 h 662021"/>
                      <a:gd name="connsiteX4" fmla="*/ 1131661 w 1131660"/>
                      <a:gd name="connsiteY4" fmla="*/ 330068 h 662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660" h="662021">
                        <a:moveTo>
                          <a:pt x="1131661" y="330068"/>
                        </a:moveTo>
                        <a:lnTo>
                          <a:pt x="565830" y="662021"/>
                        </a:lnTo>
                        <a:lnTo>
                          <a:pt x="0" y="330068"/>
                        </a:lnTo>
                        <a:lnTo>
                          <a:pt x="565830" y="0"/>
                        </a:lnTo>
                        <a:lnTo>
                          <a:pt x="1131661" y="330068"/>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Freeform: Shape 144">
                    <a:extLst>
                      <a:ext uri="{FF2B5EF4-FFF2-40B4-BE49-F238E27FC236}">
                        <a16:creationId xmlns:a16="http://schemas.microsoft.com/office/drawing/2014/main" id="{324A9E5C-6E59-C016-F9FD-D741DD66D58C}"/>
                      </a:ext>
                    </a:extLst>
                  </p:cNvPr>
                  <p:cNvSpPr/>
                  <p:nvPr/>
                </p:nvSpPr>
                <p:spPr>
                  <a:xfrm>
                    <a:off x="5507535" y="2818772"/>
                    <a:ext cx="565830" cy="990203"/>
                  </a:xfrm>
                  <a:custGeom>
                    <a:avLst/>
                    <a:gdLst>
                      <a:gd name="connsiteX0" fmla="*/ 565830 w 565830"/>
                      <a:gd name="connsiteY0" fmla="*/ 331954 h 990203"/>
                      <a:gd name="connsiteX1" fmla="*/ 565830 w 565830"/>
                      <a:gd name="connsiteY1" fmla="*/ 990203 h 990203"/>
                      <a:gd name="connsiteX2" fmla="*/ 0 w 565830"/>
                      <a:gd name="connsiteY2" fmla="*/ 658249 h 990203"/>
                      <a:gd name="connsiteX3" fmla="*/ 0 w 565830"/>
                      <a:gd name="connsiteY3" fmla="*/ 0 h 990203"/>
                      <a:gd name="connsiteX4" fmla="*/ 565830 w 565830"/>
                      <a:gd name="connsiteY4" fmla="*/ 331954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331954"/>
                        </a:moveTo>
                        <a:lnTo>
                          <a:pt x="565830" y="990203"/>
                        </a:lnTo>
                        <a:lnTo>
                          <a:pt x="0" y="658249"/>
                        </a:lnTo>
                        <a:lnTo>
                          <a:pt x="0" y="0"/>
                        </a:lnTo>
                        <a:lnTo>
                          <a:pt x="565830" y="331954"/>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Freeform: Shape 145">
                    <a:extLst>
                      <a:ext uri="{FF2B5EF4-FFF2-40B4-BE49-F238E27FC236}">
                        <a16:creationId xmlns:a16="http://schemas.microsoft.com/office/drawing/2014/main" id="{0C765F75-6617-4D1A-761C-C45A4661502D}"/>
                      </a:ext>
                    </a:extLst>
                  </p:cNvPr>
                  <p:cNvSpPr/>
                  <p:nvPr/>
                </p:nvSpPr>
                <p:spPr>
                  <a:xfrm>
                    <a:off x="5507535" y="3148839"/>
                    <a:ext cx="565830" cy="660135"/>
                  </a:xfrm>
                  <a:custGeom>
                    <a:avLst/>
                    <a:gdLst>
                      <a:gd name="connsiteX0" fmla="*/ 0 w 565830"/>
                      <a:gd name="connsiteY0" fmla="*/ 328182 h 660135"/>
                      <a:gd name="connsiteX1" fmla="*/ 565830 w 565830"/>
                      <a:gd name="connsiteY1" fmla="*/ 0 h 660135"/>
                      <a:gd name="connsiteX2" fmla="*/ 565830 w 565830"/>
                      <a:gd name="connsiteY2" fmla="*/ 660135 h 660135"/>
                      <a:gd name="connsiteX3" fmla="*/ 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0" y="328182"/>
                        </a:moveTo>
                        <a:lnTo>
                          <a:pt x="565830" y="0"/>
                        </a:lnTo>
                        <a:lnTo>
                          <a:pt x="565830" y="660135"/>
                        </a:lnTo>
                        <a:lnTo>
                          <a:pt x="0" y="328182"/>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2" name="Freeform: Shape 141">
                  <a:extLst>
                    <a:ext uri="{FF2B5EF4-FFF2-40B4-BE49-F238E27FC236}">
                      <a16:creationId xmlns:a16="http://schemas.microsoft.com/office/drawing/2014/main" id="{C6626E6C-CEB6-3596-2389-12A40DAC7F16}"/>
                    </a:ext>
                  </a:extLst>
                </p:cNvPr>
                <p:cNvSpPr/>
                <p:nvPr/>
              </p:nvSpPr>
              <p:spPr>
                <a:xfrm>
                  <a:off x="6073365" y="3148839"/>
                  <a:ext cx="565830" cy="660135"/>
                </a:xfrm>
                <a:custGeom>
                  <a:avLst/>
                  <a:gdLst>
                    <a:gd name="connsiteX0" fmla="*/ 565830 w 565830"/>
                    <a:gd name="connsiteY0" fmla="*/ 328182 h 660135"/>
                    <a:gd name="connsiteX1" fmla="*/ 0 w 565830"/>
                    <a:gd name="connsiteY1" fmla="*/ 0 h 660135"/>
                    <a:gd name="connsiteX2" fmla="*/ 0 w 565830"/>
                    <a:gd name="connsiteY2" fmla="*/ 660135 h 660135"/>
                    <a:gd name="connsiteX3" fmla="*/ 56583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565830" y="328182"/>
                      </a:moveTo>
                      <a:lnTo>
                        <a:pt x="0" y="0"/>
                      </a:lnTo>
                      <a:lnTo>
                        <a:pt x="0" y="660135"/>
                      </a:lnTo>
                      <a:lnTo>
                        <a:pt x="565830" y="328182"/>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34" name="Group 133">
                <a:extLst>
                  <a:ext uri="{FF2B5EF4-FFF2-40B4-BE49-F238E27FC236}">
                    <a16:creationId xmlns:a16="http://schemas.microsoft.com/office/drawing/2014/main" id="{04484B1B-DBBD-C886-1FBE-135AFB151D10}"/>
                  </a:ext>
                </a:extLst>
              </p:cNvPr>
              <p:cNvGrpSpPr/>
              <p:nvPr/>
            </p:nvGrpSpPr>
            <p:grpSpPr>
              <a:xfrm>
                <a:off x="6281772" y="2295504"/>
                <a:ext cx="751794" cy="877092"/>
                <a:chOff x="5507535" y="2488704"/>
                <a:chExt cx="1131660" cy="1320271"/>
              </a:xfrm>
              <a:effectLst>
                <a:outerShdw blurRad="63500" sx="102000" sy="102000" algn="ctr" rotWithShape="0">
                  <a:prstClr val="black">
                    <a:alpha val="40000"/>
                  </a:prstClr>
                </a:outerShdw>
              </a:effectLst>
            </p:grpSpPr>
            <p:grpSp>
              <p:nvGrpSpPr>
                <p:cNvPr id="135" name="Group 134">
                  <a:extLst>
                    <a:ext uri="{FF2B5EF4-FFF2-40B4-BE49-F238E27FC236}">
                      <a16:creationId xmlns:a16="http://schemas.microsoft.com/office/drawing/2014/main" id="{21DD2A46-F44C-A656-90F1-22A3403751A2}"/>
                    </a:ext>
                  </a:extLst>
                </p:cNvPr>
                <p:cNvGrpSpPr/>
                <p:nvPr/>
              </p:nvGrpSpPr>
              <p:grpSpPr>
                <a:xfrm>
                  <a:off x="5507535" y="2488704"/>
                  <a:ext cx="1131660" cy="1320271"/>
                  <a:chOff x="5507535" y="2488704"/>
                  <a:chExt cx="1131660" cy="1320271"/>
                </a:xfrm>
              </p:grpSpPr>
              <p:sp>
                <p:nvSpPr>
                  <p:cNvPr id="137" name="Freeform: Shape 136">
                    <a:extLst>
                      <a:ext uri="{FF2B5EF4-FFF2-40B4-BE49-F238E27FC236}">
                        <a16:creationId xmlns:a16="http://schemas.microsoft.com/office/drawing/2014/main" id="{7C391CB1-6DDF-4796-E672-CF0CE3F6AFAF}"/>
                      </a:ext>
                    </a:extLst>
                  </p:cNvPr>
                  <p:cNvSpPr/>
                  <p:nvPr/>
                </p:nvSpPr>
                <p:spPr>
                  <a:xfrm>
                    <a:off x="6073365" y="2818772"/>
                    <a:ext cx="565830" cy="990203"/>
                  </a:xfrm>
                  <a:custGeom>
                    <a:avLst/>
                    <a:gdLst>
                      <a:gd name="connsiteX0" fmla="*/ 565830 w 565830"/>
                      <a:gd name="connsiteY0" fmla="*/ 0 h 990203"/>
                      <a:gd name="connsiteX1" fmla="*/ 565830 w 565830"/>
                      <a:gd name="connsiteY1" fmla="*/ 658249 h 990203"/>
                      <a:gd name="connsiteX2" fmla="*/ 0 w 565830"/>
                      <a:gd name="connsiteY2" fmla="*/ 990203 h 990203"/>
                      <a:gd name="connsiteX3" fmla="*/ 0 w 565830"/>
                      <a:gd name="connsiteY3" fmla="*/ 330068 h 990203"/>
                      <a:gd name="connsiteX4" fmla="*/ 565830 w 565830"/>
                      <a:gd name="connsiteY4" fmla="*/ 0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0"/>
                        </a:moveTo>
                        <a:lnTo>
                          <a:pt x="565830" y="658249"/>
                        </a:lnTo>
                        <a:lnTo>
                          <a:pt x="0" y="990203"/>
                        </a:lnTo>
                        <a:lnTo>
                          <a:pt x="0" y="330068"/>
                        </a:lnTo>
                        <a:lnTo>
                          <a:pt x="565830" y="0"/>
                        </a:lnTo>
                        <a:close/>
                      </a:path>
                    </a:pathLst>
                  </a:custGeom>
                  <a:solidFill>
                    <a:srgbClr val="50E6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Freeform: Shape 137">
                    <a:extLst>
                      <a:ext uri="{FF2B5EF4-FFF2-40B4-BE49-F238E27FC236}">
                        <a16:creationId xmlns:a16="http://schemas.microsoft.com/office/drawing/2014/main" id="{DFCB73AA-A0F7-C920-CAB9-88FA018768E4}"/>
                      </a:ext>
                    </a:extLst>
                  </p:cNvPr>
                  <p:cNvSpPr/>
                  <p:nvPr/>
                </p:nvSpPr>
                <p:spPr>
                  <a:xfrm>
                    <a:off x="5507535" y="2488704"/>
                    <a:ext cx="1131660" cy="662021"/>
                  </a:xfrm>
                  <a:custGeom>
                    <a:avLst/>
                    <a:gdLst>
                      <a:gd name="connsiteX0" fmla="*/ 1131661 w 1131660"/>
                      <a:gd name="connsiteY0" fmla="*/ 330068 h 662021"/>
                      <a:gd name="connsiteX1" fmla="*/ 565830 w 1131660"/>
                      <a:gd name="connsiteY1" fmla="*/ 662021 h 662021"/>
                      <a:gd name="connsiteX2" fmla="*/ 0 w 1131660"/>
                      <a:gd name="connsiteY2" fmla="*/ 330068 h 662021"/>
                      <a:gd name="connsiteX3" fmla="*/ 565830 w 1131660"/>
                      <a:gd name="connsiteY3" fmla="*/ 0 h 662021"/>
                      <a:gd name="connsiteX4" fmla="*/ 1131661 w 1131660"/>
                      <a:gd name="connsiteY4" fmla="*/ 330068 h 662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660" h="662021">
                        <a:moveTo>
                          <a:pt x="1131661" y="330068"/>
                        </a:moveTo>
                        <a:lnTo>
                          <a:pt x="565830" y="662021"/>
                        </a:lnTo>
                        <a:lnTo>
                          <a:pt x="0" y="330068"/>
                        </a:lnTo>
                        <a:lnTo>
                          <a:pt x="565830" y="0"/>
                        </a:lnTo>
                        <a:lnTo>
                          <a:pt x="1131661" y="330068"/>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Freeform: Shape 138">
                    <a:extLst>
                      <a:ext uri="{FF2B5EF4-FFF2-40B4-BE49-F238E27FC236}">
                        <a16:creationId xmlns:a16="http://schemas.microsoft.com/office/drawing/2014/main" id="{ABE6159C-2412-4F58-3171-3C0A8BAFBBD4}"/>
                      </a:ext>
                    </a:extLst>
                  </p:cNvPr>
                  <p:cNvSpPr/>
                  <p:nvPr/>
                </p:nvSpPr>
                <p:spPr>
                  <a:xfrm>
                    <a:off x="5507535" y="2818772"/>
                    <a:ext cx="565830" cy="990203"/>
                  </a:xfrm>
                  <a:custGeom>
                    <a:avLst/>
                    <a:gdLst>
                      <a:gd name="connsiteX0" fmla="*/ 565830 w 565830"/>
                      <a:gd name="connsiteY0" fmla="*/ 331954 h 990203"/>
                      <a:gd name="connsiteX1" fmla="*/ 565830 w 565830"/>
                      <a:gd name="connsiteY1" fmla="*/ 990203 h 990203"/>
                      <a:gd name="connsiteX2" fmla="*/ 0 w 565830"/>
                      <a:gd name="connsiteY2" fmla="*/ 658249 h 990203"/>
                      <a:gd name="connsiteX3" fmla="*/ 0 w 565830"/>
                      <a:gd name="connsiteY3" fmla="*/ 0 h 990203"/>
                      <a:gd name="connsiteX4" fmla="*/ 565830 w 565830"/>
                      <a:gd name="connsiteY4" fmla="*/ 331954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331954"/>
                        </a:moveTo>
                        <a:lnTo>
                          <a:pt x="565830" y="990203"/>
                        </a:lnTo>
                        <a:lnTo>
                          <a:pt x="0" y="658249"/>
                        </a:lnTo>
                        <a:lnTo>
                          <a:pt x="0" y="0"/>
                        </a:lnTo>
                        <a:lnTo>
                          <a:pt x="565830" y="331954"/>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Freeform: Shape 139">
                    <a:extLst>
                      <a:ext uri="{FF2B5EF4-FFF2-40B4-BE49-F238E27FC236}">
                        <a16:creationId xmlns:a16="http://schemas.microsoft.com/office/drawing/2014/main" id="{3F6C064B-2DCB-563F-5ACC-4E64A7862142}"/>
                      </a:ext>
                    </a:extLst>
                  </p:cNvPr>
                  <p:cNvSpPr/>
                  <p:nvPr/>
                </p:nvSpPr>
                <p:spPr>
                  <a:xfrm>
                    <a:off x="5507535" y="3148839"/>
                    <a:ext cx="565830" cy="660135"/>
                  </a:xfrm>
                  <a:custGeom>
                    <a:avLst/>
                    <a:gdLst>
                      <a:gd name="connsiteX0" fmla="*/ 0 w 565830"/>
                      <a:gd name="connsiteY0" fmla="*/ 328182 h 660135"/>
                      <a:gd name="connsiteX1" fmla="*/ 565830 w 565830"/>
                      <a:gd name="connsiteY1" fmla="*/ 0 h 660135"/>
                      <a:gd name="connsiteX2" fmla="*/ 565830 w 565830"/>
                      <a:gd name="connsiteY2" fmla="*/ 660135 h 660135"/>
                      <a:gd name="connsiteX3" fmla="*/ 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0" y="328182"/>
                        </a:moveTo>
                        <a:lnTo>
                          <a:pt x="565830" y="0"/>
                        </a:lnTo>
                        <a:lnTo>
                          <a:pt x="565830" y="660135"/>
                        </a:lnTo>
                        <a:lnTo>
                          <a:pt x="0" y="328182"/>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6" name="Freeform: Shape 135">
                  <a:extLst>
                    <a:ext uri="{FF2B5EF4-FFF2-40B4-BE49-F238E27FC236}">
                      <a16:creationId xmlns:a16="http://schemas.microsoft.com/office/drawing/2014/main" id="{061A1D33-785A-F25A-A82B-C614BE7AF12B}"/>
                    </a:ext>
                  </a:extLst>
                </p:cNvPr>
                <p:cNvSpPr/>
                <p:nvPr/>
              </p:nvSpPr>
              <p:spPr>
                <a:xfrm>
                  <a:off x="6073365" y="3148839"/>
                  <a:ext cx="565830" cy="660135"/>
                </a:xfrm>
                <a:custGeom>
                  <a:avLst/>
                  <a:gdLst>
                    <a:gd name="connsiteX0" fmla="*/ 565830 w 565830"/>
                    <a:gd name="connsiteY0" fmla="*/ 328182 h 660135"/>
                    <a:gd name="connsiteX1" fmla="*/ 0 w 565830"/>
                    <a:gd name="connsiteY1" fmla="*/ 0 h 660135"/>
                    <a:gd name="connsiteX2" fmla="*/ 0 w 565830"/>
                    <a:gd name="connsiteY2" fmla="*/ 660135 h 660135"/>
                    <a:gd name="connsiteX3" fmla="*/ 56583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565830" y="328182"/>
                      </a:moveTo>
                      <a:lnTo>
                        <a:pt x="0" y="0"/>
                      </a:lnTo>
                      <a:lnTo>
                        <a:pt x="0" y="660135"/>
                      </a:lnTo>
                      <a:lnTo>
                        <a:pt x="565830" y="328182"/>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5" name="Group 54">
              <a:extLst>
                <a:ext uri="{FF2B5EF4-FFF2-40B4-BE49-F238E27FC236}">
                  <a16:creationId xmlns:a16="http://schemas.microsoft.com/office/drawing/2014/main" id="{A4EDCC22-2256-E703-5EA7-E7E871AE1739}"/>
                </a:ext>
                <a:ext uri="{C183D7F6-B498-43B3-948B-1728B52AA6E4}">
                  <adec:decorative xmlns:adec="http://schemas.microsoft.com/office/drawing/2017/decorative" val="1"/>
                </a:ext>
              </a:extLst>
            </p:cNvPr>
            <p:cNvGrpSpPr/>
            <p:nvPr/>
          </p:nvGrpSpPr>
          <p:grpSpPr>
            <a:xfrm>
              <a:off x="3816096" y="2896749"/>
              <a:ext cx="2442952" cy="2257015"/>
              <a:chOff x="4375874" y="2017179"/>
              <a:chExt cx="3394982" cy="3136585"/>
            </a:xfrm>
            <a:effectLst>
              <a:outerShdw blurRad="63500" sx="102000" sy="102000" algn="ctr" rotWithShape="0">
                <a:prstClr val="black">
                  <a:alpha val="40000"/>
                </a:prstClr>
              </a:outerShdw>
            </a:effectLst>
          </p:grpSpPr>
          <p:sp>
            <p:nvSpPr>
              <p:cNvPr id="56" name="Freeform: Shape 55">
                <a:extLst>
                  <a:ext uri="{FF2B5EF4-FFF2-40B4-BE49-F238E27FC236}">
                    <a16:creationId xmlns:a16="http://schemas.microsoft.com/office/drawing/2014/main" id="{8C134F34-DD29-C598-8EE1-DAAA1459F000}"/>
                  </a:ext>
                </a:extLst>
              </p:cNvPr>
              <p:cNvSpPr/>
              <p:nvPr/>
            </p:nvSpPr>
            <p:spPr>
              <a:xfrm>
                <a:off x="4375874" y="2017179"/>
                <a:ext cx="3394982" cy="2263321"/>
              </a:xfrm>
              <a:custGeom>
                <a:avLst/>
                <a:gdLst>
                  <a:gd name="connsiteX0" fmla="*/ 3281816 w 3394982"/>
                  <a:gd name="connsiteY0" fmla="*/ 0 h 2263321"/>
                  <a:gd name="connsiteX1" fmla="*/ 3394982 w 3394982"/>
                  <a:gd name="connsiteY1" fmla="*/ 0 h 2263321"/>
                  <a:gd name="connsiteX2" fmla="*/ 3394982 w 3394982"/>
                  <a:gd name="connsiteY2" fmla="*/ 2263321 h 2263321"/>
                  <a:gd name="connsiteX3" fmla="*/ 3281816 w 3394982"/>
                  <a:gd name="connsiteY3" fmla="*/ 2263321 h 2263321"/>
                  <a:gd name="connsiteX4" fmla="*/ 113166 w 3394982"/>
                  <a:gd name="connsiteY4" fmla="*/ 2263321 h 2263321"/>
                  <a:gd name="connsiteX5" fmla="*/ 0 w 3394982"/>
                  <a:gd name="connsiteY5" fmla="*/ 2263321 h 2263321"/>
                  <a:gd name="connsiteX6" fmla="*/ 0 w 3394982"/>
                  <a:gd name="connsiteY6" fmla="*/ 0 h 2263321"/>
                  <a:gd name="connsiteX7" fmla="*/ 113166 w 3394982"/>
                  <a:gd name="connsiteY7" fmla="*/ 0 h 2263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4982" h="2263321">
                    <a:moveTo>
                      <a:pt x="3281816" y="0"/>
                    </a:moveTo>
                    <a:cubicBezTo>
                      <a:pt x="3344316" y="0"/>
                      <a:pt x="3394982" y="0"/>
                      <a:pt x="3394982" y="0"/>
                    </a:cubicBezTo>
                    <a:lnTo>
                      <a:pt x="3394982" y="2263321"/>
                    </a:lnTo>
                    <a:cubicBezTo>
                      <a:pt x="3394982" y="2263321"/>
                      <a:pt x="3344316" y="2263321"/>
                      <a:pt x="3281816" y="2263321"/>
                    </a:cubicBezTo>
                    <a:lnTo>
                      <a:pt x="113166" y="2263321"/>
                    </a:lnTo>
                    <a:cubicBezTo>
                      <a:pt x="50666" y="2263321"/>
                      <a:pt x="0" y="2263321"/>
                      <a:pt x="0" y="2263321"/>
                    </a:cubicBezTo>
                    <a:lnTo>
                      <a:pt x="0" y="0"/>
                    </a:lnTo>
                    <a:cubicBezTo>
                      <a:pt x="0" y="0"/>
                      <a:pt x="50666" y="0"/>
                      <a:pt x="113166" y="0"/>
                    </a:cubicBezTo>
                    <a:close/>
                  </a:path>
                </a:pathLst>
              </a:custGeom>
              <a:solidFill>
                <a:srgbClr val="0078D4"/>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57" name="Group 56">
                <a:extLst>
                  <a:ext uri="{FF2B5EF4-FFF2-40B4-BE49-F238E27FC236}">
                    <a16:creationId xmlns:a16="http://schemas.microsoft.com/office/drawing/2014/main" id="{B325E7B0-8138-4269-57C3-3484BB444627}"/>
                  </a:ext>
                </a:extLst>
              </p:cNvPr>
              <p:cNvGrpSpPr/>
              <p:nvPr/>
            </p:nvGrpSpPr>
            <p:grpSpPr>
              <a:xfrm>
                <a:off x="5344212" y="3032831"/>
                <a:ext cx="751794" cy="877092"/>
                <a:chOff x="5507535" y="2488704"/>
                <a:chExt cx="1131660" cy="1320271"/>
              </a:xfrm>
              <a:effectLst>
                <a:outerShdw blurRad="63500" sx="102000" sy="102000" algn="ctr" rotWithShape="0">
                  <a:prstClr val="black">
                    <a:alpha val="40000"/>
                  </a:prstClr>
                </a:outerShdw>
              </a:effectLst>
            </p:grpSpPr>
            <p:grpSp>
              <p:nvGrpSpPr>
                <p:cNvPr id="122" name="Group 121">
                  <a:extLst>
                    <a:ext uri="{FF2B5EF4-FFF2-40B4-BE49-F238E27FC236}">
                      <a16:creationId xmlns:a16="http://schemas.microsoft.com/office/drawing/2014/main" id="{6E1722D7-4A3A-9E22-2DC1-E87763041E2C}"/>
                    </a:ext>
                  </a:extLst>
                </p:cNvPr>
                <p:cNvGrpSpPr/>
                <p:nvPr/>
              </p:nvGrpSpPr>
              <p:grpSpPr>
                <a:xfrm>
                  <a:off x="5507535" y="2488704"/>
                  <a:ext cx="1131660" cy="1320271"/>
                  <a:chOff x="5507535" y="2488704"/>
                  <a:chExt cx="1131660" cy="1320271"/>
                </a:xfrm>
              </p:grpSpPr>
              <p:sp>
                <p:nvSpPr>
                  <p:cNvPr id="124" name="Freeform: Shape 123">
                    <a:extLst>
                      <a:ext uri="{FF2B5EF4-FFF2-40B4-BE49-F238E27FC236}">
                        <a16:creationId xmlns:a16="http://schemas.microsoft.com/office/drawing/2014/main" id="{4AE7BE2D-E4EC-4D08-6934-3E859F073EE8}"/>
                      </a:ext>
                    </a:extLst>
                  </p:cNvPr>
                  <p:cNvSpPr/>
                  <p:nvPr/>
                </p:nvSpPr>
                <p:spPr>
                  <a:xfrm>
                    <a:off x="6073365" y="2818772"/>
                    <a:ext cx="565830" cy="990203"/>
                  </a:xfrm>
                  <a:custGeom>
                    <a:avLst/>
                    <a:gdLst>
                      <a:gd name="connsiteX0" fmla="*/ 565830 w 565830"/>
                      <a:gd name="connsiteY0" fmla="*/ 0 h 990203"/>
                      <a:gd name="connsiteX1" fmla="*/ 565830 w 565830"/>
                      <a:gd name="connsiteY1" fmla="*/ 658249 h 990203"/>
                      <a:gd name="connsiteX2" fmla="*/ 0 w 565830"/>
                      <a:gd name="connsiteY2" fmla="*/ 990203 h 990203"/>
                      <a:gd name="connsiteX3" fmla="*/ 0 w 565830"/>
                      <a:gd name="connsiteY3" fmla="*/ 330068 h 990203"/>
                      <a:gd name="connsiteX4" fmla="*/ 565830 w 565830"/>
                      <a:gd name="connsiteY4" fmla="*/ 0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0"/>
                        </a:moveTo>
                        <a:lnTo>
                          <a:pt x="565830" y="658249"/>
                        </a:lnTo>
                        <a:lnTo>
                          <a:pt x="0" y="990203"/>
                        </a:lnTo>
                        <a:lnTo>
                          <a:pt x="0" y="330068"/>
                        </a:lnTo>
                        <a:lnTo>
                          <a:pt x="565830" y="0"/>
                        </a:lnTo>
                        <a:close/>
                      </a:path>
                    </a:pathLst>
                  </a:custGeom>
                  <a:solidFill>
                    <a:srgbClr val="50E6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Shape 124">
                    <a:extLst>
                      <a:ext uri="{FF2B5EF4-FFF2-40B4-BE49-F238E27FC236}">
                        <a16:creationId xmlns:a16="http://schemas.microsoft.com/office/drawing/2014/main" id="{65053283-4BA4-A89B-E473-A7FA585A8985}"/>
                      </a:ext>
                    </a:extLst>
                  </p:cNvPr>
                  <p:cNvSpPr/>
                  <p:nvPr/>
                </p:nvSpPr>
                <p:spPr>
                  <a:xfrm>
                    <a:off x="5507535" y="2488704"/>
                    <a:ext cx="1131660" cy="662021"/>
                  </a:xfrm>
                  <a:custGeom>
                    <a:avLst/>
                    <a:gdLst>
                      <a:gd name="connsiteX0" fmla="*/ 1131661 w 1131660"/>
                      <a:gd name="connsiteY0" fmla="*/ 330068 h 662021"/>
                      <a:gd name="connsiteX1" fmla="*/ 565830 w 1131660"/>
                      <a:gd name="connsiteY1" fmla="*/ 662021 h 662021"/>
                      <a:gd name="connsiteX2" fmla="*/ 0 w 1131660"/>
                      <a:gd name="connsiteY2" fmla="*/ 330068 h 662021"/>
                      <a:gd name="connsiteX3" fmla="*/ 565830 w 1131660"/>
                      <a:gd name="connsiteY3" fmla="*/ 0 h 662021"/>
                      <a:gd name="connsiteX4" fmla="*/ 1131661 w 1131660"/>
                      <a:gd name="connsiteY4" fmla="*/ 330068 h 662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660" h="662021">
                        <a:moveTo>
                          <a:pt x="1131661" y="330068"/>
                        </a:moveTo>
                        <a:lnTo>
                          <a:pt x="565830" y="662021"/>
                        </a:lnTo>
                        <a:lnTo>
                          <a:pt x="0" y="330068"/>
                        </a:lnTo>
                        <a:lnTo>
                          <a:pt x="565830" y="0"/>
                        </a:lnTo>
                        <a:lnTo>
                          <a:pt x="1131661" y="330068"/>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Freeform: Shape 125">
                    <a:extLst>
                      <a:ext uri="{FF2B5EF4-FFF2-40B4-BE49-F238E27FC236}">
                        <a16:creationId xmlns:a16="http://schemas.microsoft.com/office/drawing/2014/main" id="{5535B460-8982-07A4-C84E-5BB25E70E603}"/>
                      </a:ext>
                    </a:extLst>
                  </p:cNvPr>
                  <p:cNvSpPr/>
                  <p:nvPr/>
                </p:nvSpPr>
                <p:spPr>
                  <a:xfrm>
                    <a:off x="5507535" y="2818772"/>
                    <a:ext cx="565830" cy="990203"/>
                  </a:xfrm>
                  <a:custGeom>
                    <a:avLst/>
                    <a:gdLst>
                      <a:gd name="connsiteX0" fmla="*/ 565830 w 565830"/>
                      <a:gd name="connsiteY0" fmla="*/ 331954 h 990203"/>
                      <a:gd name="connsiteX1" fmla="*/ 565830 w 565830"/>
                      <a:gd name="connsiteY1" fmla="*/ 990203 h 990203"/>
                      <a:gd name="connsiteX2" fmla="*/ 0 w 565830"/>
                      <a:gd name="connsiteY2" fmla="*/ 658249 h 990203"/>
                      <a:gd name="connsiteX3" fmla="*/ 0 w 565830"/>
                      <a:gd name="connsiteY3" fmla="*/ 0 h 990203"/>
                      <a:gd name="connsiteX4" fmla="*/ 565830 w 565830"/>
                      <a:gd name="connsiteY4" fmla="*/ 331954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331954"/>
                        </a:moveTo>
                        <a:lnTo>
                          <a:pt x="565830" y="990203"/>
                        </a:lnTo>
                        <a:lnTo>
                          <a:pt x="0" y="658249"/>
                        </a:lnTo>
                        <a:lnTo>
                          <a:pt x="0" y="0"/>
                        </a:lnTo>
                        <a:lnTo>
                          <a:pt x="565830" y="331954"/>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Shape 126">
                    <a:extLst>
                      <a:ext uri="{FF2B5EF4-FFF2-40B4-BE49-F238E27FC236}">
                        <a16:creationId xmlns:a16="http://schemas.microsoft.com/office/drawing/2014/main" id="{79E1CF88-A392-4031-34B9-D5372555A429}"/>
                      </a:ext>
                    </a:extLst>
                  </p:cNvPr>
                  <p:cNvSpPr/>
                  <p:nvPr/>
                </p:nvSpPr>
                <p:spPr>
                  <a:xfrm>
                    <a:off x="5507535" y="3148839"/>
                    <a:ext cx="565830" cy="660135"/>
                  </a:xfrm>
                  <a:custGeom>
                    <a:avLst/>
                    <a:gdLst>
                      <a:gd name="connsiteX0" fmla="*/ 0 w 565830"/>
                      <a:gd name="connsiteY0" fmla="*/ 328182 h 660135"/>
                      <a:gd name="connsiteX1" fmla="*/ 565830 w 565830"/>
                      <a:gd name="connsiteY1" fmla="*/ 0 h 660135"/>
                      <a:gd name="connsiteX2" fmla="*/ 565830 w 565830"/>
                      <a:gd name="connsiteY2" fmla="*/ 660135 h 660135"/>
                      <a:gd name="connsiteX3" fmla="*/ 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0" y="328182"/>
                        </a:moveTo>
                        <a:lnTo>
                          <a:pt x="565830" y="0"/>
                        </a:lnTo>
                        <a:lnTo>
                          <a:pt x="565830" y="660135"/>
                        </a:lnTo>
                        <a:lnTo>
                          <a:pt x="0" y="328182"/>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3" name="Freeform: Shape 122">
                  <a:extLst>
                    <a:ext uri="{FF2B5EF4-FFF2-40B4-BE49-F238E27FC236}">
                      <a16:creationId xmlns:a16="http://schemas.microsoft.com/office/drawing/2014/main" id="{AC9B850C-0AEE-3758-4A04-BA0CBFC23122}"/>
                    </a:ext>
                  </a:extLst>
                </p:cNvPr>
                <p:cNvSpPr/>
                <p:nvPr/>
              </p:nvSpPr>
              <p:spPr>
                <a:xfrm>
                  <a:off x="6073365" y="3148839"/>
                  <a:ext cx="565830" cy="660135"/>
                </a:xfrm>
                <a:custGeom>
                  <a:avLst/>
                  <a:gdLst>
                    <a:gd name="connsiteX0" fmla="*/ 565830 w 565830"/>
                    <a:gd name="connsiteY0" fmla="*/ 328182 h 660135"/>
                    <a:gd name="connsiteX1" fmla="*/ 0 w 565830"/>
                    <a:gd name="connsiteY1" fmla="*/ 0 h 660135"/>
                    <a:gd name="connsiteX2" fmla="*/ 0 w 565830"/>
                    <a:gd name="connsiteY2" fmla="*/ 660135 h 660135"/>
                    <a:gd name="connsiteX3" fmla="*/ 56583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565830" y="328182"/>
                      </a:moveTo>
                      <a:lnTo>
                        <a:pt x="0" y="0"/>
                      </a:lnTo>
                      <a:lnTo>
                        <a:pt x="0" y="660135"/>
                      </a:lnTo>
                      <a:lnTo>
                        <a:pt x="565830" y="328182"/>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8" name="Freeform: Shape 57">
                <a:extLst>
                  <a:ext uri="{FF2B5EF4-FFF2-40B4-BE49-F238E27FC236}">
                    <a16:creationId xmlns:a16="http://schemas.microsoft.com/office/drawing/2014/main" id="{EEAE4378-524A-A397-DFA2-25FEB24B829B}"/>
                  </a:ext>
                </a:extLst>
              </p:cNvPr>
              <p:cNvSpPr/>
              <p:nvPr/>
            </p:nvSpPr>
            <p:spPr>
              <a:xfrm>
                <a:off x="5224616" y="4280500"/>
                <a:ext cx="1697498" cy="873264"/>
              </a:xfrm>
              <a:custGeom>
                <a:avLst/>
                <a:gdLst>
                  <a:gd name="connsiteX0" fmla="*/ 1529632 w 1697498"/>
                  <a:gd name="connsiteY0" fmla="*/ 684655 h 873264"/>
                  <a:gd name="connsiteX1" fmla="*/ 1180703 w 1697498"/>
                  <a:gd name="connsiteY1" fmla="*/ 0 h 873264"/>
                  <a:gd name="connsiteX2" fmla="*/ 514909 w 1697498"/>
                  <a:gd name="connsiteY2" fmla="*/ 0 h 873264"/>
                  <a:gd name="connsiteX3" fmla="*/ 167867 w 1697498"/>
                  <a:gd name="connsiteY3" fmla="*/ 684655 h 873264"/>
                  <a:gd name="connsiteX4" fmla="*/ 4 w 1697498"/>
                  <a:gd name="connsiteY4" fmla="*/ 873265 h 873264"/>
                  <a:gd name="connsiteX5" fmla="*/ 1697495 w 1697498"/>
                  <a:gd name="connsiteY5" fmla="*/ 873265 h 873264"/>
                  <a:gd name="connsiteX6" fmla="*/ 1529632 w 1697498"/>
                  <a:gd name="connsiteY6" fmla="*/ 684655 h 87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7498" h="873264">
                    <a:moveTo>
                      <a:pt x="1529632" y="684655"/>
                    </a:moveTo>
                    <a:cubicBezTo>
                      <a:pt x="1193906" y="631844"/>
                      <a:pt x="1180703" y="390423"/>
                      <a:pt x="1180703" y="0"/>
                    </a:cubicBezTo>
                    <a:lnTo>
                      <a:pt x="514909" y="0"/>
                    </a:lnTo>
                    <a:cubicBezTo>
                      <a:pt x="514909" y="390423"/>
                      <a:pt x="503593" y="631844"/>
                      <a:pt x="167867" y="684655"/>
                    </a:cubicBezTo>
                    <a:cubicBezTo>
                      <a:pt x="71877" y="695274"/>
                      <a:pt x="-583" y="776696"/>
                      <a:pt x="4" y="873265"/>
                    </a:cubicBezTo>
                    <a:lnTo>
                      <a:pt x="1697495" y="873265"/>
                    </a:lnTo>
                    <a:cubicBezTo>
                      <a:pt x="1698079" y="776696"/>
                      <a:pt x="1625615" y="695274"/>
                      <a:pt x="1529632" y="684655"/>
                    </a:cubicBezTo>
                    <a:close/>
                  </a:path>
                </a:pathLst>
              </a:custGeom>
              <a:solidFill>
                <a:srgbClr val="CCCCCC"/>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59" name="Group 58">
                <a:extLst>
                  <a:ext uri="{FF2B5EF4-FFF2-40B4-BE49-F238E27FC236}">
                    <a16:creationId xmlns:a16="http://schemas.microsoft.com/office/drawing/2014/main" id="{E1BC561A-E8A3-925D-DD06-E42F98E6EA68}"/>
                  </a:ext>
                </a:extLst>
              </p:cNvPr>
              <p:cNvGrpSpPr/>
              <p:nvPr/>
            </p:nvGrpSpPr>
            <p:grpSpPr>
              <a:xfrm>
                <a:off x="5582949" y="2836256"/>
                <a:ext cx="751794" cy="877092"/>
                <a:chOff x="5507535" y="2488704"/>
                <a:chExt cx="1131660" cy="1320271"/>
              </a:xfrm>
              <a:effectLst>
                <a:outerShdw blurRad="63500" sx="102000" sy="102000" algn="ctr" rotWithShape="0">
                  <a:prstClr val="black">
                    <a:alpha val="40000"/>
                  </a:prstClr>
                </a:outerShdw>
              </a:effectLst>
            </p:grpSpPr>
            <p:grpSp>
              <p:nvGrpSpPr>
                <p:cNvPr id="116" name="Group 115">
                  <a:extLst>
                    <a:ext uri="{FF2B5EF4-FFF2-40B4-BE49-F238E27FC236}">
                      <a16:creationId xmlns:a16="http://schemas.microsoft.com/office/drawing/2014/main" id="{4D1BEF03-3D9F-7DB5-6A70-EDCC373E0C11}"/>
                    </a:ext>
                  </a:extLst>
                </p:cNvPr>
                <p:cNvGrpSpPr/>
                <p:nvPr/>
              </p:nvGrpSpPr>
              <p:grpSpPr>
                <a:xfrm>
                  <a:off x="5507535" y="2488704"/>
                  <a:ext cx="1131660" cy="1320271"/>
                  <a:chOff x="5507535" y="2488704"/>
                  <a:chExt cx="1131660" cy="1320271"/>
                </a:xfrm>
              </p:grpSpPr>
              <p:sp>
                <p:nvSpPr>
                  <p:cNvPr id="118" name="Freeform: Shape 117">
                    <a:extLst>
                      <a:ext uri="{FF2B5EF4-FFF2-40B4-BE49-F238E27FC236}">
                        <a16:creationId xmlns:a16="http://schemas.microsoft.com/office/drawing/2014/main" id="{7560C9E5-4D07-3158-ECD7-DF0FD170AA59}"/>
                      </a:ext>
                    </a:extLst>
                  </p:cNvPr>
                  <p:cNvSpPr/>
                  <p:nvPr/>
                </p:nvSpPr>
                <p:spPr>
                  <a:xfrm>
                    <a:off x="6073365" y="2818772"/>
                    <a:ext cx="565830" cy="990203"/>
                  </a:xfrm>
                  <a:custGeom>
                    <a:avLst/>
                    <a:gdLst>
                      <a:gd name="connsiteX0" fmla="*/ 565830 w 565830"/>
                      <a:gd name="connsiteY0" fmla="*/ 0 h 990203"/>
                      <a:gd name="connsiteX1" fmla="*/ 565830 w 565830"/>
                      <a:gd name="connsiteY1" fmla="*/ 658249 h 990203"/>
                      <a:gd name="connsiteX2" fmla="*/ 0 w 565830"/>
                      <a:gd name="connsiteY2" fmla="*/ 990203 h 990203"/>
                      <a:gd name="connsiteX3" fmla="*/ 0 w 565830"/>
                      <a:gd name="connsiteY3" fmla="*/ 330068 h 990203"/>
                      <a:gd name="connsiteX4" fmla="*/ 565830 w 565830"/>
                      <a:gd name="connsiteY4" fmla="*/ 0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0"/>
                        </a:moveTo>
                        <a:lnTo>
                          <a:pt x="565830" y="658249"/>
                        </a:lnTo>
                        <a:lnTo>
                          <a:pt x="0" y="990203"/>
                        </a:lnTo>
                        <a:lnTo>
                          <a:pt x="0" y="330068"/>
                        </a:lnTo>
                        <a:lnTo>
                          <a:pt x="565830" y="0"/>
                        </a:lnTo>
                        <a:close/>
                      </a:path>
                    </a:pathLst>
                  </a:custGeom>
                  <a:solidFill>
                    <a:srgbClr val="50E6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Freeform: Shape 118">
                    <a:extLst>
                      <a:ext uri="{FF2B5EF4-FFF2-40B4-BE49-F238E27FC236}">
                        <a16:creationId xmlns:a16="http://schemas.microsoft.com/office/drawing/2014/main" id="{435AA375-E82F-452B-FA5F-7940E0F41B02}"/>
                      </a:ext>
                    </a:extLst>
                  </p:cNvPr>
                  <p:cNvSpPr/>
                  <p:nvPr/>
                </p:nvSpPr>
                <p:spPr>
                  <a:xfrm>
                    <a:off x="5507535" y="2488704"/>
                    <a:ext cx="1131660" cy="662021"/>
                  </a:xfrm>
                  <a:custGeom>
                    <a:avLst/>
                    <a:gdLst>
                      <a:gd name="connsiteX0" fmla="*/ 1131661 w 1131660"/>
                      <a:gd name="connsiteY0" fmla="*/ 330068 h 662021"/>
                      <a:gd name="connsiteX1" fmla="*/ 565830 w 1131660"/>
                      <a:gd name="connsiteY1" fmla="*/ 662021 h 662021"/>
                      <a:gd name="connsiteX2" fmla="*/ 0 w 1131660"/>
                      <a:gd name="connsiteY2" fmla="*/ 330068 h 662021"/>
                      <a:gd name="connsiteX3" fmla="*/ 565830 w 1131660"/>
                      <a:gd name="connsiteY3" fmla="*/ 0 h 662021"/>
                      <a:gd name="connsiteX4" fmla="*/ 1131661 w 1131660"/>
                      <a:gd name="connsiteY4" fmla="*/ 330068 h 662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660" h="662021">
                        <a:moveTo>
                          <a:pt x="1131661" y="330068"/>
                        </a:moveTo>
                        <a:lnTo>
                          <a:pt x="565830" y="662021"/>
                        </a:lnTo>
                        <a:lnTo>
                          <a:pt x="0" y="330068"/>
                        </a:lnTo>
                        <a:lnTo>
                          <a:pt x="565830" y="0"/>
                        </a:lnTo>
                        <a:lnTo>
                          <a:pt x="1131661" y="330068"/>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Freeform: Shape 119">
                    <a:extLst>
                      <a:ext uri="{FF2B5EF4-FFF2-40B4-BE49-F238E27FC236}">
                        <a16:creationId xmlns:a16="http://schemas.microsoft.com/office/drawing/2014/main" id="{3161523E-A6EA-6CED-65DA-D5EDA958D845}"/>
                      </a:ext>
                    </a:extLst>
                  </p:cNvPr>
                  <p:cNvSpPr/>
                  <p:nvPr/>
                </p:nvSpPr>
                <p:spPr>
                  <a:xfrm>
                    <a:off x="5507535" y="2818772"/>
                    <a:ext cx="565830" cy="990203"/>
                  </a:xfrm>
                  <a:custGeom>
                    <a:avLst/>
                    <a:gdLst>
                      <a:gd name="connsiteX0" fmla="*/ 565830 w 565830"/>
                      <a:gd name="connsiteY0" fmla="*/ 331954 h 990203"/>
                      <a:gd name="connsiteX1" fmla="*/ 565830 w 565830"/>
                      <a:gd name="connsiteY1" fmla="*/ 990203 h 990203"/>
                      <a:gd name="connsiteX2" fmla="*/ 0 w 565830"/>
                      <a:gd name="connsiteY2" fmla="*/ 658249 h 990203"/>
                      <a:gd name="connsiteX3" fmla="*/ 0 w 565830"/>
                      <a:gd name="connsiteY3" fmla="*/ 0 h 990203"/>
                      <a:gd name="connsiteX4" fmla="*/ 565830 w 565830"/>
                      <a:gd name="connsiteY4" fmla="*/ 331954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331954"/>
                        </a:moveTo>
                        <a:lnTo>
                          <a:pt x="565830" y="990203"/>
                        </a:lnTo>
                        <a:lnTo>
                          <a:pt x="0" y="658249"/>
                        </a:lnTo>
                        <a:lnTo>
                          <a:pt x="0" y="0"/>
                        </a:lnTo>
                        <a:lnTo>
                          <a:pt x="565830" y="331954"/>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Freeform: Shape 120">
                    <a:extLst>
                      <a:ext uri="{FF2B5EF4-FFF2-40B4-BE49-F238E27FC236}">
                        <a16:creationId xmlns:a16="http://schemas.microsoft.com/office/drawing/2014/main" id="{7A988C8E-6C13-6508-B31E-01EAE24300D4}"/>
                      </a:ext>
                    </a:extLst>
                  </p:cNvPr>
                  <p:cNvSpPr/>
                  <p:nvPr/>
                </p:nvSpPr>
                <p:spPr>
                  <a:xfrm>
                    <a:off x="5507535" y="3148839"/>
                    <a:ext cx="565830" cy="660135"/>
                  </a:xfrm>
                  <a:custGeom>
                    <a:avLst/>
                    <a:gdLst>
                      <a:gd name="connsiteX0" fmla="*/ 0 w 565830"/>
                      <a:gd name="connsiteY0" fmla="*/ 328182 h 660135"/>
                      <a:gd name="connsiteX1" fmla="*/ 565830 w 565830"/>
                      <a:gd name="connsiteY1" fmla="*/ 0 h 660135"/>
                      <a:gd name="connsiteX2" fmla="*/ 565830 w 565830"/>
                      <a:gd name="connsiteY2" fmla="*/ 660135 h 660135"/>
                      <a:gd name="connsiteX3" fmla="*/ 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0" y="328182"/>
                        </a:moveTo>
                        <a:lnTo>
                          <a:pt x="565830" y="0"/>
                        </a:lnTo>
                        <a:lnTo>
                          <a:pt x="565830" y="660135"/>
                        </a:lnTo>
                        <a:lnTo>
                          <a:pt x="0" y="328182"/>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7" name="Freeform: Shape 116">
                  <a:extLst>
                    <a:ext uri="{FF2B5EF4-FFF2-40B4-BE49-F238E27FC236}">
                      <a16:creationId xmlns:a16="http://schemas.microsoft.com/office/drawing/2014/main" id="{3F56CF95-8DD3-665B-3475-9DD26B5AA001}"/>
                    </a:ext>
                  </a:extLst>
                </p:cNvPr>
                <p:cNvSpPr/>
                <p:nvPr/>
              </p:nvSpPr>
              <p:spPr>
                <a:xfrm>
                  <a:off x="6073365" y="3148839"/>
                  <a:ext cx="565830" cy="660135"/>
                </a:xfrm>
                <a:custGeom>
                  <a:avLst/>
                  <a:gdLst>
                    <a:gd name="connsiteX0" fmla="*/ 565830 w 565830"/>
                    <a:gd name="connsiteY0" fmla="*/ 328182 h 660135"/>
                    <a:gd name="connsiteX1" fmla="*/ 0 w 565830"/>
                    <a:gd name="connsiteY1" fmla="*/ 0 h 660135"/>
                    <a:gd name="connsiteX2" fmla="*/ 0 w 565830"/>
                    <a:gd name="connsiteY2" fmla="*/ 660135 h 660135"/>
                    <a:gd name="connsiteX3" fmla="*/ 56583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565830" y="328182"/>
                      </a:moveTo>
                      <a:lnTo>
                        <a:pt x="0" y="0"/>
                      </a:lnTo>
                      <a:lnTo>
                        <a:pt x="0" y="660135"/>
                      </a:lnTo>
                      <a:lnTo>
                        <a:pt x="565830" y="328182"/>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0" name="Group 59">
                <a:extLst>
                  <a:ext uri="{FF2B5EF4-FFF2-40B4-BE49-F238E27FC236}">
                    <a16:creationId xmlns:a16="http://schemas.microsoft.com/office/drawing/2014/main" id="{3FFB5379-2C0D-792C-F3F5-98CCDB828EE2}"/>
                  </a:ext>
                </a:extLst>
              </p:cNvPr>
              <p:cNvGrpSpPr/>
              <p:nvPr/>
            </p:nvGrpSpPr>
            <p:grpSpPr>
              <a:xfrm>
                <a:off x="5815890" y="2647111"/>
                <a:ext cx="751794" cy="877092"/>
                <a:chOff x="5507535" y="2488704"/>
                <a:chExt cx="1131660" cy="1320271"/>
              </a:xfrm>
              <a:effectLst>
                <a:outerShdw blurRad="63500" sx="102000" sy="102000" algn="ctr" rotWithShape="0">
                  <a:prstClr val="black">
                    <a:alpha val="40000"/>
                  </a:prstClr>
                </a:outerShdw>
              </a:effectLst>
            </p:grpSpPr>
            <p:grpSp>
              <p:nvGrpSpPr>
                <p:cNvPr id="81" name="Group 80">
                  <a:extLst>
                    <a:ext uri="{FF2B5EF4-FFF2-40B4-BE49-F238E27FC236}">
                      <a16:creationId xmlns:a16="http://schemas.microsoft.com/office/drawing/2014/main" id="{FB3B38CD-AC2B-FAAB-301B-119ABB50EED4}"/>
                    </a:ext>
                  </a:extLst>
                </p:cNvPr>
                <p:cNvGrpSpPr/>
                <p:nvPr/>
              </p:nvGrpSpPr>
              <p:grpSpPr>
                <a:xfrm>
                  <a:off x="5507535" y="2488704"/>
                  <a:ext cx="1131660" cy="1320271"/>
                  <a:chOff x="5507535" y="2488704"/>
                  <a:chExt cx="1131660" cy="1320271"/>
                </a:xfrm>
              </p:grpSpPr>
              <p:sp>
                <p:nvSpPr>
                  <p:cNvPr id="83" name="Freeform: Shape 82">
                    <a:extLst>
                      <a:ext uri="{FF2B5EF4-FFF2-40B4-BE49-F238E27FC236}">
                        <a16:creationId xmlns:a16="http://schemas.microsoft.com/office/drawing/2014/main" id="{A2748098-6F11-696C-7BB1-F22315E82421}"/>
                      </a:ext>
                    </a:extLst>
                  </p:cNvPr>
                  <p:cNvSpPr/>
                  <p:nvPr/>
                </p:nvSpPr>
                <p:spPr>
                  <a:xfrm>
                    <a:off x="6073365" y="2818772"/>
                    <a:ext cx="565830" cy="990203"/>
                  </a:xfrm>
                  <a:custGeom>
                    <a:avLst/>
                    <a:gdLst>
                      <a:gd name="connsiteX0" fmla="*/ 565830 w 565830"/>
                      <a:gd name="connsiteY0" fmla="*/ 0 h 990203"/>
                      <a:gd name="connsiteX1" fmla="*/ 565830 w 565830"/>
                      <a:gd name="connsiteY1" fmla="*/ 658249 h 990203"/>
                      <a:gd name="connsiteX2" fmla="*/ 0 w 565830"/>
                      <a:gd name="connsiteY2" fmla="*/ 990203 h 990203"/>
                      <a:gd name="connsiteX3" fmla="*/ 0 w 565830"/>
                      <a:gd name="connsiteY3" fmla="*/ 330068 h 990203"/>
                      <a:gd name="connsiteX4" fmla="*/ 565830 w 565830"/>
                      <a:gd name="connsiteY4" fmla="*/ 0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0"/>
                        </a:moveTo>
                        <a:lnTo>
                          <a:pt x="565830" y="658249"/>
                        </a:lnTo>
                        <a:lnTo>
                          <a:pt x="0" y="990203"/>
                        </a:lnTo>
                        <a:lnTo>
                          <a:pt x="0" y="330068"/>
                        </a:lnTo>
                        <a:lnTo>
                          <a:pt x="565830" y="0"/>
                        </a:lnTo>
                        <a:close/>
                      </a:path>
                    </a:pathLst>
                  </a:custGeom>
                  <a:solidFill>
                    <a:srgbClr val="50E6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9293503E-4387-E4BA-8CA5-1C9835A748F7}"/>
                      </a:ext>
                    </a:extLst>
                  </p:cNvPr>
                  <p:cNvSpPr/>
                  <p:nvPr/>
                </p:nvSpPr>
                <p:spPr>
                  <a:xfrm>
                    <a:off x="5507535" y="2488704"/>
                    <a:ext cx="1131660" cy="662021"/>
                  </a:xfrm>
                  <a:custGeom>
                    <a:avLst/>
                    <a:gdLst>
                      <a:gd name="connsiteX0" fmla="*/ 1131661 w 1131660"/>
                      <a:gd name="connsiteY0" fmla="*/ 330068 h 662021"/>
                      <a:gd name="connsiteX1" fmla="*/ 565830 w 1131660"/>
                      <a:gd name="connsiteY1" fmla="*/ 662021 h 662021"/>
                      <a:gd name="connsiteX2" fmla="*/ 0 w 1131660"/>
                      <a:gd name="connsiteY2" fmla="*/ 330068 h 662021"/>
                      <a:gd name="connsiteX3" fmla="*/ 565830 w 1131660"/>
                      <a:gd name="connsiteY3" fmla="*/ 0 h 662021"/>
                      <a:gd name="connsiteX4" fmla="*/ 1131661 w 1131660"/>
                      <a:gd name="connsiteY4" fmla="*/ 330068 h 662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660" h="662021">
                        <a:moveTo>
                          <a:pt x="1131661" y="330068"/>
                        </a:moveTo>
                        <a:lnTo>
                          <a:pt x="565830" y="662021"/>
                        </a:lnTo>
                        <a:lnTo>
                          <a:pt x="0" y="330068"/>
                        </a:lnTo>
                        <a:lnTo>
                          <a:pt x="565830" y="0"/>
                        </a:lnTo>
                        <a:lnTo>
                          <a:pt x="1131661" y="330068"/>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Shape 84">
                    <a:extLst>
                      <a:ext uri="{FF2B5EF4-FFF2-40B4-BE49-F238E27FC236}">
                        <a16:creationId xmlns:a16="http://schemas.microsoft.com/office/drawing/2014/main" id="{E6C72A46-330B-CADD-13B1-CBB7FC8672CC}"/>
                      </a:ext>
                    </a:extLst>
                  </p:cNvPr>
                  <p:cNvSpPr/>
                  <p:nvPr/>
                </p:nvSpPr>
                <p:spPr>
                  <a:xfrm>
                    <a:off x="5507535" y="2818772"/>
                    <a:ext cx="565830" cy="990203"/>
                  </a:xfrm>
                  <a:custGeom>
                    <a:avLst/>
                    <a:gdLst>
                      <a:gd name="connsiteX0" fmla="*/ 565830 w 565830"/>
                      <a:gd name="connsiteY0" fmla="*/ 331954 h 990203"/>
                      <a:gd name="connsiteX1" fmla="*/ 565830 w 565830"/>
                      <a:gd name="connsiteY1" fmla="*/ 990203 h 990203"/>
                      <a:gd name="connsiteX2" fmla="*/ 0 w 565830"/>
                      <a:gd name="connsiteY2" fmla="*/ 658249 h 990203"/>
                      <a:gd name="connsiteX3" fmla="*/ 0 w 565830"/>
                      <a:gd name="connsiteY3" fmla="*/ 0 h 990203"/>
                      <a:gd name="connsiteX4" fmla="*/ 565830 w 565830"/>
                      <a:gd name="connsiteY4" fmla="*/ 331954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331954"/>
                        </a:moveTo>
                        <a:lnTo>
                          <a:pt x="565830" y="990203"/>
                        </a:lnTo>
                        <a:lnTo>
                          <a:pt x="0" y="658249"/>
                        </a:lnTo>
                        <a:lnTo>
                          <a:pt x="0" y="0"/>
                        </a:lnTo>
                        <a:lnTo>
                          <a:pt x="565830" y="331954"/>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Shape 85">
                    <a:extLst>
                      <a:ext uri="{FF2B5EF4-FFF2-40B4-BE49-F238E27FC236}">
                        <a16:creationId xmlns:a16="http://schemas.microsoft.com/office/drawing/2014/main" id="{F591887F-D7FC-2BCC-5B56-921EC5D73607}"/>
                      </a:ext>
                    </a:extLst>
                  </p:cNvPr>
                  <p:cNvSpPr/>
                  <p:nvPr/>
                </p:nvSpPr>
                <p:spPr>
                  <a:xfrm>
                    <a:off x="5507535" y="3148839"/>
                    <a:ext cx="565830" cy="660135"/>
                  </a:xfrm>
                  <a:custGeom>
                    <a:avLst/>
                    <a:gdLst>
                      <a:gd name="connsiteX0" fmla="*/ 0 w 565830"/>
                      <a:gd name="connsiteY0" fmla="*/ 328182 h 660135"/>
                      <a:gd name="connsiteX1" fmla="*/ 565830 w 565830"/>
                      <a:gd name="connsiteY1" fmla="*/ 0 h 660135"/>
                      <a:gd name="connsiteX2" fmla="*/ 565830 w 565830"/>
                      <a:gd name="connsiteY2" fmla="*/ 660135 h 660135"/>
                      <a:gd name="connsiteX3" fmla="*/ 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0" y="328182"/>
                        </a:moveTo>
                        <a:lnTo>
                          <a:pt x="565830" y="0"/>
                        </a:lnTo>
                        <a:lnTo>
                          <a:pt x="565830" y="660135"/>
                        </a:lnTo>
                        <a:lnTo>
                          <a:pt x="0" y="328182"/>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2" name="Freeform: Shape 81">
                  <a:extLst>
                    <a:ext uri="{FF2B5EF4-FFF2-40B4-BE49-F238E27FC236}">
                      <a16:creationId xmlns:a16="http://schemas.microsoft.com/office/drawing/2014/main" id="{60C40318-42D3-B5B2-0B0A-B0B5F46353C0}"/>
                    </a:ext>
                  </a:extLst>
                </p:cNvPr>
                <p:cNvSpPr/>
                <p:nvPr/>
              </p:nvSpPr>
              <p:spPr>
                <a:xfrm>
                  <a:off x="6073365" y="3148839"/>
                  <a:ext cx="565830" cy="660135"/>
                </a:xfrm>
                <a:custGeom>
                  <a:avLst/>
                  <a:gdLst>
                    <a:gd name="connsiteX0" fmla="*/ 565830 w 565830"/>
                    <a:gd name="connsiteY0" fmla="*/ 328182 h 660135"/>
                    <a:gd name="connsiteX1" fmla="*/ 0 w 565830"/>
                    <a:gd name="connsiteY1" fmla="*/ 0 h 660135"/>
                    <a:gd name="connsiteX2" fmla="*/ 0 w 565830"/>
                    <a:gd name="connsiteY2" fmla="*/ 660135 h 660135"/>
                    <a:gd name="connsiteX3" fmla="*/ 56583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565830" y="328182"/>
                      </a:moveTo>
                      <a:lnTo>
                        <a:pt x="0" y="0"/>
                      </a:lnTo>
                      <a:lnTo>
                        <a:pt x="0" y="660135"/>
                      </a:lnTo>
                      <a:lnTo>
                        <a:pt x="565830" y="328182"/>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1" name="Group 60">
                <a:extLst>
                  <a:ext uri="{FF2B5EF4-FFF2-40B4-BE49-F238E27FC236}">
                    <a16:creationId xmlns:a16="http://schemas.microsoft.com/office/drawing/2014/main" id="{EA93BF64-1134-C780-FE03-18247BFF1527}"/>
                  </a:ext>
                </a:extLst>
              </p:cNvPr>
              <p:cNvGrpSpPr/>
              <p:nvPr/>
            </p:nvGrpSpPr>
            <p:grpSpPr>
              <a:xfrm>
                <a:off x="6048831" y="2484649"/>
                <a:ext cx="751794" cy="877092"/>
                <a:chOff x="5507535" y="2488704"/>
                <a:chExt cx="1131660" cy="1320271"/>
              </a:xfrm>
              <a:effectLst>
                <a:outerShdw blurRad="63500" sx="102000" sy="102000" algn="ctr" rotWithShape="0">
                  <a:prstClr val="black">
                    <a:alpha val="40000"/>
                  </a:prstClr>
                </a:outerShdw>
              </a:effectLst>
            </p:grpSpPr>
            <p:grpSp>
              <p:nvGrpSpPr>
                <p:cNvPr id="75" name="Group 74">
                  <a:extLst>
                    <a:ext uri="{FF2B5EF4-FFF2-40B4-BE49-F238E27FC236}">
                      <a16:creationId xmlns:a16="http://schemas.microsoft.com/office/drawing/2014/main" id="{CCFB63C3-FD5F-9F8B-EDAD-A0DFE3C0E638}"/>
                    </a:ext>
                  </a:extLst>
                </p:cNvPr>
                <p:cNvGrpSpPr/>
                <p:nvPr/>
              </p:nvGrpSpPr>
              <p:grpSpPr>
                <a:xfrm>
                  <a:off x="5507535" y="2488704"/>
                  <a:ext cx="1131660" cy="1320271"/>
                  <a:chOff x="5507535" y="2488704"/>
                  <a:chExt cx="1131660" cy="1320271"/>
                </a:xfrm>
              </p:grpSpPr>
              <p:sp>
                <p:nvSpPr>
                  <p:cNvPr id="77" name="Freeform: Shape 76">
                    <a:extLst>
                      <a:ext uri="{FF2B5EF4-FFF2-40B4-BE49-F238E27FC236}">
                        <a16:creationId xmlns:a16="http://schemas.microsoft.com/office/drawing/2014/main" id="{6CAE0EE8-555A-CAE2-6BFC-3ED6B5286C7F}"/>
                      </a:ext>
                    </a:extLst>
                  </p:cNvPr>
                  <p:cNvSpPr/>
                  <p:nvPr/>
                </p:nvSpPr>
                <p:spPr>
                  <a:xfrm>
                    <a:off x="6073365" y="2818772"/>
                    <a:ext cx="565830" cy="990203"/>
                  </a:xfrm>
                  <a:custGeom>
                    <a:avLst/>
                    <a:gdLst>
                      <a:gd name="connsiteX0" fmla="*/ 565830 w 565830"/>
                      <a:gd name="connsiteY0" fmla="*/ 0 h 990203"/>
                      <a:gd name="connsiteX1" fmla="*/ 565830 w 565830"/>
                      <a:gd name="connsiteY1" fmla="*/ 658249 h 990203"/>
                      <a:gd name="connsiteX2" fmla="*/ 0 w 565830"/>
                      <a:gd name="connsiteY2" fmla="*/ 990203 h 990203"/>
                      <a:gd name="connsiteX3" fmla="*/ 0 w 565830"/>
                      <a:gd name="connsiteY3" fmla="*/ 330068 h 990203"/>
                      <a:gd name="connsiteX4" fmla="*/ 565830 w 565830"/>
                      <a:gd name="connsiteY4" fmla="*/ 0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0"/>
                        </a:moveTo>
                        <a:lnTo>
                          <a:pt x="565830" y="658249"/>
                        </a:lnTo>
                        <a:lnTo>
                          <a:pt x="0" y="990203"/>
                        </a:lnTo>
                        <a:lnTo>
                          <a:pt x="0" y="330068"/>
                        </a:lnTo>
                        <a:lnTo>
                          <a:pt x="565830" y="0"/>
                        </a:lnTo>
                        <a:close/>
                      </a:path>
                    </a:pathLst>
                  </a:custGeom>
                  <a:solidFill>
                    <a:srgbClr val="50E6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Shape 77">
                    <a:extLst>
                      <a:ext uri="{FF2B5EF4-FFF2-40B4-BE49-F238E27FC236}">
                        <a16:creationId xmlns:a16="http://schemas.microsoft.com/office/drawing/2014/main" id="{0939EBE6-93E3-B69E-514F-D07EDF77CBBD}"/>
                      </a:ext>
                    </a:extLst>
                  </p:cNvPr>
                  <p:cNvSpPr/>
                  <p:nvPr/>
                </p:nvSpPr>
                <p:spPr>
                  <a:xfrm>
                    <a:off x="5507535" y="2488704"/>
                    <a:ext cx="1131660" cy="662021"/>
                  </a:xfrm>
                  <a:custGeom>
                    <a:avLst/>
                    <a:gdLst>
                      <a:gd name="connsiteX0" fmla="*/ 1131661 w 1131660"/>
                      <a:gd name="connsiteY0" fmla="*/ 330068 h 662021"/>
                      <a:gd name="connsiteX1" fmla="*/ 565830 w 1131660"/>
                      <a:gd name="connsiteY1" fmla="*/ 662021 h 662021"/>
                      <a:gd name="connsiteX2" fmla="*/ 0 w 1131660"/>
                      <a:gd name="connsiteY2" fmla="*/ 330068 h 662021"/>
                      <a:gd name="connsiteX3" fmla="*/ 565830 w 1131660"/>
                      <a:gd name="connsiteY3" fmla="*/ 0 h 662021"/>
                      <a:gd name="connsiteX4" fmla="*/ 1131661 w 1131660"/>
                      <a:gd name="connsiteY4" fmla="*/ 330068 h 662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660" h="662021">
                        <a:moveTo>
                          <a:pt x="1131661" y="330068"/>
                        </a:moveTo>
                        <a:lnTo>
                          <a:pt x="565830" y="662021"/>
                        </a:lnTo>
                        <a:lnTo>
                          <a:pt x="0" y="330068"/>
                        </a:lnTo>
                        <a:lnTo>
                          <a:pt x="565830" y="0"/>
                        </a:lnTo>
                        <a:lnTo>
                          <a:pt x="1131661" y="330068"/>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Shape 78">
                    <a:extLst>
                      <a:ext uri="{FF2B5EF4-FFF2-40B4-BE49-F238E27FC236}">
                        <a16:creationId xmlns:a16="http://schemas.microsoft.com/office/drawing/2014/main" id="{6F6996C8-BCB7-BF9B-F26E-32C37B1B4975}"/>
                      </a:ext>
                    </a:extLst>
                  </p:cNvPr>
                  <p:cNvSpPr/>
                  <p:nvPr/>
                </p:nvSpPr>
                <p:spPr>
                  <a:xfrm>
                    <a:off x="5507535" y="2818772"/>
                    <a:ext cx="565830" cy="990203"/>
                  </a:xfrm>
                  <a:custGeom>
                    <a:avLst/>
                    <a:gdLst>
                      <a:gd name="connsiteX0" fmla="*/ 565830 w 565830"/>
                      <a:gd name="connsiteY0" fmla="*/ 331954 h 990203"/>
                      <a:gd name="connsiteX1" fmla="*/ 565830 w 565830"/>
                      <a:gd name="connsiteY1" fmla="*/ 990203 h 990203"/>
                      <a:gd name="connsiteX2" fmla="*/ 0 w 565830"/>
                      <a:gd name="connsiteY2" fmla="*/ 658249 h 990203"/>
                      <a:gd name="connsiteX3" fmla="*/ 0 w 565830"/>
                      <a:gd name="connsiteY3" fmla="*/ 0 h 990203"/>
                      <a:gd name="connsiteX4" fmla="*/ 565830 w 565830"/>
                      <a:gd name="connsiteY4" fmla="*/ 331954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331954"/>
                        </a:moveTo>
                        <a:lnTo>
                          <a:pt x="565830" y="990203"/>
                        </a:lnTo>
                        <a:lnTo>
                          <a:pt x="0" y="658249"/>
                        </a:lnTo>
                        <a:lnTo>
                          <a:pt x="0" y="0"/>
                        </a:lnTo>
                        <a:lnTo>
                          <a:pt x="565830" y="331954"/>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Freeform: Shape 79">
                    <a:extLst>
                      <a:ext uri="{FF2B5EF4-FFF2-40B4-BE49-F238E27FC236}">
                        <a16:creationId xmlns:a16="http://schemas.microsoft.com/office/drawing/2014/main" id="{5713EE9F-F939-37A9-E1EB-2A84888C427D}"/>
                      </a:ext>
                    </a:extLst>
                  </p:cNvPr>
                  <p:cNvSpPr/>
                  <p:nvPr/>
                </p:nvSpPr>
                <p:spPr>
                  <a:xfrm>
                    <a:off x="5507535" y="3148839"/>
                    <a:ext cx="565830" cy="660135"/>
                  </a:xfrm>
                  <a:custGeom>
                    <a:avLst/>
                    <a:gdLst>
                      <a:gd name="connsiteX0" fmla="*/ 0 w 565830"/>
                      <a:gd name="connsiteY0" fmla="*/ 328182 h 660135"/>
                      <a:gd name="connsiteX1" fmla="*/ 565830 w 565830"/>
                      <a:gd name="connsiteY1" fmla="*/ 0 h 660135"/>
                      <a:gd name="connsiteX2" fmla="*/ 565830 w 565830"/>
                      <a:gd name="connsiteY2" fmla="*/ 660135 h 660135"/>
                      <a:gd name="connsiteX3" fmla="*/ 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0" y="328182"/>
                        </a:moveTo>
                        <a:lnTo>
                          <a:pt x="565830" y="0"/>
                        </a:lnTo>
                        <a:lnTo>
                          <a:pt x="565830" y="660135"/>
                        </a:lnTo>
                        <a:lnTo>
                          <a:pt x="0" y="328182"/>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6" name="Freeform: Shape 75">
                  <a:extLst>
                    <a:ext uri="{FF2B5EF4-FFF2-40B4-BE49-F238E27FC236}">
                      <a16:creationId xmlns:a16="http://schemas.microsoft.com/office/drawing/2014/main" id="{8B75F724-6F9E-F4CA-DD3C-11379A84D29C}"/>
                    </a:ext>
                  </a:extLst>
                </p:cNvPr>
                <p:cNvSpPr/>
                <p:nvPr/>
              </p:nvSpPr>
              <p:spPr>
                <a:xfrm>
                  <a:off x="6073365" y="3148839"/>
                  <a:ext cx="565830" cy="660135"/>
                </a:xfrm>
                <a:custGeom>
                  <a:avLst/>
                  <a:gdLst>
                    <a:gd name="connsiteX0" fmla="*/ 565830 w 565830"/>
                    <a:gd name="connsiteY0" fmla="*/ 328182 h 660135"/>
                    <a:gd name="connsiteX1" fmla="*/ 0 w 565830"/>
                    <a:gd name="connsiteY1" fmla="*/ 0 h 660135"/>
                    <a:gd name="connsiteX2" fmla="*/ 0 w 565830"/>
                    <a:gd name="connsiteY2" fmla="*/ 660135 h 660135"/>
                    <a:gd name="connsiteX3" fmla="*/ 56583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565830" y="328182"/>
                      </a:moveTo>
                      <a:lnTo>
                        <a:pt x="0" y="0"/>
                      </a:lnTo>
                      <a:lnTo>
                        <a:pt x="0" y="660135"/>
                      </a:lnTo>
                      <a:lnTo>
                        <a:pt x="565830" y="328182"/>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2" name="Group 61">
                <a:extLst>
                  <a:ext uri="{FF2B5EF4-FFF2-40B4-BE49-F238E27FC236}">
                    <a16:creationId xmlns:a16="http://schemas.microsoft.com/office/drawing/2014/main" id="{A5DD1731-C5EF-1B54-5BFC-755667DA99F4}"/>
                  </a:ext>
                </a:extLst>
              </p:cNvPr>
              <p:cNvGrpSpPr/>
              <p:nvPr/>
            </p:nvGrpSpPr>
            <p:grpSpPr>
              <a:xfrm>
                <a:off x="6281772" y="2295504"/>
                <a:ext cx="751794" cy="877092"/>
                <a:chOff x="5507535" y="2488704"/>
                <a:chExt cx="1131660" cy="1320271"/>
              </a:xfrm>
              <a:effectLst>
                <a:outerShdw blurRad="63500" sx="102000" sy="102000" algn="ctr" rotWithShape="0">
                  <a:prstClr val="black">
                    <a:alpha val="40000"/>
                  </a:prstClr>
                </a:outerShdw>
              </a:effectLst>
            </p:grpSpPr>
            <p:grpSp>
              <p:nvGrpSpPr>
                <p:cNvPr id="63" name="Group 62">
                  <a:extLst>
                    <a:ext uri="{FF2B5EF4-FFF2-40B4-BE49-F238E27FC236}">
                      <a16:creationId xmlns:a16="http://schemas.microsoft.com/office/drawing/2014/main" id="{B9B33454-0BC6-B373-C317-501D7EEDE2DC}"/>
                    </a:ext>
                  </a:extLst>
                </p:cNvPr>
                <p:cNvGrpSpPr/>
                <p:nvPr/>
              </p:nvGrpSpPr>
              <p:grpSpPr>
                <a:xfrm>
                  <a:off x="5507535" y="2488704"/>
                  <a:ext cx="1131660" cy="1320271"/>
                  <a:chOff x="5507535" y="2488704"/>
                  <a:chExt cx="1131660" cy="1320271"/>
                </a:xfrm>
              </p:grpSpPr>
              <p:sp>
                <p:nvSpPr>
                  <p:cNvPr id="65" name="Freeform: Shape 64">
                    <a:extLst>
                      <a:ext uri="{FF2B5EF4-FFF2-40B4-BE49-F238E27FC236}">
                        <a16:creationId xmlns:a16="http://schemas.microsoft.com/office/drawing/2014/main" id="{F443D66E-9450-112F-056F-B847AEAEFA1A}"/>
                      </a:ext>
                    </a:extLst>
                  </p:cNvPr>
                  <p:cNvSpPr/>
                  <p:nvPr/>
                </p:nvSpPr>
                <p:spPr>
                  <a:xfrm>
                    <a:off x="6073365" y="2818772"/>
                    <a:ext cx="565830" cy="990203"/>
                  </a:xfrm>
                  <a:custGeom>
                    <a:avLst/>
                    <a:gdLst>
                      <a:gd name="connsiteX0" fmla="*/ 565830 w 565830"/>
                      <a:gd name="connsiteY0" fmla="*/ 0 h 990203"/>
                      <a:gd name="connsiteX1" fmla="*/ 565830 w 565830"/>
                      <a:gd name="connsiteY1" fmla="*/ 658249 h 990203"/>
                      <a:gd name="connsiteX2" fmla="*/ 0 w 565830"/>
                      <a:gd name="connsiteY2" fmla="*/ 990203 h 990203"/>
                      <a:gd name="connsiteX3" fmla="*/ 0 w 565830"/>
                      <a:gd name="connsiteY3" fmla="*/ 330068 h 990203"/>
                      <a:gd name="connsiteX4" fmla="*/ 565830 w 565830"/>
                      <a:gd name="connsiteY4" fmla="*/ 0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0"/>
                        </a:moveTo>
                        <a:lnTo>
                          <a:pt x="565830" y="658249"/>
                        </a:lnTo>
                        <a:lnTo>
                          <a:pt x="0" y="990203"/>
                        </a:lnTo>
                        <a:lnTo>
                          <a:pt x="0" y="330068"/>
                        </a:lnTo>
                        <a:lnTo>
                          <a:pt x="565830" y="0"/>
                        </a:lnTo>
                        <a:close/>
                      </a:path>
                    </a:pathLst>
                  </a:custGeom>
                  <a:solidFill>
                    <a:srgbClr val="50E6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Shape 71">
                    <a:extLst>
                      <a:ext uri="{FF2B5EF4-FFF2-40B4-BE49-F238E27FC236}">
                        <a16:creationId xmlns:a16="http://schemas.microsoft.com/office/drawing/2014/main" id="{31E9FA7A-54A0-5466-0673-2820960EC481}"/>
                      </a:ext>
                    </a:extLst>
                  </p:cNvPr>
                  <p:cNvSpPr/>
                  <p:nvPr/>
                </p:nvSpPr>
                <p:spPr>
                  <a:xfrm>
                    <a:off x="5507535" y="2488704"/>
                    <a:ext cx="1131660" cy="662021"/>
                  </a:xfrm>
                  <a:custGeom>
                    <a:avLst/>
                    <a:gdLst>
                      <a:gd name="connsiteX0" fmla="*/ 1131661 w 1131660"/>
                      <a:gd name="connsiteY0" fmla="*/ 330068 h 662021"/>
                      <a:gd name="connsiteX1" fmla="*/ 565830 w 1131660"/>
                      <a:gd name="connsiteY1" fmla="*/ 662021 h 662021"/>
                      <a:gd name="connsiteX2" fmla="*/ 0 w 1131660"/>
                      <a:gd name="connsiteY2" fmla="*/ 330068 h 662021"/>
                      <a:gd name="connsiteX3" fmla="*/ 565830 w 1131660"/>
                      <a:gd name="connsiteY3" fmla="*/ 0 h 662021"/>
                      <a:gd name="connsiteX4" fmla="*/ 1131661 w 1131660"/>
                      <a:gd name="connsiteY4" fmla="*/ 330068 h 662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660" h="662021">
                        <a:moveTo>
                          <a:pt x="1131661" y="330068"/>
                        </a:moveTo>
                        <a:lnTo>
                          <a:pt x="565830" y="662021"/>
                        </a:lnTo>
                        <a:lnTo>
                          <a:pt x="0" y="330068"/>
                        </a:lnTo>
                        <a:lnTo>
                          <a:pt x="565830" y="0"/>
                        </a:lnTo>
                        <a:lnTo>
                          <a:pt x="1131661" y="330068"/>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Shape 72">
                    <a:extLst>
                      <a:ext uri="{FF2B5EF4-FFF2-40B4-BE49-F238E27FC236}">
                        <a16:creationId xmlns:a16="http://schemas.microsoft.com/office/drawing/2014/main" id="{31F19AC6-78A9-2301-234D-6BAC9C8BB67E}"/>
                      </a:ext>
                    </a:extLst>
                  </p:cNvPr>
                  <p:cNvSpPr/>
                  <p:nvPr/>
                </p:nvSpPr>
                <p:spPr>
                  <a:xfrm>
                    <a:off x="5507535" y="2818772"/>
                    <a:ext cx="565830" cy="990203"/>
                  </a:xfrm>
                  <a:custGeom>
                    <a:avLst/>
                    <a:gdLst>
                      <a:gd name="connsiteX0" fmla="*/ 565830 w 565830"/>
                      <a:gd name="connsiteY0" fmla="*/ 331954 h 990203"/>
                      <a:gd name="connsiteX1" fmla="*/ 565830 w 565830"/>
                      <a:gd name="connsiteY1" fmla="*/ 990203 h 990203"/>
                      <a:gd name="connsiteX2" fmla="*/ 0 w 565830"/>
                      <a:gd name="connsiteY2" fmla="*/ 658249 h 990203"/>
                      <a:gd name="connsiteX3" fmla="*/ 0 w 565830"/>
                      <a:gd name="connsiteY3" fmla="*/ 0 h 990203"/>
                      <a:gd name="connsiteX4" fmla="*/ 565830 w 565830"/>
                      <a:gd name="connsiteY4" fmla="*/ 331954 h 990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830" h="990203">
                        <a:moveTo>
                          <a:pt x="565830" y="331954"/>
                        </a:moveTo>
                        <a:lnTo>
                          <a:pt x="565830" y="990203"/>
                        </a:lnTo>
                        <a:lnTo>
                          <a:pt x="0" y="658249"/>
                        </a:lnTo>
                        <a:lnTo>
                          <a:pt x="0" y="0"/>
                        </a:lnTo>
                        <a:lnTo>
                          <a:pt x="565830" y="331954"/>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Shape 73">
                    <a:extLst>
                      <a:ext uri="{FF2B5EF4-FFF2-40B4-BE49-F238E27FC236}">
                        <a16:creationId xmlns:a16="http://schemas.microsoft.com/office/drawing/2014/main" id="{99CF18A0-31BA-68FC-7F08-37D9ACA0C86F}"/>
                      </a:ext>
                    </a:extLst>
                  </p:cNvPr>
                  <p:cNvSpPr/>
                  <p:nvPr/>
                </p:nvSpPr>
                <p:spPr>
                  <a:xfrm>
                    <a:off x="5507535" y="3148839"/>
                    <a:ext cx="565830" cy="660135"/>
                  </a:xfrm>
                  <a:custGeom>
                    <a:avLst/>
                    <a:gdLst>
                      <a:gd name="connsiteX0" fmla="*/ 0 w 565830"/>
                      <a:gd name="connsiteY0" fmla="*/ 328182 h 660135"/>
                      <a:gd name="connsiteX1" fmla="*/ 565830 w 565830"/>
                      <a:gd name="connsiteY1" fmla="*/ 0 h 660135"/>
                      <a:gd name="connsiteX2" fmla="*/ 565830 w 565830"/>
                      <a:gd name="connsiteY2" fmla="*/ 660135 h 660135"/>
                      <a:gd name="connsiteX3" fmla="*/ 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0" y="328182"/>
                        </a:moveTo>
                        <a:lnTo>
                          <a:pt x="565830" y="0"/>
                        </a:lnTo>
                        <a:lnTo>
                          <a:pt x="565830" y="660135"/>
                        </a:lnTo>
                        <a:lnTo>
                          <a:pt x="0" y="328182"/>
                        </a:lnTo>
                        <a:close/>
                      </a:path>
                    </a:pathLst>
                  </a:custGeom>
                  <a:solidFill>
                    <a:srgbClr val="C3F1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4" name="Freeform: Shape 63">
                  <a:extLst>
                    <a:ext uri="{FF2B5EF4-FFF2-40B4-BE49-F238E27FC236}">
                      <a16:creationId xmlns:a16="http://schemas.microsoft.com/office/drawing/2014/main" id="{B8EA79EA-2FDB-8194-6107-61A9F4ED6EAC}"/>
                    </a:ext>
                  </a:extLst>
                </p:cNvPr>
                <p:cNvSpPr/>
                <p:nvPr/>
              </p:nvSpPr>
              <p:spPr>
                <a:xfrm>
                  <a:off x="6073365" y="3148839"/>
                  <a:ext cx="565830" cy="660135"/>
                </a:xfrm>
                <a:custGeom>
                  <a:avLst/>
                  <a:gdLst>
                    <a:gd name="connsiteX0" fmla="*/ 565830 w 565830"/>
                    <a:gd name="connsiteY0" fmla="*/ 328182 h 660135"/>
                    <a:gd name="connsiteX1" fmla="*/ 0 w 565830"/>
                    <a:gd name="connsiteY1" fmla="*/ 0 h 660135"/>
                    <a:gd name="connsiteX2" fmla="*/ 0 w 565830"/>
                    <a:gd name="connsiteY2" fmla="*/ 660135 h 660135"/>
                    <a:gd name="connsiteX3" fmla="*/ 565830 w 565830"/>
                    <a:gd name="connsiteY3" fmla="*/ 328182 h 660135"/>
                  </a:gdLst>
                  <a:ahLst/>
                  <a:cxnLst>
                    <a:cxn ang="0">
                      <a:pos x="connsiteX0" y="connsiteY0"/>
                    </a:cxn>
                    <a:cxn ang="0">
                      <a:pos x="connsiteX1" y="connsiteY1"/>
                    </a:cxn>
                    <a:cxn ang="0">
                      <a:pos x="connsiteX2" y="connsiteY2"/>
                    </a:cxn>
                    <a:cxn ang="0">
                      <a:pos x="connsiteX3" y="connsiteY3"/>
                    </a:cxn>
                  </a:cxnLst>
                  <a:rect l="l" t="t" r="r" b="b"/>
                  <a:pathLst>
                    <a:path w="565830" h="660135">
                      <a:moveTo>
                        <a:pt x="565830" y="328182"/>
                      </a:moveTo>
                      <a:lnTo>
                        <a:pt x="0" y="0"/>
                      </a:lnTo>
                      <a:lnTo>
                        <a:pt x="0" y="660135"/>
                      </a:lnTo>
                      <a:lnTo>
                        <a:pt x="565830" y="328182"/>
                      </a:lnTo>
                      <a:close/>
                    </a:path>
                  </a:pathLst>
                </a:custGeom>
                <a:solidFill>
                  <a:srgbClr val="9CEBFF"/>
                </a:solidFill>
                <a:ln w="1883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sp>
        <p:nvSpPr>
          <p:cNvPr id="202" name="Title 16">
            <a:extLst>
              <a:ext uri="{FF2B5EF4-FFF2-40B4-BE49-F238E27FC236}">
                <a16:creationId xmlns:a16="http://schemas.microsoft.com/office/drawing/2014/main" id="{B5F485A7-1C03-6CA4-0D58-D7CC8A4E4135}"/>
              </a:ext>
              <a:ext uri="{C183D7F6-B498-43B3-948B-1728B52AA6E4}">
                <adec:decorative xmlns:adec="http://schemas.microsoft.com/office/drawing/2017/decorative" val="1"/>
              </a:ext>
            </a:extLst>
          </p:cNvPr>
          <p:cNvSpPr txBox="1">
            <a:spLocks/>
          </p:cNvSpPr>
          <p:nvPr/>
        </p:nvSpPr>
        <p:spPr>
          <a:xfrm>
            <a:off x="6821063" y="4329246"/>
            <a:ext cx="4448174" cy="75405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FF8FFA">
                    <a:alpha val="99000"/>
                  </a:srgbClr>
                </a:solidFill>
                <a:effectLst/>
                <a:uLnTx/>
                <a:uFillTx/>
                <a:latin typeface="Segoe UI Semibold" panose="020B0702040204020203" pitchFamily="34" charset="0"/>
                <a:cs typeface="Segoe UI Semibold" panose="020B0702040204020203" pitchFamily="34" charset="0"/>
              </a:rPr>
              <a:t>Scaling </a:t>
            </a:r>
            <a:r>
              <a:rPr lang="en-US" sz="2000">
                <a:solidFill>
                  <a:srgbClr val="FF8FFA">
                    <a:alpha val="99000"/>
                  </a:srgbClr>
                </a:solidFill>
                <a:latin typeface="Segoe UI Semibold" panose="020B0702040204020203" pitchFamily="34" charset="0"/>
                <a:cs typeface="Segoe UI Semibold" panose="020B0702040204020203" pitchFamily="34" charset="0"/>
              </a:rPr>
              <a:t>ou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prstClr val="white"/>
                </a:solidFill>
                <a:latin typeface="Segoe UI" panose="020B0502040204020203" pitchFamily="34" charset="0"/>
                <a:cs typeface="Segoe UI" panose="020B0502040204020203" pitchFamily="34" charset="0"/>
              </a:rPr>
              <a:t>Growing</a:t>
            </a:r>
            <a:r>
              <a:rPr kumimoji="0" lang="en-US" sz="1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rPr>
              <a:t> volumes of instances</a:t>
            </a:r>
          </a:p>
        </p:txBody>
      </p:sp>
      <p:sp>
        <p:nvSpPr>
          <p:cNvPr id="203" name="TextBox 202">
            <a:extLst>
              <a:ext uri="{FF2B5EF4-FFF2-40B4-BE49-F238E27FC236}">
                <a16:creationId xmlns:a16="http://schemas.microsoft.com/office/drawing/2014/main" id="{2EAF50D7-CB31-5199-D137-8D3B227D1E7D}"/>
              </a:ext>
            </a:extLst>
          </p:cNvPr>
          <p:cNvSpPr txBox="1"/>
          <p:nvPr/>
        </p:nvSpPr>
        <p:spPr>
          <a:xfrm>
            <a:off x="2987429" y="2996793"/>
            <a:ext cx="6400800" cy="830997"/>
          </a:xfrm>
          <a:prstGeom prst="rect">
            <a:avLst/>
          </a:prstGeom>
          <a:noFill/>
        </p:spPr>
        <p:txBody>
          <a:bodyPr wrap="square">
            <a:spAutoFit/>
          </a:bodyPr>
          <a:lstStyle/>
          <a:p>
            <a:pPr algn="ctr"/>
            <a:r>
              <a:rPr lang="en-US" sz="4800">
                <a:solidFill>
                  <a:srgbClr val="CF76D2"/>
                </a:solidFill>
                <a:latin typeface="Segoe UI Semibold" panose="020B0702040204020203" pitchFamily="34" charset="0"/>
                <a:cs typeface="Segoe UI Semibold" panose="020B0702040204020203" pitchFamily="34" charset="0"/>
              </a:rPr>
              <a:t>vs.</a:t>
            </a:r>
          </a:p>
        </p:txBody>
      </p:sp>
    </p:spTree>
    <p:extLst>
      <p:ext uri="{BB962C8B-B14F-4D97-AF65-F5344CB8AC3E}">
        <p14:creationId xmlns:p14="http://schemas.microsoft.com/office/powerpoint/2010/main" val="14695768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E4B049-A0F0-BD62-5D10-6D91CB4BFFD3}"/>
              </a:ext>
            </a:extLst>
          </p:cNvPr>
          <p:cNvSpPr>
            <a:spLocks noGrp="1"/>
          </p:cNvSpPr>
          <p:nvPr>
            <p:ph type="title"/>
          </p:nvPr>
        </p:nvSpPr>
        <p:spPr/>
        <p:txBody>
          <a:bodyPr/>
          <a:lstStyle/>
          <a:p>
            <a:r>
              <a:rPr lang="en-US"/>
              <a:t>Mapping Apps to Architectures</a:t>
            </a:r>
          </a:p>
        </p:txBody>
      </p:sp>
      <p:sp>
        <p:nvSpPr>
          <p:cNvPr id="14" name="Rectangle 13">
            <a:extLst>
              <a:ext uri="{FF2B5EF4-FFF2-40B4-BE49-F238E27FC236}">
                <a16:creationId xmlns:a16="http://schemas.microsoft.com/office/drawing/2014/main" id="{E93A0EDD-2492-9BB9-4359-C02A181D8DD0}"/>
              </a:ext>
            </a:extLst>
          </p:cNvPr>
          <p:cNvSpPr/>
          <p:nvPr/>
        </p:nvSpPr>
        <p:spPr>
          <a:xfrm rot="16200000">
            <a:off x="1678255" y="3318768"/>
            <a:ext cx="2053972" cy="40011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i="0" u="none" strike="noStrike" kern="1200" cap="none" spc="0" normalizeH="0" baseline="0" noProof="0">
                <a:ln w="9525">
                  <a:solidFill>
                    <a:prstClr val="white"/>
                  </a:solidFill>
                  <a:prstDash val="solid"/>
                </a:ln>
                <a:uLnTx/>
                <a:uFillTx/>
                <a:latin typeface="Segoe UI Semibold" panose="020B0702040204020203" pitchFamily="34" charset="0"/>
                <a:cs typeface="Segoe UI Semibold" panose="020B0702040204020203" pitchFamily="34" charset="0"/>
              </a:rPr>
              <a:t>Granularity</a:t>
            </a:r>
          </a:p>
        </p:txBody>
      </p:sp>
      <p:sp>
        <p:nvSpPr>
          <p:cNvPr id="16" name="Rectangle 15">
            <a:extLst>
              <a:ext uri="{FF2B5EF4-FFF2-40B4-BE49-F238E27FC236}">
                <a16:creationId xmlns:a16="http://schemas.microsoft.com/office/drawing/2014/main" id="{DD681F13-2339-8CCE-5EEF-49ED12486155}"/>
              </a:ext>
            </a:extLst>
          </p:cNvPr>
          <p:cNvSpPr/>
          <p:nvPr/>
        </p:nvSpPr>
        <p:spPr>
          <a:xfrm>
            <a:off x="4585589" y="5982426"/>
            <a:ext cx="2477817" cy="524980"/>
          </a:xfrm>
          <a:prstGeom prst="rect">
            <a:avLst/>
          </a:prstGeom>
          <a:solidFill>
            <a:srgbClr val="282655"/>
          </a:solidFill>
          <a:effectLst>
            <a:softEdge rad="76200"/>
          </a:effectLst>
        </p:spPr>
        <p:txBody>
          <a:bodyPr wrap="square" lIns="91440" tIns="45720" rIns="91440" bIns="4572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i="0" u="none" strike="noStrike" kern="1200" cap="none" spc="0" normalizeH="0" baseline="0" noProof="0">
                <a:ln w="9525">
                  <a:solidFill>
                    <a:prstClr val="white"/>
                  </a:solidFill>
                  <a:prstDash val="solid"/>
                </a:ln>
                <a:uLnTx/>
                <a:uFillTx/>
                <a:latin typeface="Segoe UI Semibold" panose="020B0702040204020203" pitchFamily="34" charset="0"/>
                <a:cs typeface="Segoe UI Semibold" panose="020B0702040204020203" pitchFamily="34" charset="0"/>
              </a:rPr>
              <a:t>Concurrency</a:t>
            </a:r>
          </a:p>
        </p:txBody>
      </p:sp>
      <p:grpSp>
        <p:nvGrpSpPr>
          <p:cNvPr id="17" name="Group 16">
            <a:extLst>
              <a:ext uri="{FF2B5EF4-FFF2-40B4-BE49-F238E27FC236}">
                <a16:creationId xmlns:a16="http://schemas.microsoft.com/office/drawing/2014/main" id="{6AB57C2D-5C3D-D49A-AAFA-BF9181A0856D}"/>
              </a:ext>
            </a:extLst>
          </p:cNvPr>
          <p:cNvGrpSpPr/>
          <p:nvPr/>
        </p:nvGrpSpPr>
        <p:grpSpPr>
          <a:xfrm>
            <a:off x="5835202" y="3583744"/>
            <a:ext cx="2613414" cy="2282887"/>
            <a:chOff x="6182244" y="3669469"/>
            <a:chExt cx="2613414" cy="2282887"/>
          </a:xfrm>
        </p:grpSpPr>
        <p:sp>
          <p:nvSpPr>
            <p:cNvPr id="18" name="Rectangle 17">
              <a:extLst>
                <a:ext uri="{FF2B5EF4-FFF2-40B4-BE49-F238E27FC236}">
                  <a16:creationId xmlns:a16="http://schemas.microsoft.com/office/drawing/2014/main" id="{F7674E5F-BF5A-498F-043D-8CFD2965F5B0}"/>
                </a:ext>
              </a:extLst>
            </p:cNvPr>
            <p:cNvSpPr/>
            <p:nvPr/>
          </p:nvSpPr>
          <p:spPr>
            <a:xfrm>
              <a:off x="6182244" y="3669469"/>
              <a:ext cx="2613414" cy="2282887"/>
            </a:xfrm>
            <a:prstGeom prst="rect">
              <a:avLst/>
            </a:prstGeom>
            <a:solidFill>
              <a:srgbClr val="0070C0"/>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tIns="57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Segoe UI Semibold" panose="020B0702040204020203" pitchFamily="34" charset="0"/>
                <a:ea typeface="+mn-ea"/>
                <a:cs typeface="Segoe UI Semibold" panose="020B07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Segoe UI Semibold" panose="020B0702040204020203" pitchFamily="34" charset="0"/>
                <a:ea typeface="+mn-ea"/>
                <a:cs typeface="Segoe UI Semibold" panose="020B07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Segoe UI Semibold" panose="020B0702040204020203" pitchFamily="34" charset="0"/>
                <a:ea typeface="+mn-ea"/>
                <a:cs typeface="Segoe UI Semibold" panose="020B07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Segoe UI Semibold" panose="020B0702040204020203" pitchFamily="34" charset="0"/>
                  <a:ea typeface="+mn-ea"/>
                  <a:cs typeface="Segoe UI Semibold" panose="020B0702040204020203" pitchFamily="34" charset="0"/>
                </a:rPr>
                <a:t>COMPU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Segoe UI Semibold" panose="020B0702040204020203" pitchFamily="34" charset="0"/>
                  <a:ea typeface="+mn-ea"/>
                  <a:cs typeface="Segoe UI Semibold" panose="020B0702040204020203" pitchFamily="34" charset="0"/>
                </a:rPr>
                <a:t>PARALLEL</a:t>
              </a:r>
              <a:endParaRPr kumimoji="0" lang="en-IN" sz="1800"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Segoe UI Semibold" panose="020B0702040204020203" pitchFamily="34" charset="0"/>
                <a:ea typeface="+mn-ea"/>
                <a:cs typeface="Segoe UI Semibold" panose="020B0702040204020203" pitchFamily="34" charset="0"/>
              </a:endParaRPr>
            </a:p>
          </p:txBody>
        </p:sp>
        <p:pic>
          <p:nvPicPr>
            <p:cNvPr id="19" name="Picture 18" descr="A picture containing icon&#10;&#10;Description automatically generated">
              <a:extLst>
                <a:ext uri="{FF2B5EF4-FFF2-40B4-BE49-F238E27FC236}">
                  <a16:creationId xmlns:a16="http://schemas.microsoft.com/office/drawing/2014/main" id="{7079AD48-4338-CD22-AADA-05DD0C1AA5C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93729" y="4323815"/>
              <a:ext cx="884272" cy="575522"/>
            </a:xfrm>
            <a:prstGeom prst="rect">
              <a:avLst/>
            </a:prstGeom>
          </p:spPr>
        </p:pic>
      </p:grpSp>
      <p:grpSp>
        <p:nvGrpSpPr>
          <p:cNvPr id="20" name="Group 19">
            <a:extLst>
              <a:ext uri="{FF2B5EF4-FFF2-40B4-BE49-F238E27FC236}">
                <a16:creationId xmlns:a16="http://schemas.microsoft.com/office/drawing/2014/main" id="{91FB3D2D-E61B-B311-255F-098A9C5F04E5}"/>
              </a:ext>
            </a:extLst>
          </p:cNvPr>
          <p:cNvGrpSpPr/>
          <p:nvPr/>
        </p:nvGrpSpPr>
        <p:grpSpPr>
          <a:xfrm>
            <a:off x="3160983" y="3583744"/>
            <a:ext cx="2613414" cy="2282887"/>
            <a:chOff x="3020829" y="3669469"/>
            <a:chExt cx="2613414" cy="2282887"/>
          </a:xfrm>
        </p:grpSpPr>
        <p:sp>
          <p:nvSpPr>
            <p:cNvPr id="21" name="Rectangle 20">
              <a:extLst>
                <a:ext uri="{FF2B5EF4-FFF2-40B4-BE49-F238E27FC236}">
                  <a16:creationId xmlns:a16="http://schemas.microsoft.com/office/drawing/2014/main" id="{6C2F7BD8-EBBC-8391-E6BA-B507FABEF61C}"/>
                </a:ext>
              </a:extLst>
            </p:cNvPr>
            <p:cNvSpPr/>
            <p:nvPr/>
          </p:nvSpPr>
          <p:spPr>
            <a:xfrm>
              <a:off x="3020829" y="3669469"/>
              <a:ext cx="2613414" cy="2282887"/>
            </a:xfrm>
            <a:prstGeom prst="rect">
              <a:avLst/>
            </a:prstGeom>
            <a:solidFill>
              <a:srgbClr val="005696"/>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tIns="57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Segoe UI Semibold" panose="020B0702040204020203" pitchFamily="34" charset="0"/>
                <a:ea typeface="+mn-ea"/>
                <a:cs typeface="Segoe UI Semibold" panose="020B07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Segoe UI Semibold" panose="020B0702040204020203" pitchFamily="34" charset="0"/>
                <a:ea typeface="+mn-ea"/>
                <a:cs typeface="Segoe UI Semibold" panose="020B07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Segoe UI Semibold" panose="020B0702040204020203" pitchFamily="34" charset="0"/>
                <a:ea typeface="+mn-ea"/>
                <a:cs typeface="Segoe UI Semibold" panose="020B07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Segoe UI Semibold" panose="020B0702040204020203" pitchFamily="34" charset="0"/>
                  <a:ea typeface="+mn-ea"/>
                  <a:cs typeface="Segoe UI Semibold" panose="020B0702040204020203" pitchFamily="34" charset="0"/>
                </a:rPr>
                <a:t>NETWOR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Segoe UI Semibold" panose="020B0702040204020203" pitchFamily="34" charset="0"/>
                  <a:ea typeface="+mn-ea"/>
                  <a:cs typeface="Segoe UI Semibold" panose="020B0702040204020203" pitchFamily="34" charset="0"/>
                </a:rPr>
                <a:t>PARALLEL</a:t>
              </a:r>
              <a:endParaRPr kumimoji="0" lang="en-IN" sz="1800"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Segoe UI Semibold" panose="020B0702040204020203" pitchFamily="34" charset="0"/>
                <a:ea typeface="+mn-ea"/>
                <a:cs typeface="Segoe UI Semibold" panose="020B0702040204020203" pitchFamily="34" charset="0"/>
              </a:endParaRPr>
            </a:p>
          </p:txBody>
        </p:sp>
        <p:grpSp>
          <p:nvGrpSpPr>
            <p:cNvPr id="23" name="virtual network 1" descr="virtual network, Azure portal">
              <a:extLst>
                <a:ext uri="{FF2B5EF4-FFF2-40B4-BE49-F238E27FC236}">
                  <a16:creationId xmlns:a16="http://schemas.microsoft.com/office/drawing/2014/main" id="{229FCA1B-1027-4CBB-46E3-FD3489BFA1D0}"/>
                </a:ext>
              </a:extLst>
            </p:cNvPr>
            <p:cNvGrpSpPr>
              <a:grpSpLocks noChangeAspect="1"/>
            </p:cNvGrpSpPr>
            <p:nvPr/>
          </p:nvGrpSpPr>
          <p:grpSpPr bwMode="auto">
            <a:xfrm>
              <a:off x="4050933" y="4348803"/>
              <a:ext cx="553205" cy="553207"/>
              <a:chOff x="5201" y="1382"/>
              <a:chExt cx="207" cy="207"/>
            </a:xfrm>
          </p:grpSpPr>
          <p:sp>
            <p:nvSpPr>
              <p:cNvPr id="24" name="AutoShape 129">
                <a:extLst>
                  <a:ext uri="{FF2B5EF4-FFF2-40B4-BE49-F238E27FC236}">
                    <a16:creationId xmlns:a16="http://schemas.microsoft.com/office/drawing/2014/main" id="{50EE4FE6-3D85-7736-C4B5-CCC5967F5B9A}"/>
                  </a:ext>
                </a:extLst>
              </p:cNvPr>
              <p:cNvSpPr>
                <a:spLocks noChangeAspect="1" noChangeArrowheads="1" noTextEdit="1"/>
              </p:cNvSpPr>
              <p:nvPr/>
            </p:nvSpPr>
            <p:spPr bwMode="auto">
              <a:xfrm>
                <a:off x="5201" y="1382"/>
                <a:ext cx="207" cy="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131">
                <a:extLst>
                  <a:ext uri="{FF2B5EF4-FFF2-40B4-BE49-F238E27FC236}">
                    <a16:creationId xmlns:a16="http://schemas.microsoft.com/office/drawing/2014/main" id="{D686F988-CD06-69EA-E40B-6156D76D02E4}"/>
                  </a:ext>
                </a:extLst>
              </p:cNvPr>
              <p:cNvSpPr>
                <a:spLocks/>
              </p:cNvSpPr>
              <p:nvPr/>
            </p:nvSpPr>
            <p:spPr bwMode="auto">
              <a:xfrm>
                <a:off x="5219" y="1520"/>
                <a:ext cx="170" cy="60"/>
              </a:xfrm>
              <a:custGeom>
                <a:avLst/>
                <a:gdLst>
                  <a:gd name="T0" fmla="*/ 87 w 170"/>
                  <a:gd name="T1" fmla="*/ 60 h 60"/>
                  <a:gd name="T2" fmla="*/ 0 w 170"/>
                  <a:gd name="T3" fmla="*/ 10 h 60"/>
                  <a:gd name="T4" fmla="*/ 6 w 170"/>
                  <a:gd name="T5" fmla="*/ 0 h 60"/>
                  <a:gd name="T6" fmla="*/ 87 w 170"/>
                  <a:gd name="T7" fmla="*/ 48 h 60"/>
                  <a:gd name="T8" fmla="*/ 165 w 170"/>
                  <a:gd name="T9" fmla="*/ 1 h 60"/>
                  <a:gd name="T10" fmla="*/ 170 w 170"/>
                  <a:gd name="T11" fmla="*/ 11 h 60"/>
                  <a:gd name="T12" fmla="*/ 87 w 170"/>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70" h="60">
                    <a:moveTo>
                      <a:pt x="87" y="60"/>
                    </a:moveTo>
                    <a:lnTo>
                      <a:pt x="0" y="10"/>
                    </a:lnTo>
                    <a:lnTo>
                      <a:pt x="6" y="0"/>
                    </a:lnTo>
                    <a:lnTo>
                      <a:pt x="87" y="48"/>
                    </a:lnTo>
                    <a:lnTo>
                      <a:pt x="165" y="1"/>
                    </a:lnTo>
                    <a:lnTo>
                      <a:pt x="170" y="11"/>
                    </a:lnTo>
                    <a:lnTo>
                      <a:pt x="87" y="6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132">
                <a:extLst>
                  <a:ext uri="{FF2B5EF4-FFF2-40B4-BE49-F238E27FC236}">
                    <a16:creationId xmlns:a16="http://schemas.microsoft.com/office/drawing/2014/main" id="{764EB402-3741-C008-19DB-5620A958D3E9}"/>
                  </a:ext>
                </a:extLst>
              </p:cNvPr>
              <p:cNvSpPr>
                <a:spLocks/>
              </p:cNvSpPr>
              <p:nvPr/>
            </p:nvSpPr>
            <p:spPr bwMode="auto">
              <a:xfrm>
                <a:off x="5219" y="1472"/>
                <a:ext cx="170" cy="61"/>
              </a:xfrm>
              <a:custGeom>
                <a:avLst/>
                <a:gdLst>
                  <a:gd name="T0" fmla="*/ 87 w 170"/>
                  <a:gd name="T1" fmla="*/ 61 h 61"/>
                  <a:gd name="T2" fmla="*/ 0 w 170"/>
                  <a:gd name="T3" fmla="*/ 10 h 61"/>
                  <a:gd name="T4" fmla="*/ 6 w 170"/>
                  <a:gd name="T5" fmla="*/ 0 h 61"/>
                  <a:gd name="T6" fmla="*/ 87 w 170"/>
                  <a:gd name="T7" fmla="*/ 48 h 61"/>
                  <a:gd name="T8" fmla="*/ 165 w 170"/>
                  <a:gd name="T9" fmla="*/ 3 h 61"/>
                  <a:gd name="T10" fmla="*/ 170 w 170"/>
                  <a:gd name="T11" fmla="*/ 12 h 61"/>
                  <a:gd name="T12" fmla="*/ 87 w 17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70" h="61">
                    <a:moveTo>
                      <a:pt x="87" y="61"/>
                    </a:moveTo>
                    <a:lnTo>
                      <a:pt x="0" y="10"/>
                    </a:lnTo>
                    <a:lnTo>
                      <a:pt x="6" y="0"/>
                    </a:lnTo>
                    <a:lnTo>
                      <a:pt x="87" y="48"/>
                    </a:lnTo>
                    <a:lnTo>
                      <a:pt x="165" y="3"/>
                    </a:lnTo>
                    <a:lnTo>
                      <a:pt x="170" y="12"/>
                    </a:lnTo>
                    <a:lnTo>
                      <a:pt x="87" y="6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133">
                <a:extLst>
                  <a:ext uri="{FF2B5EF4-FFF2-40B4-BE49-F238E27FC236}">
                    <a16:creationId xmlns:a16="http://schemas.microsoft.com/office/drawing/2014/main" id="{934D0CAE-7868-15F0-0A87-272E22847F52}"/>
                  </a:ext>
                </a:extLst>
              </p:cNvPr>
              <p:cNvSpPr>
                <a:spLocks/>
              </p:cNvSpPr>
              <p:nvPr/>
            </p:nvSpPr>
            <p:spPr bwMode="auto">
              <a:xfrm>
                <a:off x="5219" y="1432"/>
                <a:ext cx="170" cy="59"/>
              </a:xfrm>
              <a:custGeom>
                <a:avLst/>
                <a:gdLst>
                  <a:gd name="T0" fmla="*/ 87 w 170"/>
                  <a:gd name="T1" fmla="*/ 59 h 59"/>
                  <a:gd name="T2" fmla="*/ 0 w 170"/>
                  <a:gd name="T3" fmla="*/ 10 h 59"/>
                  <a:gd name="T4" fmla="*/ 6 w 170"/>
                  <a:gd name="T5" fmla="*/ 0 h 59"/>
                  <a:gd name="T6" fmla="*/ 87 w 170"/>
                  <a:gd name="T7" fmla="*/ 48 h 59"/>
                  <a:gd name="T8" fmla="*/ 165 w 170"/>
                  <a:gd name="T9" fmla="*/ 1 h 59"/>
                  <a:gd name="T10" fmla="*/ 170 w 170"/>
                  <a:gd name="T11" fmla="*/ 11 h 59"/>
                  <a:gd name="T12" fmla="*/ 87 w 170"/>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170" h="59">
                    <a:moveTo>
                      <a:pt x="87" y="59"/>
                    </a:moveTo>
                    <a:lnTo>
                      <a:pt x="0" y="10"/>
                    </a:lnTo>
                    <a:lnTo>
                      <a:pt x="6" y="0"/>
                    </a:lnTo>
                    <a:lnTo>
                      <a:pt x="87" y="48"/>
                    </a:lnTo>
                    <a:lnTo>
                      <a:pt x="165" y="1"/>
                    </a:lnTo>
                    <a:lnTo>
                      <a:pt x="170" y="11"/>
                    </a:lnTo>
                    <a:lnTo>
                      <a:pt x="87" y="5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134">
                <a:extLst>
                  <a:ext uri="{FF2B5EF4-FFF2-40B4-BE49-F238E27FC236}">
                    <a16:creationId xmlns:a16="http://schemas.microsoft.com/office/drawing/2014/main" id="{F51A327A-60D5-FBA2-0037-E5A7C98D381C}"/>
                  </a:ext>
                </a:extLst>
              </p:cNvPr>
              <p:cNvSpPr>
                <a:spLocks/>
              </p:cNvSpPr>
              <p:nvPr/>
            </p:nvSpPr>
            <p:spPr bwMode="auto">
              <a:xfrm>
                <a:off x="5219" y="1389"/>
                <a:ext cx="170" cy="61"/>
              </a:xfrm>
              <a:custGeom>
                <a:avLst/>
                <a:gdLst>
                  <a:gd name="T0" fmla="*/ 87 w 170"/>
                  <a:gd name="T1" fmla="*/ 61 h 61"/>
                  <a:gd name="T2" fmla="*/ 0 w 170"/>
                  <a:gd name="T3" fmla="*/ 10 h 61"/>
                  <a:gd name="T4" fmla="*/ 6 w 170"/>
                  <a:gd name="T5" fmla="*/ 0 h 61"/>
                  <a:gd name="T6" fmla="*/ 87 w 170"/>
                  <a:gd name="T7" fmla="*/ 48 h 61"/>
                  <a:gd name="T8" fmla="*/ 165 w 170"/>
                  <a:gd name="T9" fmla="*/ 3 h 61"/>
                  <a:gd name="T10" fmla="*/ 170 w 170"/>
                  <a:gd name="T11" fmla="*/ 12 h 61"/>
                  <a:gd name="T12" fmla="*/ 87 w 17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70" h="61">
                    <a:moveTo>
                      <a:pt x="87" y="61"/>
                    </a:moveTo>
                    <a:lnTo>
                      <a:pt x="0" y="10"/>
                    </a:lnTo>
                    <a:lnTo>
                      <a:pt x="6" y="0"/>
                    </a:lnTo>
                    <a:lnTo>
                      <a:pt x="87" y="48"/>
                    </a:lnTo>
                    <a:lnTo>
                      <a:pt x="165" y="3"/>
                    </a:lnTo>
                    <a:lnTo>
                      <a:pt x="170" y="12"/>
                    </a:lnTo>
                    <a:lnTo>
                      <a:pt x="87" y="6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35">
                <a:extLst>
                  <a:ext uri="{FF2B5EF4-FFF2-40B4-BE49-F238E27FC236}">
                    <a16:creationId xmlns:a16="http://schemas.microsoft.com/office/drawing/2014/main" id="{4BF48153-8295-2287-8F9C-796694A98DBF}"/>
                  </a:ext>
                </a:extLst>
              </p:cNvPr>
              <p:cNvSpPr>
                <a:spLocks noChangeArrowheads="1"/>
              </p:cNvSpPr>
              <p:nvPr/>
            </p:nvSpPr>
            <p:spPr bwMode="auto">
              <a:xfrm>
                <a:off x="5202" y="1382"/>
                <a:ext cx="31" cy="31"/>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136">
                <a:extLst>
                  <a:ext uri="{FF2B5EF4-FFF2-40B4-BE49-F238E27FC236}">
                    <a16:creationId xmlns:a16="http://schemas.microsoft.com/office/drawing/2014/main" id="{9CD4EAFC-103C-B663-336B-A050C62DF1D6}"/>
                  </a:ext>
                </a:extLst>
              </p:cNvPr>
              <p:cNvSpPr>
                <a:spLocks noChangeArrowheads="1"/>
              </p:cNvSpPr>
              <p:nvPr/>
            </p:nvSpPr>
            <p:spPr bwMode="auto">
              <a:xfrm>
                <a:off x="5289" y="1382"/>
                <a:ext cx="31" cy="31"/>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137">
                <a:extLst>
                  <a:ext uri="{FF2B5EF4-FFF2-40B4-BE49-F238E27FC236}">
                    <a16:creationId xmlns:a16="http://schemas.microsoft.com/office/drawing/2014/main" id="{BE8DCD90-3C30-05F3-FA91-18F76CA3C9D8}"/>
                  </a:ext>
                </a:extLst>
              </p:cNvPr>
              <p:cNvSpPr>
                <a:spLocks noChangeArrowheads="1"/>
              </p:cNvSpPr>
              <p:nvPr/>
            </p:nvSpPr>
            <p:spPr bwMode="auto">
              <a:xfrm>
                <a:off x="5377" y="1382"/>
                <a:ext cx="31" cy="31"/>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138">
                <a:extLst>
                  <a:ext uri="{FF2B5EF4-FFF2-40B4-BE49-F238E27FC236}">
                    <a16:creationId xmlns:a16="http://schemas.microsoft.com/office/drawing/2014/main" id="{83E3891E-00D7-8331-B6E0-ABEB0735DCEE}"/>
                  </a:ext>
                </a:extLst>
              </p:cNvPr>
              <p:cNvSpPr>
                <a:spLocks noChangeArrowheads="1"/>
              </p:cNvSpPr>
              <p:nvPr/>
            </p:nvSpPr>
            <p:spPr bwMode="auto">
              <a:xfrm>
                <a:off x="5202" y="1426"/>
                <a:ext cx="31" cy="31"/>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139">
                <a:extLst>
                  <a:ext uri="{FF2B5EF4-FFF2-40B4-BE49-F238E27FC236}">
                    <a16:creationId xmlns:a16="http://schemas.microsoft.com/office/drawing/2014/main" id="{209D36F4-9EE5-36F2-FBCE-6305C0BE63DD}"/>
                  </a:ext>
                </a:extLst>
              </p:cNvPr>
              <p:cNvSpPr>
                <a:spLocks noChangeArrowheads="1"/>
              </p:cNvSpPr>
              <p:nvPr/>
            </p:nvSpPr>
            <p:spPr bwMode="auto">
              <a:xfrm>
                <a:off x="5289" y="1426"/>
                <a:ext cx="31" cy="31"/>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140">
                <a:extLst>
                  <a:ext uri="{FF2B5EF4-FFF2-40B4-BE49-F238E27FC236}">
                    <a16:creationId xmlns:a16="http://schemas.microsoft.com/office/drawing/2014/main" id="{7CDC1C0F-D9C0-C5A6-179B-0C95F4AAC83E}"/>
                  </a:ext>
                </a:extLst>
              </p:cNvPr>
              <p:cNvSpPr>
                <a:spLocks noChangeArrowheads="1"/>
              </p:cNvSpPr>
              <p:nvPr/>
            </p:nvSpPr>
            <p:spPr bwMode="auto">
              <a:xfrm>
                <a:off x="5377" y="1426"/>
                <a:ext cx="31" cy="31"/>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141">
                <a:extLst>
                  <a:ext uri="{FF2B5EF4-FFF2-40B4-BE49-F238E27FC236}">
                    <a16:creationId xmlns:a16="http://schemas.microsoft.com/office/drawing/2014/main" id="{05AA6EEB-13B4-A295-C396-7FE00B02337D}"/>
                  </a:ext>
                </a:extLst>
              </p:cNvPr>
              <p:cNvSpPr>
                <a:spLocks noChangeArrowheads="1"/>
              </p:cNvSpPr>
              <p:nvPr/>
            </p:nvSpPr>
            <p:spPr bwMode="auto">
              <a:xfrm>
                <a:off x="5202" y="1469"/>
                <a:ext cx="31" cy="31"/>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142">
                <a:extLst>
                  <a:ext uri="{FF2B5EF4-FFF2-40B4-BE49-F238E27FC236}">
                    <a16:creationId xmlns:a16="http://schemas.microsoft.com/office/drawing/2014/main" id="{62A5E9E7-21B2-B09E-F28A-AAFB704D8B52}"/>
                  </a:ext>
                </a:extLst>
              </p:cNvPr>
              <p:cNvSpPr>
                <a:spLocks noChangeArrowheads="1"/>
              </p:cNvSpPr>
              <p:nvPr/>
            </p:nvSpPr>
            <p:spPr bwMode="auto">
              <a:xfrm>
                <a:off x="5377" y="1469"/>
                <a:ext cx="31" cy="31"/>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143">
                <a:extLst>
                  <a:ext uri="{FF2B5EF4-FFF2-40B4-BE49-F238E27FC236}">
                    <a16:creationId xmlns:a16="http://schemas.microsoft.com/office/drawing/2014/main" id="{0EEFE512-9003-AF39-F205-77BB0FA93B4B}"/>
                  </a:ext>
                </a:extLst>
              </p:cNvPr>
              <p:cNvSpPr>
                <a:spLocks noChangeArrowheads="1"/>
              </p:cNvSpPr>
              <p:nvPr/>
            </p:nvSpPr>
            <p:spPr bwMode="auto">
              <a:xfrm>
                <a:off x="5202" y="1513"/>
                <a:ext cx="31" cy="31"/>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144">
                <a:extLst>
                  <a:ext uri="{FF2B5EF4-FFF2-40B4-BE49-F238E27FC236}">
                    <a16:creationId xmlns:a16="http://schemas.microsoft.com/office/drawing/2014/main" id="{097C3CCC-3BC9-0829-EE9E-0CE703C49B33}"/>
                  </a:ext>
                </a:extLst>
              </p:cNvPr>
              <p:cNvSpPr>
                <a:spLocks noChangeArrowheads="1"/>
              </p:cNvSpPr>
              <p:nvPr/>
            </p:nvSpPr>
            <p:spPr bwMode="auto">
              <a:xfrm>
                <a:off x="5289" y="1513"/>
                <a:ext cx="31" cy="31"/>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145">
                <a:extLst>
                  <a:ext uri="{FF2B5EF4-FFF2-40B4-BE49-F238E27FC236}">
                    <a16:creationId xmlns:a16="http://schemas.microsoft.com/office/drawing/2014/main" id="{34F6BEE5-48F4-C39B-19DC-741D3D59A113}"/>
                  </a:ext>
                </a:extLst>
              </p:cNvPr>
              <p:cNvSpPr>
                <a:spLocks noChangeArrowheads="1"/>
              </p:cNvSpPr>
              <p:nvPr/>
            </p:nvSpPr>
            <p:spPr bwMode="auto">
              <a:xfrm>
                <a:off x="5377" y="1513"/>
                <a:ext cx="31" cy="31"/>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146">
                <a:extLst>
                  <a:ext uri="{FF2B5EF4-FFF2-40B4-BE49-F238E27FC236}">
                    <a16:creationId xmlns:a16="http://schemas.microsoft.com/office/drawing/2014/main" id="{04DDF822-B713-AA32-541B-B9AF091107C9}"/>
                  </a:ext>
                </a:extLst>
              </p:cNvPr>
              <p:cNvSpPr>
                <a:spLocks noChangeArrowheads="1"/>
              </p:cNvSpPr>
              <p:nvPr/>
            </p:nvSpPr>
            <p:spPr bwMode="auto">
              <a:xfrm>
                <a:off x="5202" y="1557"/>
                <a:ext cx="31" cy="31"/>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147">
                <a:extLst>
                  <a:ext uri="{FF2B5EF4-FFF2-40B4-BE49-F238E27FC236}">
                    <a16:creationId xmlns:a16="http://schemas.microsoft.com/office/drawing/2014/main" id="{C8EF254B-0305-F4AC-4F58-0C0DC47C0DA3}"/>
                  </a:ext>
                </a:extLst>
              </p:cNvPr>
              <p:cNvSpPr>
                <a:spLocks noChangeArrowheads="1"/>
              </p:cNvSpPr>
              <p:nvPr/>
            </p:nvSpPr>
            <p:spPr bwMode="auto">
              <a:xfrm>
                <a:off x="5289" y="1557"/>
                <a:ext cx="31" cy="31"/>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148">
                <a:extLst>
                  <a:ext uri="{FF2B5EF4-FFF2-40B4-BE49-F238E27FC236}">
                    <a16:creationId xmlns:a16="http://schemas.microsoft.com/office/drawing/2014/main" id="{562DBD59-4452-1B15-B77B-812FD32419C4}"/>
                  </a:ext>
                </a:extLst>
              </p:cNvPr>
              <p:cNvSpPr>
                <a:spLocks noChangeArrowheads="1"/>
              </p:cNvSpPr>
              <p:nvPr/>
            </p:nvSpPr>
            <p:spPr bwMode="auto">
              <a:xfrm>
                <a:off x="5377" y="1557"/>
                <a:ext cx="31" cy="31"/>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149">
                <a:extLst>
                  <a:ext uri="{FF2B5EF4-FFF2-40B4-BE49-F238E27FC236}">
                    <a16:creationId xmlns:a16="http://schemas.microsoft.com/office/drawing/2014/main" id="{5478BD23-E7A0-3635-71DA-A03DFFEC905B}"/>
                  </a:ext>
                </a:extLst>
              </p:cNvPr>
              <p:cNvSpPr>
                <a:spLocks noChangeArrowheads="1"/>
              </p:cNvSpPr>
              <p:nvPr/>
            </p:nvSpPr>
            <p:spPr bwMode="auto">
              <a:xfrm>
                <a:off x="5289" y="1469"/>
                <a:ext cx="31" cy="31"/>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44" name="Group 43">
            <a:extLst>
              <a:ext uri="{FF2B5EF4-FFF2-40B4-BE49-F238E27FC236}">
                <a16:creationId xmlns:a16="http://schemas.microsoft.com/office/drawing/2014/main" id="{87B8D69A-F179-682D-C98C-E60F51147338}"/>
              </a:ext>
            </a:extLst>
          </p:cNvPr>
          <p:cNvGrpSpPr/>
          <p:nvPr/>
        </p:nvGrpSpPr>
        <p:grpSpPr>
          <a:xfrm>
            <a:off x="5835202" y="1216906"/>
            <a:ext cx="2613414" cy="2282887"/>
            <a:chOff x="6182244" y="894862"/>
            <a:chExt cx="2613414" cy="2282887"/>
          </a:xfrm>
        </p:grpSpPr>
        <p:sp>
          <p:nvSpPr>
            <p:cNvPr id="45" name="Rectangle 44">
              <a:extLst>
                <a:ext uri="{FF2B5EF4-FFF2-40B4-BE49-F238E27FC236}">
                  <a16:creationId xmlns:a16="http://schemas.microsoft.com/office/drawing/2014/main" id="{420FF0DB-99BC-D4E6-EC54-C649E54EE11A}"/>
                </a:ext>
              </a:extLst>
            </p:cNvPr>
            <p:cNvSpPr/>
            <p:nvPr/>
          </p:nvSpPr>
          <p:spPr>
            <a:xfrm>
              <a:off x="6182244" y="894862"/>
              <a:ext cx="2613414" cy="2282887"/>
            </a:xfrm>
            <a:prstGeom prst="rect">
              <a:avLst/>
            </a:prstGeom>
            <a:solidFill>
              <a:srgbClr val="005696"/>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tIns="468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Segoe UI Semibold" panose="020B0702040204020203" pitchFamily="34" charset="0"/>
                <a:ea typeface="+mn-ea"/>
                <a:cs typeface="Segoe UI Semibold" panose="020B07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Segoe UI Semibold" panose="020B0702040204020203" pitchFamily="34" charset="0"/>
                <a:ea typeface="+mn-ea"/>
                <a:cs typeface="Segoe UI Semibold" panose="020B07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Segoe UI Semibold" panose="020B0702040204020203" pitchFamily="34" charset="0"/>
                <a:ea typeface="+mn-ea"/>
                <a:cs typeface="Segoe UI Semibold" panose="020B07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Segoe UI Semibold" panose="020B0702040204020203" pitchFamily="34" charset="0"/>
                  <a:ea typeface="+mn-ea"/>
                  <a:cs typeface="Segoe UI Semibold" panose="020B0702040204020203" pitchFamily="34" charset="0"/>
                </a:rPr>
                <a:t>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Segoe UI Semibold" panose="020B0702040204020203" pitchFamily="34" charset="0"/>
                  <a:ea typeface="+mn-ea"/>
                  <a:cs typeface="Segoe UI Semibold" panose="020B0702040204020203" pitchFamily="34" charset="0"/>
                </a:rPr>
                <a:t>PARALLEL</a:t>
              </a:r>
              <a:endParaRPr kumimoji="0" lang="en-IN" sz="1800"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Segoe UI Semibold" panose="020B0702040204020203" pitchFamily="34" charset="0"/>
                <a:ea typeface="+mn-ea"/>
                <a:cs typeface="Segoe UI Semibold" panose="020B0702040204020203" pitchFamily="34" charset="0"/>
              </a:endParaRPr>
            </a:p>
          </p:txBody>
        </p:sp>
        <p:grpSp>
          <p:nvGrpSpPr>
            <p:cNvPr id="46" name="custom templates" descr="custom templates">
              <a:extLst>
                <a:ext uri="{FF2B5EF4-FFF2-40B4-BE49-F238E27FC236}">
                  <a16:creationId xmlns:a16="http://schemas.microsoft.com/office/drawing/2014/main" id="{10B4B10D-5A7C-6F6C-0713-D4C661C601DE}"/>
                </a:ext>
              </a:extLst>
            </p:cNvPr>
            <p:cNvGrpSpPr/>
            <p:nvPr/>
          </p:nvGrpSpPr>
          <p:grpSpPr>
            <a:xfrm>
              <a:off x="7211721" y="1521401"/>
              <a:ext cx="544590" cy="514904"/>
              <a:chOff x="7311477" y="1287781"/>
              <a:chExt cx="387146" cy="364052"/>
            </a:xfrm>
            <a:solidFill>
              <a:schemeClr val="tx1"/>
            </a:solidFill>
          </p:grpSpPr>
          <p:sp>
            <p:nvSpPr>
              <p:cNvPr id="47" name="Rectangle 247">
                <a:extLst>
                  <a:ext uri="{FF2B5EF4-FFF2-40B4-BE49-F238E27FC236}">
                    <a16:creationId xmlns:a16="http://schemas.microsoft.com/office/drawing/2014/main" id="{6A61DAA5-B2B9-95D0-55A7-FD94092B670B}"/>
                  </a:ext>
                </a:extLst>
              </p:cNvPr>
              <p:cNvSpPr>
                <a:spLocks noChangeArrowheads="1"/>
              </p:cNvSpPr>
              <p:nvPr/>
            </p:nvSpPr>
            <p:spPr bwMode="auto">
              <a:xfrm>
                <a:off x="7311477" y="1287781"/>
                <a:ext cx="101881" cy="16300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8" name="Rectangle 248">
                <a:extLst>
                  <a:ext uri="{FF2B5EF4-FFF2-40B4-BE49-F238E27FC236}">
                    <a16:creationId xmlns:a16="http://schemas.microsoft.com/office/drawing/2014/main" id="{1BF05515-DDBC-20EF-CFCA-6623496C96D4}"/>
                  </a:ext>
                </a:extLst>
              </p:cNvPr>
              <p:cNvSpPr>
                <a:spLocks noChangeArrowheads="1"/>
              </p:cNvSpPr>
              <p:nvPr/>
            </p:nvSpPr>
            <p:spPr bwMode="auto">
              <a:xfrm>
                <a:off x="7311477" y="1490183"/>
                <a:ext cx="101881" cy="1616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9" name="Rectangle 249">
                <a:extLst>
                  <a:ext uri="{FF2B5EF4-FFF2-40B4-BE49-F238E27FC236}">
                    <a16:creationId xmlns:a16="http://schemas.microsoft.com/office/drawing/2014/main" id="{27595805-D772-BEC1-698D-9A538FE154F6}"/>
                  </a:ext>
                </a:extLst>
              </p:cNvPr>
              <p:cNvSpPr>
                <a:spLocks noChangeArrowheads="1"/>
              </p:cNvSpPr>
              <p:nvPr/>
            </p:nvSpPr>
            <p:spPr bwMode="auto">
              <a:xfrm>
                <a:off x="7452751" y="1287781"/>
                <a:ext cx="103239" cy="16300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0" name="Rectangle 250">
                <a:extLst>
                  <a:ext uri="{FF2B5EF4-FFF2-40B4-BE49-F238E27FC236}">
                    <a16:creationId xmlns:a16="http://schemas.microsoft.com/office/drawing/2014/main" id="{96E5423E-A79F-4ADF-1652-E4C2FC066FE8}"/>
                  </a:ext>
                </a:extLst>
              </p:cNvPr>
              <p:cNvSpPr>
                <a:spLocks noChangeArrowheads="1"/>
              </p:cNvSpPr>
              <p:nvPr/>
            </p:nvSpPr>
            <p:spPr bwMode="auto">
              <a:xfrm>
                <a:off x="7452751" y="1490183"/>
                <a:ext cx="103239" cy="1616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1" name="Rectangle 251">
                <a:extLst>
                  <a:ext uri="{FF2B5EF4-FFF2-40B4-BE49-F238E27FC236}">
                    <a16:creationId xmlns:a16="http://schemas.microsoft.com/office/drawing/2014/main" id="{F84D6A97-37F7-6E39-05BF-7812E1B752CC}"/>
                  </a:ext>
                </a:extLst>
              </p:cNvPr>
              <p:cNvSpPr>
                <a:spLocks noChangeArrowheads="1"/>
              </p:cNvSpPr>
              <p:nvPr/>
            </p:nvSpPr>
            <p:spPr bwMode="auto">
              <a:xfrm>
                <a:off x="7595384" y="1287781"/>
                <a:ext cx="103239" cy="16300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2" name="Rectangle 252">
                <a:extLst>
                  <a:ext uri="{FF2B5EF4-FFF2-40B4-BE49-F238E27FC236}">
                    <a16:creationId xmlns:a16="http://schemas.microsoft.com/office/drawing/2014/main" id="{45EFF6EA-64A9-0B5F-3578-BDC7FBB4A900}"/>
                  </a:ext>
                </a:extLst>
              </p:cNvPr>
              <p:cNvSpPr>
                <a:spLocks noChangeArrowheads="1"/>
              </p:cNvSpPr>
              <p:nvPr/>
            </p:nvSpPr>
            <p:spPr bwMode="auto">
              <a:xfrm>
                <a:off x="7595384" y="1490183"/>
                <a:ext cx="103239" cy="1616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53" name="Group 52">
            <a:extLst>
              <a:ext uri="{FF2B5EF4-FFF2-40B4-BE49-F238E27FC236}">
                <a16:creationId xmlns:a16="http://schemas.microsoft.com/office/drawing/2014/main" id="{DA6A34E3-DF70-D523-807A-D4444AACCBF7}"/>
              </a:ext>
            </a:extLst>
          </p:cNvPr>
          <p:cNvGrpSpPr/>
          <p:nvPr/>
        </p:nvGrpSpPr>
        <p:grpSpPr>
          <a:xfrm>
            <a:off x="3160983" y="1216906"/>
            <a:ext cx="2613414" cy="2282887"/>
            <a:chOff x="3020829" y="894862"/>
            <a:chExt cx="2613414" cy="2282887"/>
          </a:xfrm>
          <a:solidFill>
            <a:srgbClr val="0070C0"/>
          </a:solidFill>
        </p:grpSpPr>
        <p:sp>
          <p:nvSpPr>
            <p:cNvPr id="54" name="Rectangle 53">
              <a:extLst>
                <a:ext uri="{FF2B5EF4-FFF2-40B4-BE49-F238E27FC236}">
                  <a16:creationId xmlns:a16="http://schemas.microsoft.com/office/drawing/2014/main" id="{CB8D755E-020C-070C-4CE5-F287E8760ACE}"/>
                </a:ext>
              </a:extLst>
            </p:cNvPr>
            <p:cNvSpPr/>
            <p:nvPr/>
          </p:nvSpPr>
          <p:spPr>
            <a:xfrm>
              <a:off x="3020829" y="894862"/>
              <a:ext cx="2613414" cy="2282887"/>
            </a:xfrm>
            <a:prstGeom prst="rect">
              <a:avLst/>
            </a:prstGeom>
            <a:grp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tIns="540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Segoe UI Semibold" panose="020B0702040204020203" pitchFamily="34" charset="0"/>
                <a:ea typeface="+mn-ea"/>
                <a:cs typeface="Segoe UI Semibold" panose="020B07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Segoe UI Semibold" panose="020B0702040204020203" pitchFamily="34" charset="0"/>
                <a:ea typeface="+mn-ea"/>
                <a:cs typeface="Segoe UI Semibold" panose="020B07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Segoe UI Semibold" panose="020B0702040204020203" pitchFamily="34" charset="0"/>
                <a:ea typeface="+mn-ea"/>
                <a:cs typeface="Segoe UI Semibold" panose="020B0702040204020203" pitchFamily="34" charset="0"/>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Segoe UI Semibold" panose="020B0702040204020203" pitchFamily="34" charset="0"/>
                  <a:ea typeface="+mn-ea"/>
                  <a:cs typeface="Segoe UI Semibold" panose="020B0702040204020203" pitchFamily="34" charset="0"/>
                </a:rPr>
                <a:t>SERIAL</a:t>
              </a:r>
              <a:endParaRPr kumimoji="0" lang="en-IN" sz="1600"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Segoe UI" panose="020B0502040204020203" pitchFamily="34" charset="0"/>
                <a:ea typeface="+mn-ea"/>
                <a:cs typeface="Segoe UI" panose="020B0502040204020203" pitchFamily="34" charset="0"/>
              </a:endParaRPr>
            </a:p>
          </p:txBody>
        </p:sp>
        <p:pic>
          <p:nvPicPr>
            <p:cNvPr id="55" name="Time Series Insights" descr="Time Series Insights">
              <a:extLst>
                <a:ext uri="{FF2B5EF4-FFF2-40B4-BE49-F238E27FC236}">
                  <a16:creationId xmlns:a16="http://schemas.microsoft.com/office/drawing/2014/main" id="{E8C87A89-7E13-35DA-E6BB-4EAEC5C94F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96353" y="1521401"/>
              <a:ext cx="648392" cy="648392"/>
            </a:xfrm>
            <a:prstGeom prst="rect">
              <a:avLst/>
            </a:prstGeom>
          </p:spPr>
        </p:pic>
      </p:grpSp>
    </p:spTree>
    <p:extLst>
      <p:ext uri="{BB962C8B-B14F-4D97-AF65-F5344CB8AC3E}">
        <p14:creationId xmlns:p14="http://schemas.microsoft.com/office/powerpoint/2010/main" val="3078944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8CF62C-B4F7-084C-BCD9-D47315CF6088}"/>
              </a:ext>
            </a:extLst>
          </p:cNvPr>
          <p:cNvSpPr>
            <a:spLocks noGrp="1"/>
          </p:cNvSpPr>
          <p:nvPr>
            <p:ph type="title"/>
          </p:nvPr>
        </p:nvSpPr>
        <p:spPr/>
        <p:txBody>
          <a:bodyPr>
            <a:normAutofit/>
          </a:bodyPr>
          <a:lstStyle/>
          <a:p>
            <a:r>
              <a:rPr lang="en-CA"/>
              <a:t>Leverage Parallelism</a:t>
            </a:r>
          </a:p>
        </p:txBody>
      </p:sp>
      <p:sp>
        <p:nvSpPr>
          <p:cNvPr id="3" name="Content Placeholder 2">
            <a:extLst>
              <a:ext uri="{FF2B5EF4-FFF2-40B4-BE49-F238E27FC236}">
                <a16:creationId xmlns:a16="http://schemas.microsoft.com/office/drawing/2014/main" id="{495AACDC-77E8-E867-03E7-31C44D307B1A}"/>
              </a:ext>
            </a:extLst>
          </p:cNvPr>
          <p:cNvSpPr>
            <a:spLocks noGrp="1"/>
          </p:cNvSpPr>
          <p:nvPr>
            <p:ph type="body" sz="quarter" idx="10"/>
          </p:nvPr>
        </p:nvSpPr>
        <p:spPr>
          <a:prstGeom prst="rect">
            <a:avLst/>
          </a:prstGeom>
        </p:spPr>
        <p:txBody>
          <a:bodyPr>
            <a:normAutofit/>
          </a:bodyPr>
          <a:lstStyle/>
          <a:p>
            <a:pPr marL="0" indent="0">
              <a:buNone/>
            </a:pPr>
            <a:r>
              <a:rPr lang="en-CA" sz="1800">
                <a:latin typeface="Segoe UI "/>
              </a:rPr>
              <a:t>Compute-bound training and/or inferencing </a:t>
            </a:r>
          </a:p>
          <a:p>
            <a:pPr lvl="1"/>
            <a:r>
              <a:rPr lang="en-CA" sz="1600">
                <a:solidFill>
                  <a:srgbClr val="FF8FFA"/>
                </a:solidFill>
                <a:latin typeface="Segoe UI "/>
              </a:rPr>
              <a:t>Compute Parallel applications scale up-and-out to take advantage of distributed processing </a:t>
            </a:r>
          </a:p>
          <a:p>
            <a:pPr marL="0" indent="0">
              <a:buNone/>
            </a:pPr>
            <a:r>
              <a:rPr lang="en-CA" sz="1800">
                <a:latin typeface="Segoe UI "/>
              </a:rPr>
              <a:t>Complex models </a:t>
            </a:r>
          </a:p>
          <a:p>
            <a:pPr lvl="1"/>
            <a:r>
              <a:rPr lang="en-CA" sz="1600">
                <a:solidFill>
                  <a:srgbClr val="FF8FFA"/>
                </a:solidFill>
                <a:latin typeface="Segoe UI "/>
              </a:rPr>
              <a:t>Reframe as Network Parallel applications to distribute models over a scaled up-and-out infrastructure </a:t>
            </a:r>
          </a:p>
        </p:txBody>
      </p:sp>
      <p:sp>
        <p:nvSpPr>
          <p:cNvPr id="5" name="TextBox 4">
            <a:extLst>
              <a:ext uri="{FF2B5EF4-FFF2-40B4-BE49-F238E27FC236}">
                <a16:creationId xmlns:a16="http://schemas.microsoft.com/office/drawing/2014/main" id="{C7F98ED8-393D-59CE-ED34-09E4CD2D3A46}"/>
              </a:ext>
            </a:extLst>
          </p:cNvPr>
          <p:cNvSpPr txBox="1"/>
          <p:nvPr/>
        </p:nvSpPr>
        <p:spPr>
          <a:xfrm>
            <a:off x="496507" y="4719935"/>
            <a:ext cx="435471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1" i="1" u="none" strike="noStrike" kern="1200" cap="none" spc="0" normalizeH="0" baseline="0" noProof="0">
                <a:ln>
                  <a:noFill/>
                </a:ln>
                <a:solidFill>
                  <a:srgbClr val="FFFFFF"/>
                </a:solidFill>
                <a:effectLst/>
                <a:uLnTx/>
                <a:uFillTx/>
                <a:latin typeface="Avenir Next LT Pro"/>
                <a:ea typeface="+mn-ea"/>
                <a:cs typeface="+mn-cs"/>
              </a:rPr>
              <a:t>HPC-infused Deep Learning</a:t>
            </a:r>
          </a:p>
        </p:txBody>
      </p:sp>
    </p:spTree>
    <p:extLst>
      <p:ext uri="{BB962C8B-B14F-4D97-AF65-F5344CB8AC3E}">
        <p14:creationId xmlns:p14="http://schemas.microsoft.com/office/powerpoint/2010/main" val="38304816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__MICROSOFT_TRANSLATOR_CLM_SLIDEINFO" val="{&quot;Guid&quot;:&quot;40371eb9-0d8b-4952-a683-c9cf2708eeee&quot;,&quot;TimeStamp&quot;:&quot;2020-01-22T20:01:32.011824-06:00&quot;}"/>
</p:tagLst>
</file>

<file path=ppt/theme/theme1.xml><?xml version="1.0" encoding="utf-8"?>
<a:theme xmlns:a="http://schemas.openxmlformats.org/drawingml/2006/main" name="Master Slide Template">
  <a:themeElements>
    <a:clrScheme name="AnalogousFromLightSeedLeftStep">
      <a:dk1>
        <a:srgbClr val="000000"/>
      </a:dk1>
      <a:lt1>
        <a:srgbClr val="FFFFFF"/>
      </a:lt1>
      <a:dk2>
        <a:srgbClr val="243941"/>
      </a:dk2>
      <a:lt2>
        <a:srgbClr val="E8E6E2"/>
      </a:lt2>
      <a:accent1>
        <a:srgbClr val="8FA1CD"/>
      </a:accent1>
      <a:accent2>
        <a:srgbClr val="77ABC2"/>
      </a:accent2>
      <a:accent3>
        <a:srgbClr val="78ACA6"/>
      </a:accent3>
      <a:accent4>
        <a:srgbClr val="6DB18D"/>
      </a:accent4>
      <a:accent5>
        <a:srgbClr val="77B07A"/>
      </a:accent5>
      <a:accent6>
        <a:srgbClr val="83AE6B"/>
      </a:accent6>
      <a:hlink>
        <a:srgbClr val="918158"/>
      </a:hlink>
      <a:folHlink>
        <a:srgbClr val="7F7F7F"/>
      </a:folHlink>
    </a:clrScheme>
    <a:fontScheme name="Custom 4">
      <a:majorFont>
        <a:latin typeface="Sitka Subheading"/>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ebbleVTI" id="{8B4DB91D-6BB4-4BA3-973A-733D3AF2680E}" vid="{9A19CF0D-2077-4BF4-BAA5-86934C336D59}"/>
    </a:ext>
  </a:extLst>
</a:theme>
</file>

<file path=ppt/theme/theme2.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3.xml><?xml version="1.0" encoding="utf-8"?>
<a:theme xmlns:a="http://schemas.openxmlformats.org/drawingml/2006/main" name="3_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 Enterprise" id="{E72F3315-1010-49DB-9886-4D4C2CF5FD95}" vid="{819BFA2A-E2CF-41B2-903A-3ECB1391740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86451C56FECA446BA3F6AA268ED5A6B" ma:contentTypeVersion="20" ma:contentTypeDescription="Create a new document." ma:contentTypeScope="" ma:versionID="9ce0bd6ab3a8346c955c236cb34ca7ce">
  <xsd:schema xmlns:xsd="http://www.w3.org/2001/XMLSchema" xmlns:xs="http://www.w3.org/2001/XMLSchema" xmlns:p="http://schemas.microsoft.com/office/2006/metadata/properties" xmlns:ns1="http://schemas.microsoft.com/sharepoint/v3" xmlns:ns2="0ae06192-25af-41c5-938f-361f8eec808a" xmlns:ns3="08b0ad8d-53de-4da8-9833-cfc7b605a807" xmlns:ns4="230e9df3-be65-4c73-a93b-d1236ebd677e" targetNamespace="http://schemas.microsoft.com/office/2006/metadata/properties" ma:root="true" ma:fieldsID="a018a29a69b20ee8dff2b062606bc3d2" ns1:_="" ns2:_="" ns3:_="" ns4:_="">
    <xsd:import namespace="http://schemas.microsoft.com/sharepoint/v3"/>
    <xsd:import namespace="0ae06192-25af-41c5-938f-361f8eec808a"/>
    <xsd:import namespace="08b0ad8d-53de-4da8-9833-cfc7b605a807"/>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3:LastSharedByUser" minOccurs="0"/>
                <xsd:element ref="ns3:LastSharedByTime" minOccurs="0"/>
                <xsd:element ref="ns2:MediaServiceEventHashCode" minOccurs="0"/>
                <xsd:element ref="ns2:MediaServiceGenerationTime" minOccurs="0"/>
                <xsd:element ref="ns1:_ip_UnifiedCompliancePolicyProperties" minOccurs="0"/>
                <xsd:element ref="ns1:_ip_UnifiedCompliancePolicyUIAction" minOccurs="0"/>
                <xsd:element ref="ns2:MediaServiceAutoKeyPoints" minOccurs="0"/>
                <xsd:element ref="ns2:MediaServiceKeyPoints" minOccurs="0"/>
                <xsd:element ref="ns2:MediaServiceOCR" minOccurs="0"/>
                <xsd:element ref="ns2:lcf76f155ced4ddcb4097134ff3c332f" minOccurs="0"/>
                <xsd:element ref="ns4:TaxCatchAll" minOccurs="0"/>
                <xsd:element ref="ns1:PublishingStartDate" minOccurs="0"/>
                <xsd:element ref="ns1:PublishingExpirationDat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7" nillable="true" ma:displayName="Unified Compliance Policy Properties" ma:hidden="true" ma:internalName="_ip_UnifiedCompliancePolicyProperties">
      <xsd:simpleType>
        <xsd:restriction base="dms:Note"/>
      </xsd:simpleType>
    </xsd:element>
    <xsd:element name="_ip_UnifiedCompliancePolicyUIAction" ma:index="18" nillable="true" ma:displayName="Unified Compliance Policy UI Action" ma:hidden="true" ma:internalName="_ip_UnifiedCompliancePolicyUIAction">
      <xsd:simpleType>
        <xsd:restriction base="dms:Text"/>
      </xsd:simpleType>
    </xsd:element>
    <xsd:element name="PublishingStartDate" ma:index="25"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26"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ae06192-25af-41c5-938f-361f8eec808a"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OCR" ma:index="21" nillable="true" ma:displayName="Extracted Text" ma:internalName="MediaServiceOCR" ma:readOnly="true">
      <xsd:simpleType>
        <xsd:restriction base="dms:Note">
          <xsd:maxLength value="255"/>
        </xsd:restrictio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LengthInSeconds" ma:index="2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8b0ad8d-53de-4da8-9833-cfc7b605a807"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LastSharedByUser" ma:index="13" nillable="true" ma:displayName="Last Shared By User" ma:hidden="true" ma:internalName="LastSharedByUser" ma:readOnly="true">
      <xsd:simpleType>
        <xsd:restriction base="dms:Note"/>
      </xsd:simpleType>
    </xsd:element>
    <xsd:element name="LastSharedByTime" ma:index="14" nillable="true" ma:displayName="Last Shared By Time"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9aeebcbd-23f4-490b-bb4a-e84624ad2f42}" ma:internalName="TaxCatchAll" ma:showField="CatchAllData" ma:web="08b0ad8d-53de-4da8-9833-cfc7b605a80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e06192-25af-41c5-938f-361f8eec808a">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PublishingExpirationDate xmlns="http://schemas.microsoft.com/sharepoint/v3" xsi:nil="true"/>
    <PublishingStartDate xmlns="http://schemas.microsoft.com/sharepoint/v3" xsi:nil="true"/>
    <TaxCatchAll xmlns="230e9df3-be65-4c73-a93b-d1236ebd677e" xsi:nil="true"/>
  </documentManagement>
</p:properties>
</file>

<file path=customXml/itemProps1.xml><?xml version="1.0" encoding="utf-8"?>
<ds:datastoreItem xmlns:ds="http://schemas.openxmlformats.org/officeDocument/2006/customXml" ds:itemID="{11237FA8-8F37-45C7-94DC-B997F502D6E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ae06192-25af-41c5-938f-361f8eec808a"/>
    <ds:schemaRef ds:uri="08b0ad8d-53de-4da8-9833-cfc7b605a80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E04ECB8-1D5E-4B94-978D-240760777E6B}">
  <ds:schemaRefs>
    <ds:schemaRef ds:uri="http://schemas.microsoft.com/sharepoint/v3/contenttype/forms"/>
  </ds:schemaRefs>
</ds:datastoreItem>
</file>

<file path=customXml/itemProps3.xml><?xml version="1.0" encoding="utf-8"?>
<ds:datastoreItem xmlns:ds="http://schemas.openxmlformats.org/officeDocument/2006/customXml" ds:itemID="{9160B25C-DC82-41F2-8A57-A6B097F4D927}">
  <ds:schemaRefs>
    <ds:schemaRef ds:uri="1289a88f-42fd-4598-917f-c8e86fd3a897"/>
    <ds:schemaRef ds:uri="aa8c45a6-06c8-486e-9865-c23779e73d44"/>
    <ds:schemaRef ds:uri="http://schemas.microsoft.com/office/infopath/2007/PartnerControls"/>
    <ds:schemaRef ds:uri="http://schemas.microsoft.com/office/2006/documentManagement/types"/>
    <ds:schemaRef ds:uri="http://purl.org/dc/dcmitype/"/>
    <ds:schemaRef ds:uri="http://schemas.openxmlformats.org/package/2006/metadata/core-properties"/>
    <ds:schemaRef ds:uri="http://purl.org/dc/elements/1.1/"/>
    <ds:schemaRef ds:uri="http://schemas.microsoft.com/office/2006/metadata/properties"/>
    <ds:schemaRef ds:uri="http://www.w3.org/XML/1998/namespace"/>
    <ds:schemaRef ds:uri="http://purl.org/dc/terms/"/>
    <ds:schemaRef ds:uri="0ae06192-25af-41c5-938f-361f8eec808a"/>
    <ds:schemaRef ds:uri="http://schemas.microsoft.com/sharepoint/v3"/>
    <ds:schemaRef ds:uri="230e9df3-be65-4c73-a93b-d1236ebd677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37</TotalTime>
  <Words>3001</Words>
  <Application>Microsoft Office PowerPoint</Application>
  <PresentationFormat>Widescreen</PresentationFormat>
  <Paragraphs>554</Paragraphs>
  <Slides>44</Slides>
  <Notes>19</Notes>
  <HiddenSlides>0</HiddenSlides>
  <MMClips>0</MMClips>
  <ScaleCrop>false</ScaleCrop>
  <HeadingPairs>
    <vt:vector size="4" baseType="variant">
      <vt:variant>
        <vt:lpstr>Theme</vt:lpstr>
      </vt:variant>
      <vt:variant>
        <vt:i4>3</vt:i4>
      </vt:variant>
      <vt:variant>
        <vt:lpstr>Slide Titles</vt:lpstr>
      </vt:variant>
      <vt:variant>
        <vt:i4>44</vt:i4>
      </vt:variant>
    </vt:vector>
  </HeadingPairs>
  <TitlesOfParts>
    <vt:vector size="47" baseType="lpstr">
      <vt:lpstr>Master Slide Template</vt:lpstr>
      <vt:lpstr>Microsoft 365 PPT Template - 2018</vt:lpstr>
      <vt:lpstr>3_FY18 Enterprise</vt:lpstr>
      <vt:lpstr>Deep Learning</vt:lpstr>
      <vt:lpstr>Introduction</vt:lpstr>
      <vt:lpstr>Agenda</vt:lpstr>
      <vt:lpstr>Summary outline</vt:lpstr>
      <vt:lpstr>The Problem</vt:lpstr>
      <vt:lpstr>Problem Statement </vt:lpstr>
      <vt:lpstr>Scale up vs. scale out</vt:lpstr>
      <vt:lpstr>Mapping Apps to Architectures</vt:lpstr>
      <vt:lpstr>Leverage Parallelism</vt:lpstr>
      <vt:lpstr>Solution Characteristics</vt:lpstr>
      <vt:lpstr>Complex ML models require ‘AI-first’ infrastructure </vt:lpstr>
      <vt:lpstr>Complex ML models require ‘AI-first’ infrastructure </vt:lpstr>
      <vt:lpstr>Complex ML models require ‘AI-first’ infrastructure </vt:lpstr>
      <vt:lpstr>State of affairs</vt:lpstr>
      <vt:lpstr>Solution Components </vt:lpstr>
      <vt:lpstr>HPC Resource Stack on Azure</vt:lpstr>
      <vt:lpstr>NVIDIA in Azure</vt:lpstr>
      <vt:lpstr>GPU Computing </vt:lpstr>
      <vt:lpstr>GPUs for Compute (NC) &amp; Visualization (NV)</vt:lpstr>
      <vt:lpstr>GPUs for Deep Learning (ND series)</vt:lpstr>
      <vt:lpstr>Building Scalable Supercomputers in the Cloud </vt:lpstr>
      <vt:lpstr>ND_v4 Node Topology</vt:lpstr>
      <vt:lpstr>Value of networked GPUs</vt:lpstr>
      <vt:lpstr>NVIDIA RAPIDS™ on Microsoft Azure</vt:lpstr>
      <vt:lpstr>Azure Marketplace images for NDv4</vt:lpstr>
      <vt:lpstr>Azure Cycle Cloud</vt:lpstr>
      <vt:lpstr>Support for Traditional Job Schedulers</vt:lpstr>
      <vt:lpstr>Feature Focus: SLURM Integration</vt:lpstr>
      <vt:lpstr>Terraform</vt:lpstr>
      <vt:lpstr>Solution Implementation</vt:lpstr>
      <vt:lpstr>Simplified architectural schematic </vt:lpstr>
      <vt:lpstr>Hands-On Exercises</vt:lpstr>
      <vt:lpstr>Hands-On Overview </vt:lpstr>
      <vt:lpstr>1-Click Deployment </vt:lpstr>
      <vt:lpstr>Explore the deployed environment  </vt:lpstr>
      <vt:lpstr>GPU-optimized Software on Azure</vt:lpstr>
      <vt:lpstr>PowerPoint Presentation</vt:lpstr>
      <vt:lpstr>NDv4 tuning considerations</vt:lpstr>
      <vt:lpstr>Health checks</vt:lpstr>
      <vt:lpstr>Examples of large-scale DL workloads </vt:lpstr>
      <vt:lpstr>1-Click Decommission </vt:lpstr>
      <vt:lpstr>Summary</vt:lpstr>
      <vt:lpstr>Next Steps </vt:lpstr>
      <vt:lpstr>Agend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Zero to Batch</dc:title>
  <dc:creator>Ian Lumb</dc:creator>
  <cp:lastModifiedBy>Ian Lumb</cp:lastModifiedBy>
  <cp:revision>3</cp:revision>
  <dcterms:created xsi:type="dcterms:W3CDTF">2022-06-09T16:22:36Z</dcterms:created>
  <dcterms:modified xsi:type="dcterms:W3CDTF">2022-07-26T10:19: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lpwstr>600.000000000000</vt:lpwstr>
  </property>
  <property fmtid="{D5CDD505-2E9C-101B-9397-08002B2CF9AE}" pid="3" name="xd_Signature">
    <vt:lpwstr/>
  </property>
  <property fmtid="{D5CDD505-2E9C-101B-9397-08002B2CF9AE}" pid="4" name="xd_ProgID">
    <vt:lpwstr/>
  </property>
  <property fmtid="{D5CDD505-2E9C-101B-9397-08002B2CF9AE}" pid="5" name="ContentTypeId">
    <vt:lpwstr>0x010100B86451C56FECA446BA3F6AA268ED5A6B</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MediaServiceImageTags">
    <vt:lpwstr/>
  </property>
</Properties>
</file>